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6.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7.xml" ContentType="application/vnd.openxmlformats-officedocument.theme+xml"/>
  <Override PartName="/ppt/slideLayouts/slideLayout160.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rts/chartEx1.xml" ContentType="application/vnd.ms-office.chartex+xml"/>
  <Override PartName="/ppt/changesInfos/changesInfo1.xml" ContentType="application/vnd.ms-powerpoint.changesinfo+xml"/>
  <Override PartName="/ppt/revisionInfo.xml" ContentType="application/vnd.ms-powerpoint.revisioninfo+xml"/>
  <Override PartName="/ppt/charts/colors1.xml" ContentType="application/vnd.ms-office.chartcolorstyle+xml"/>
  <Override PartName="/ppt/charts/style1.xml" ContentType="application/vnd.ms-office.chartstyle+xml"/>
  <Override PartName="/ppt/theme/themeOverride1.xml" ContentType="application/vnd.openxmlformats-officedocument.themeOverr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4"/>
    <p:sldMasterId id="2147483733" r:id="rId5"/>
    <p:sldMasterId id="2147483758" r:id="rId6"/>
    <p:sldMasterId id="2147483779" r:id="rId7"/>
    <p:sldMasterId id="2147483800" r:id="rId8"/>
    <p:sldMasterId id="2147483832" r:id="rId9"/>
    <p:sldMasterId id="2147484020" r:id="rId10"/>
    <p:sldMasterId id="2147483712" r:id="rId11"/>
    <p:sldMasterId id="2147483819" r:id="rId12"/>
  </p:sldMasterIdLst>
  <p:notesMasterIdLst>
    <p:notesMasterId r:id="rId28"/>
  </p:notesMasterIdLst>
  <p:sldIdLst>
    <p:sldId id="3110" r:id="rId13"/>
    <p:sldId id="1814" r:id="rId14"/>
    <p:sldId id="10806" r:id="rId15"/>
    <p:sldId id="10801" r:id="rId16"/>
    <p:sldId id="1678" r:id="rId17"/>
    <p:sldId id="10781" r:id="rId18"/>
    <p:sldId id="10900" r:id="rId19"/>
    <p:sldId id="10892" r:id="rId20"/>
    <p:sldId id="10895" r:id="rId21"/>
    <p:sldId id="10901" r:id="rId22"/>
    <p:sldId id="10881" r:id="rId23"/>
    <p:sldId id="10889" r:id="rId24"/>
    <p:sldId id="10793" r:id="rId25"/>
    <p:sldId id="10902" r:id="rId26"/>
    <p:sldId id="10899"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2087BF9-67F0-4A6E-A3D0-0A7287743715}">
          <p14:sldIdLst/>
        </p14:section>
        <p14:section name="Title" id="{C3BA8660-D187-4633-AAE5-50E749D11339}">
          <p14:sldIdLst>
            <p14:sldId id="3110"/>
          </p14:sldIdLst>
        </p14:section>
        <p14:section name="Presentation Body" id="{1DEA32D0-7DB9-4ADC-876A-4784DFD5F46E}">
          <p14:sldIdLst>
            <p14:sldId id="1814"/>
            <p14:sldId id="10806"/>
            <p14:sldId id="10801"/>
            <p14:sldId id="1678"/>
            <p14:sldId id="10781"/>
            <p14:sldId id="10900"/>
            <p14:sldId id="10892"/>
            <p14:sldId id="10895"/>
            <p14:sldId id="10901"/>
            <p14:sldId id="10881"/>
            <p14:sldId id="10889"/>
            <p14:sldId id="10793"/>
            <p14:sldId id="10902"/>
            <p14:sldId id="10899"/>
          </p14:sldIdLst>
        </p14:section>
      </p14:sectionLst>
    </p:ext>
    <p:ext uri="{EFAFB233-063F-42B5-8137-9DF3F51BA10A}">
      <p15:sldGuideLst xmlns:p15="http://schemas.microsoft.com/office/powerpoint/2012/main">
        <p15:guide id="1" orient="horz" pos="2160" userDrawn="1">
          <p15:clr>
            <a:srgbClr val="A4A3A4"/>
          </p15:clr>
        </p15:guide>
        <p15:guide id="2" pos="480" userDrawn="1">
          <p15:clr>
            <a:srgbClr val="A4A3A4"/>
          </p15:clr>
        </p15:guide>
        <p15:guide id="3" orient="horz" pos="3048" userDrawn="1">
          <p15:clr>
            <a:srgbClr val="A4A3A4"/>
          </p15:clr>
        </p15:guide>
        <p15:guide id="4"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ex Solomon" initials="AS" lastIdx="42" clrIdx="0">
    <p:extLst>
      <p:ext uri="{19B8F6BF-5375-455C-9EA6-DF929625EA0E}">
        <p15:presenceInfo xmlns:p15="http://schemas.microsoft.com/office/powerpoint/2012/main" userId="S::alsolomo@microsoft.com::4f66f9d7-d5ff-4a1e-a78a-b6a0167177bd" providerId="AD"/>
      </p:ext>
    </p:extLst>
  </p:cmAuthor>
  <p:cmAuthor id="2" name="Nick Dwyer" initials="ND" lastIdx="79" clrIdx="1">
    <p:extLst>
      <p:ext uri="{19B8F6BF-5375-455C-9EA6-DF929625EA0E}">
        <p15:presenceInfo xmlns:p15="http://schemas.microsoft.com/office/powerpoint/2012/main" userId="S-1-12-1-1668510413-1239518980-3690317993-3192374461" providerId="AD"/>
      </p:ext>
    </p:extLst>
  </p:cmAuthor>
  <p:cmAuthor id="3" name="Anitah Cantele" initials="AC" lastIdx="57" clrIdx="2">
    <p:extLst>
      <p:ext uri="{19B8F6BF-5375-455C-9EA6-DF929625EA0E}">
        <p15:presenceInfo xmlns:p15="http://schemas.microsoft.com/office/powerpoint/2012/main" userId="S::ancantel@microsoft.com::288e8f93-ad3d-481b-9c5a-2d5c2a4b6cf5" providerId="AD"/>
      </p:ext>
    </p:extLst>
  </p:cmAuthor>
  <p:cmAuthor id="4" name="Bryan D'Souza" initials="BD" lastIdx="2" clrIdx="3">
    <p:extLst>
      <p:ext uri="{19B8F6BF-5375-455C-9EA6-DF929625EA0E}">
        <p15:presenceInfo xmlns:p15="http://schemas.microsoft.com/office/powerpoint/2012/main" userId="S::brds@microsoft.com::dcb04b6b-ea5f-456a-ae17-c45966b3b3bc" providerId="AD"/>
      </p:ext>
    </p:extLst>
  </p:cmAuthor>
  <p:cmAuthor id="5" name="Kyle Luikart" initials="KL" lastIdx="56" clrIdx="4">
    <p:extLst>
      <p:ext uri="{19B8F6BF-5375-455C-9EA6-DF929625EA0E}">
        <p15:presenceInfo xmlns:p15="http://schemas.microsoft.com/office/powerpoint/2012/main" userId="631b499c86d403d9" providerId="Windows Live"/>
      </p:ext>
    </p:extLst>
  </p:cmAuthor>
  <p:cmAuthor id="6" name="Katy Nally" initials="KN" lastIdx="7" clrIdx="5">
    <p:extLst>
      <p:ext uri="{19B8F6BF-5375-455C-9EA6-DF929625EA0E}">
        <p15:presenceInfo xmlns:p15="http://schemas.microsoft.com/office/powerpoint/2012/main" userId="Katy Nally" providerId="None"/>
      </p:ext>
    </p:extLst>
  </p:cmAuthor>
  <p:cmAuthor id="7" name="Annie Wegrich" initials="AW" lastIdx="13" clrIdx="6">
    <p:extLst>
      <p:ext uri="{19B8F6BF-5375-455C-9EA6-DF929625EA0E}">
        <p15:presenceInfo xmlns:p15="http://schemas.microsoft.com/office/powerpoint/2012/main" userId="S::annie@2a.consulting::21e47c5a-be3e-4643-9dce-8fd918f590ab" providerId="AD"/>
      </p:ext>
    </p:extLst>
  </p:cmAuthor>
  <p:cmAuthor id="8" name="Kelly Schermer" initials="KS" lastIdx="29" clrIdx="7">
    <p:extLst>
      <p:ext uri="{19B8F6BF-5375-455C-9EA6-DF929625EA0E}">
        <p15:presenceInfo xmlns:p15="http://schemas.microsoft.com/office/powerpoint/2012/main" userId="S::Kelly@2a.consulting::5de02e10-d631-4fcc-af0e-2ee13668d348" providerId="AD"/>
      </p:ext>
    </p:extLst>
  </p:cmAuthor>
  <p:cmAuthor id="9" name="Kyle Luikart" initials="KL [2]" lastIdx="87" clrIdx="8">
    <p:extLst>
      <p:ext uri="{19B8F6BF-5375-455C-9EA6-DF929625EA0E}">
        <p15:presenceInfo xmlns:p15="http://schemas.microsoft.com/office/powerpoint/2012/main" userId="S::Kyle@2a.consulting::cc0bb450-253e-469e-832b-61acd4564af8" providerId="AD"/>
      </p:ext>
    </p:extLst>
  </p:cmAuthor>
  <p:cmAuthor id="10" name="Nick Dwyer" initials="ND [2]" lastIdx="51" clrIdx="9">
    <p:extLst>
      <p:ext uri="{19B8F6BF-5375-455C-9EA6-DF929625EA0E}">
        <p15:presenceInfo xmlns:p15="http://schemas.microsoft.com/office/powerpoint/2012/main" userId="S::Nick@2a.consulting::637372cd-8f04-49e1-a9c8-f5dbbdc447be" providerId="AD"/>
      </p:ext>
    </p:extLst>
  </p:cmAuthor>
  <p:cmAuthor id="11" name="Nicole Afek (CELA)" initials="NA(" lastIdx="18" clrIdx="10">
    <p:extLst>
      <p:ext uri="{19B8F6BF-5375-455C-9EA6-DF929625EA0E}">
        <p15:presenceInfo xmlns:p15="http://schemas.microsoft.com/office/powerpoint/2012/main" userId="S::niafek@microsoft.com::eeae86a6-9950-4b81-99ce-a766259722a0" providerId="AD"/>
      </p:ext>
    </p:extLst>
  </p:cmAuthor>
  <p:cmAuthor id="12" name="Sidney Roberts" initials="SR" lastIdx="2" clrIdx="11">
    <p:extLst>
      <p:ext uri="{19B8F6BF-5375-455C-9EA6-DF929625EA0E}">
        <p15:presenceInfo xmlns:p15="http://schemas.microsoft.com/office/powerpoint/2012/main" userId="S::siro@microsoft.com::4bd18e67-cf62-46e0-9214-b5b846164683" providerId="AD"/>
      </p:ext>
    </p:extLst>
  </p:cmAuthor>
  <p:cmAuthor id="13" name="Kevin Connolly" initials="KC" lastIdx="1" clrIdx="12">
    <p:extLst>
      <p:ext uri="{19B8F6BF-5375-455C-9EA6-DF929625EA0E}">
        <p15:presenceInfo xmlns:p15="http://schemas.microsoft.com/office/powerpoint/2012/main" userId="S::kevincon@microsoft.com::a3f4236c-fa58-49c5-b1db-4c5ebd58608f" providerId="AD"/>
      </p:ext>
    </p:extLst>
  </p:cmAuthor>
  <p:cmAuthor id="14" name="Paul Garnett" initials="PG" lastIdx="10" clrIdx="13">
    <p:extLst>
      <p:ext uri="{19B8F6BF-5375-455C-9EA6-DF929625EA0E}">
        <p15:presenceInfo xmlns:p15="http://schemas.microsoft.com/office/powerpoint/2012/main" userId="S::paulgar@microsoft.com::43dca59e-deeb-403f-bdd7-1838739a8ffa" providerId="AD"/>
      </p:ext>
    </p:extLst>
  </p:cmAuthor>
  <p:cmAuthor id="15" name="Richard Stephenson" initials="RS" lastIdx="9" clrIdx="14">
    <p:extLst>
      <p:ext uri="{19B8F6BF-5375-455C-9EA6-DF929625EA0E}">
        <p15:presenceInfo xmlns:p15="http://schemas.microsoft.com/office/powerpoint/2012/main" userId="S::risteph@microsoft.com::6413eca5-478e-46de-ba42-e0b630140dfa" providerId="AD"/>
      </p:ext>
    </p:extLst>
  </p:cmAuthor>
  <p:cmAuthor id="16" name="Kyle Luikart" initials="KL [3]" lastIdx="16" clrIdx="15">
    <p:extLst>
      <p:ext uri="{19B8F6BF-5375-455C-9EA6-DF929625EA0E}">
        <p15:presenceInfo xmlns:p15="http://schemas.microsoft.com/office/powerpoint/2012/main" userId="Kyle Luikart" providerId="None"/>
      </p:ext>
    </p:extLst>
  </p:cmAuthor>
  <p:cmAuthor id="17" name="Suzy Dekay (Artech Consulting LLC)" initials="SD(CL" lastIdx="14" clrIdx="16">
    <p:extLst>
      <p:ext uri="{19B8F6BF-5375-455C-9EA6-DF929625EA0E}">
        <p15:presenceInfo xmlns:p15="http://schemas.microsoft.com/office/powerpoint/2012/main" userId="S::v-sdekay@microsoft.com::5aaf15d0-f46a-42bf-9538-a17dc103b077" providerId="AD"/>
      </p:ext>
    </p:extLst>
  </p:cmAuthor>
  <p:cmAuthor id="18" name="Rachel Sacks" initials="RS" lastIdx="1" clrIdx="17">
    <p:extLst>
      <p:ext uri="{19B8F6BF-5375-455C-9EA6-DF929625EA0E}">
        <p15:presenceInfo xmlns:p15="http://schemas.microsoft.com/office/powerpoint/2012/main" userId="S::rachel@2a.consulting::8cf077d4-1e76-4bc4-ba9c-23f8284f1584" providerId="AD"/>
      </p:ext>
    </p:extLst>
  </p:cmAuthor>
  <p:cmAuthor id="19" name="Evan Aeschlimann" initials="EA" lastIdx="5" clrIdx="18">
    <p:extLst>
      <p:ext uri="{19B8F6BF-5375-455C-9EA6-DF929625EA0E}">
        <p15:presenceInfo xmlns:p15="http://schemas.microsoft.com/office/powerpoint/2012/main" userId="S::evan@2a.consulting::5448d8b7-932c-4b54-aae8-6d8de8e3f919" providerId="AD"/>
      </p:ext>
    </p:extLst>
  </p:cmAuthor>
  <p:cmAuthor id="20" name="Vickie Robinson" initials="VR" lastIdx="6" clrIdx="19">
    <p:extLst>
      <p:ext uri="{19B8F6BF-5375-455C-9EA6-DF929625EA0E}">
        <p15:presenceInfo xmlns:p15="http://schemas.microsoft.com/office/powerpoint/2012/main" userId="S::virobins@microsoft.com::d6117b2c-bdca-4f28-9430-424fb109c9b0" providerId="AD"/>
      </p:ext>
    </p:extLst>
  </p:cmAuthor>
  <p:cmAuthor id="21" name="Fatema Kothari" initials="FK" lastIdx="10" clrIdx="20">
    <p:extLst>
      <p:ext uri="{19B8F6BF-5375-455C-9EA6-DF929625EA0E}">
        <p15:presenceInfo xmlns:p15="http://schemas.microsoft.com/office/powerpoint/2012/main" userId="S::fakothar@microsoft.com::0fe83960-80df-488f-973a-17a87607b896" providerId="AD"/>
      </p:ext>
    </p:extLst>
  </p:cmAuthor>
  <p:cmAuthor id="22" name="Lydia Carroon" initials="LC" lastIdx="1" clrIdx="21">
    <p:extLst>
      <p:ext uri="{19B8F6BF-5375-455C-9EA6-DF929625EA0E}">
        <p15:presenceInfo xmlns:p15="http://schemas.microsoft.com/office/powerpoint/2012/main" userId="S::lycarroo@microsoft.com::91a0e96c-bf00-4e43-b349-09f39b936cd8" providerId="AD"/>
      </p:ext>
    </p:extLst>
  </p:cmAuthor>
  <p:cmAuthor id="23" name="Vince Liberatore" initials="VL" lastIdx="1" clrIdx="22">
    <p:extLst>
      <p:ext uri="{19B8F6BF-5375-455C-9EA6-DF929625EA0E}">
        <p15:presenceInfo xmlns:p15="http://schemas.microsoft.com/office/powerpoint/2012/main" userId="S::vilibera@microsoft.com::6311f784-0746-4c1a-97c9-9500592d6df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E71E228-86FA-4A4C-B762-FCCF74D66F38}" v="272" dt="2020-06-24T14:59:46.6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86" autoAdjust="0"/>
    <p:restoredTop sz="76020" autoAdjust="0"/>
  </p:normalViewPr>
  <p:slideViewPr>
    <p:cSldViewPr snapToGrid="0">
      <p:cViewPr varScale="1">
        <p:scale>
          <a:sx n="75" d="100"/>
          <a:sy n="75" d="100"/>
        </p:scale>
        <p:origin x="950" y="62"/>
      </p:cViewPr>
      <p:guideLst>
        <p:guide orient="horz" pos="2160"/>
        <p:guide pos="480"/>
        <p:guide orient="horz" pos="3048"/>
        <p:guide pos="3840"/>
      </p:guideLst>
    </p:cSldViewPr>
  </p:slideViewPr>
  <p:outlineViewPr>
    <p:cViewPr>
      <p:scale>
        <a:sx n="33" d="100"/>
        <a:sy n="33" d="100"/>
      </p:scale>
      <p:origin x="0" y="-5376"/>
    </p:cViewPr>
  </p:outlineViewPr>
  <p:notesTextViewPr>
    <p:cViewPr>
      <p:scale>
        <a:sx n="3" d="2"/>
        <a:sy n="3" d="2"/>
      </p:scale>
      <p:origin x="0" y="0"/>
    </p:cViewPr>
  </p:notesTextViewPr>
  <p:sorterViewPr>
    <p:cViewPr>
      <p:scale>
        <a:sx n="100" d="100"/>
        <a:sy n="100" d="100"/>
      </p:scale>
      <p:origin x="0" y="-42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imee Sprung" userId="9e28f6f3712a19ce" providerId="LiveId" clId="{8E71E228-86FA-4A4C-B762-FCCF74D66F38}"/>
    <pc:docChg chg="undo custSel addSld delSld modSld modSection">
      <pc:chgData name="Aimee Sprung" userId="9e28f6f3712a19ce" providerId="LiveId" clId="{8E71E228-86FA-4A4C-B762-FCCF74D66F38}" dt="2020-06-24T21:12:21.784" v="915" actId="6549"/>
      <pc:docMkLst>
        <pc:docMk/>
      </pc:docMkLst>
      <pc:sldChg chg="addSp delSp modSp modNotesTx">
        <pc:chgData name="Aimee Sprung" userId="9e28f6f3712a19ce" providerId="LiveId" clId="{8E71E228-86FA-4A4C-B762-FCCF74D66F38}" dt="2020-06-24T15:05:17.530" v="912" actId="6549"/>
        <pc:sldMkLst>
          <pc:docMk/>
          <pc:sldMk cId="1596421836" sldId="1678"/>
        </pc:sldMkLst>
        <pc:spChg chg="add mod">
          <ac:chgData name="Aimee Sprung" userId="9e28f6f3712a19ce" providerId="LiveId" clId="{8E71E228-86FA-4A4C-B762-FCCF74D66F38}" dt="2020-06-24T14:57:53.549" v="742" actId="20577"/>
          <ac:spMkLst>
            <pc:docMk/>
            <pc:sldMk cId="1596421836" sldId="1678"/>
            <ac:spMk id="3" creationId="{685991BF-0F21-4845-9B92-8E098F939286}"/>
          </ac:spMkLst>
        </pc:spChg>
        <pc:spChg chg="del">
          <ac:chgData name="Aimee Sprung" userId="9e28f6f3712a19ce" providerId="LiveId" clId="{8E71E228-86FA-4A4C-B762-FCCF74D66F38}" dt="2020-06-24T14:57:57.428" v="743" actId="478"/>
          <ac:spMkLst>
            <pc:docMk/>
            <pc:sldMk cId="1596421836" sldId="1678"/>
            <ac:spMk id="9" creationId="{0B46C8C3-4B51-48CE-B003-9056F55783C6}"/>
          </ac:spMkLst>
        </pc:spChg>
      </pc:sldChg>
      <pc:sldChg chg="addSp delSp modSp mod modNotesTx">
        <pc:chgData name="Aimee Sprung" userId="9e28f6f3712a19ce" providerId="LiveId" clId="{8E71E228-86FA-4A4C-B762-FCCF74D66F38}" dt="2020-06-24T15:05:06.748" v="909" actId="6549"/>
        <pc:sldMkLst>
          <pc:docMk/>
          <pc:sldMk cId="1638248938" sldId="1814"/>
        </pc:sldMkLst>
        <pc:spChg chg="del">
          <ac:chgData name="Aimee Sprung" userId="9e28f6f3712a19ce" providerId="LiveId" clId="{8E71E228-86FA-4A4C-B762-FCCF74D66F38}" dt="2020-06-24T14:54:48.714" v="638" actId="478"/>
          <ac:spMkLst>
            <pc:docMk/>
            <pc:sldMk cId="1638248938" sldId="1814"/>
            <ac:spMk id="4" creationId="{830E35F3-CFD3-4626-A2F5-AC40E93976EC}"/>
          </ac:spMkLst>
        </pc:spChg>
        <pc:spChg chg="add del mod">
          <ac:chgData name="Aimee Sprung" userId="9e28f6f3712a19ce" providerId="LiveId" clId="{8E71E228-86FA-4A4C-B762-FCCF74D66F38}" dt="2020-06-24T14:55:00.430" v="642" actId="20577"/>
          <ac:spMkLst>
            <pc:docMk/>
            <pc:sldMk cId="1638248938" sldId="1814"/>
            <ac:spMk id="5" creationId="{22B24ECA-C338-4338-938B-4391925B6B9B}"/>
          </ac:spMkLst>
        </pc:spChg>
        <pc:spChg chg="del">
          <ac:chgData name="Aimee Sprung" userId="9e28f6f3712a19ce" providerId="LiveId" clId="{8E71E228-86FA-4A4C-B762-FCCF74D66F38}" dt="2020-06-24T14:56:47.355" v="668" actId="478"/>
          <ac:spMkLst>
            <pc:docMk/>
            <pc:sldMk cId="1638248938" sldId="1814"/>
            <ac:spMk id="6" creationId="{00000000-0000-0000-0000-000000000000}"/>
          </ac:spMkLst>
        </pc:spChg>
        <pc:spChg chg="add del mod">
          <ac:chgData name="Aimee Sprung" userId="9e28f6f3712a19ce" providerId="LiveId" clId="{8E71E228-86FA-4A4C-B762-FCCF74D66F38}" dt="2020-06-24T14:55:35.564" v="660" actId="20577"/>
          <ac:spMkLst>
            <pc:docMk/>
            <pc:sldMk cId="1638248938" sldId="1814"/>
            <ac:spMk id="7" creationId="{1909CDA0-6C2E-4AFD-BD35-7B2DA5A4060D}"/>
          </ac:spMkLst>
        </pc:spChg>
        <pc:spChg chg="add del mod">
          <ac:chgData name="Aimee Sprung" userId="9e28f6f3712a19ce" providerId="LiveId" clId="{8E71E228-86FA-4A4C-B762-FCCF74D66F38}" dt="2020-06-24T14:56:42.040" v="667" actId="20577"/>
          <ac:spMkLst>
            <pc:docMk/>
            <pc:sldMk cId="1638248938" sldId="1814"/>
            <ac:spMk id="8" creationId="{AF57B2F8-FBA4-4A3D-923A-557E6DE4970A}"/>
          </ac:spMkLst>
        </pc:spChg>
        <pc:spChg chg="add mod">
          <ac:chgData name="Aimee Sprung" userId="9e28f6f3712a19ce" providerId="LiveId" clId="{8E71E228-86FA-4A4C-B762-FCCF74D66F38}" dt="2020-06-24T14:57:42.071" v="730" actId="2711"/>
          <ac:spMkLst>
            <pc:docMk/>
            <pc:sldMk cId="1638248938" sldId="1814"/>
            <ac:spMk id="9" creationId="{6E5261F8-E098-44EC-91C4-DE65904EAA7A}"/>
          </ac:spMkLst>
        </pc:spChg>
      </pc:sldChg>
      <pc:sldChg chg="addSp delSp modSp">
        <pc:chgData name="Aimee Sprung" userId="9e28f6f3712a19ce" providerId="LiveId" clId="{8E71E228-86FA-4A4C-B762-FCCF74D66F38}" dt="2020-06-24T14:59:46.669" v="908" actId="207"/>
        <pc:sldMkLst>
          <pc:docMk/>
          <pc:sldMk cId="2068097891" sldId="10793"/>
        </pc:sldMkLst>
        <pc:spChg chg="del">
          <ac:chgData name="Aimee Sprung" userId="9e28f6f3712a19ce" providerId="LiveId" clId="{8E71E228-86FA-4A4C-B762-FCCF74D66F38}" dt="2020-06-24T14:59:20.309" v="901" actId="478"/>
          <ac:spMkLst>
            <pc:docMk/>
            <pc:sldMk cId="2068097891" sldId="10793"/>
            <ac:spMk id="2" creationId="{38A47A76-710D-FA4B-A52B-18C41F26FC88}"/>
          </ac:spMkLst>
        </pc:spChg>
        <pc:spChg chg="del">
          <ac:chgData name="Aimee Sprung" userId="9e28f6f3712a19ce" providerId="LiveId" clId="{8E71E228-86FA-4A4C-B762-FCCF74D66F38}" dt="2020-06-24T14:59:25.373" v="902" actId="478"/>
          <ac:spMkLst>
            <pc:docMk/>
            <pc:sldMk cId="2068097891" sldId="10793"/>
            <ac:spMk id="3" creationId="{E37ADD65-185B-48FD-BFE2-E8B217429B24}"/>
          </ac:spMkLst>
        </pc:spChg>
        <pc:spChg chg="add mod">
          <ac:chgData name="Aimee Sprung" userId="9e28f6f3712a19ce" providerId="LiveId" clId="{8E71E228-86FA-4A4C-B762-FCCF74D66F38}" dt="2020-06-24T14:59:46.669" v="908" actId="207"/>
          <ac:spMkLst>
            <pc:docMk/>
            <pc:sldMk cId="2068097891" sldId="10793"/>
            <ac:spMk id="4" creationId="{6D59FCB2-7DC5-4DDF-895D-CA586B847CC8}"/>
          </ac:spMkLst>
        </pc:spChg>
        <pc:spChg chg="add del mod">
          <ac:chgData name="Aimee Sprung" userId="9e28f6f3712a19ce" providerId="LiveId" clId="{8E71E228-86FA-4A4C-B762-FCCF74D66F38}" dt="2020-06-24T14:59:35.052" v="904" actId="478"/>
          <ac:spMkLst>
            <pc:docMk/>
            <pc:sldMk cId="2068097891" sldId="10793"/>
            <ac:spMk id="6" creationId="{6D047F01-D2C4-4B38-9648-E82EDE0E4933}"/>
          </ac:spMkLst>
        </pc:spChg>
        <pc:picChg chg="mod">
          <ac:chgData name="Aimee Sprung" userId="9e28f6f3712a19ce" providerId="LiveId" clId="{8E71E228-86FA-4A4C-B762-FCCF74D66F38}" dt="2020-06-24T14:59:37.929" v="906" actId="1076"/>
          <ac:picMkLst>
            <pc:docMk/>
            <pc:sldMk cId="2068097891" sldId="10793"/>
            <ac:picMk id="5" creationId="{285F2A9F-31AA-44DB-96BD-5881FF5A177E}"/>
          </ac:picMkLst>
        </pc:picChg>
      </pc:sldChg>
      <pc:sldChg chg="modNotesTx">
        <pc:chgData name="Aimee Sprung" userId="9e28f6f3712a19ce" providerId="LiveId" clId="{8E71E228-86FA-4A4C-B762-FCCF74D66F38}" dt="2020-06-24T15:05:14.215" v="911" actId="6549"/>
        <pc:sldMkLst>
          <pc:docMk/>
          <pc:sldMk cId="903397511" sldId="10801"/>
        </pc:sldMkLst>
      </pc:sldChg>
      <pc:sldChg chg="addSp delSp modSp modNotesTx">
        <pc:chgData name="Aimee Sprung" userId="9e28f6f3712a19ce" providerId="LiveId" clId="{8E71E228-86FA-4A4C-B762-FCCF74D66F38}" dt="2020-06-24T15:05:10.624" v="910" actId="6549"/>
        <pc:sldMkLst>
          <pc:docMk/>
          <pc:sldMk cId="3821493384" sldId="10806"/>
        </pc:sldMkLst>
        <pc:spChg chg="add mod">
          <ac:chgData name="Aimee Sprung" userId="9e28f6f3712a19ce" providerId="LiveId" clId="{8E71E228-86FA-4A4C-B762-FCCF74D66F38}" dt="2020-06-24T14:57:23.497" v="729" actId="207"/>
          <ac:spMkLst>
            <pc:docMk/>
            <pc:sldMk cId="3821493384" sldId="10806"/>
            <ac:spMk id="7" creationId="{FCA0DCBA-833A-4C98-835F-332A13A1FF79}"/>
          </ac:spMkLst>
        </pc:spChg>
        <pc:spChg chg="del">
          <ac:chgData name="Aimee Sprung" userId="9e28f6f3712a19ce" providerId="LiveId" clId="{8E71E228-86FA-4A4C-B762-FCCF74D66F38}" dt="2020-06-24T14:57:12.535" v="727" actId="478"/>
          <ac:spMkLst>
            <pc:docMk/>
            <pc:sldMk cId="3821493384" sldId="10806"/>
            <ac:spMk id="9" creationId="{9DCB91C7-710D-4BF4-A6BE-FBB560C9FDC9}"/>
          </ac:spMkLst>
        </pc:spChg>
      </pc:sldChg>
      <pc:sldChg chg="modSp mod">
        <pc:chgData name="Aimee Sprung" userId="9e28f6f3712a19ce" providerId="LiveId" clId="{8E71E228-86FA-4A4C-B762-FCCF74D66F38}" dt="2020-06-24T14:53:49.920" v="521" actId="962"/>
        <pc:sldMkLst>
          <pc:docMk/>
          <pc:sldMk cId="471441906" sldId="10889"/>
        </pc:sldMkLst>
        <pc:picChg chg="mod">
          <ac:chgData name="Aimee Sprung" userId="9e28f6f3712a19ce" providerId="LiveId" clId="{8E71E228-86FA-4A4C-B762-FCCF74D66F38}" dt="2020-06-24T14:53:49.920" v="521" actId="962"/>
          <ac:picMkLst>
            <pc:docMk/>
            <pc:sldMk cId="471441906" sldId="10889"/>
            <ac:picMk id="11" creationId="{61CCAEFD-0F86-461C-B031-EDD7E8FB2D7B}"/>
          </ac:picMkLst>
        </pc:picChg>
      </pc:sldChg>
      <pc:sldChg chg="modSp mod modNotesTx">
        <pc:chgData name="Aimee Sprung" userId="9e28f6f3712a19ce" providerId="LiveId" clId="{8E71E228-86FA-4A4C-B762-FCCF74D66F38}" dt="2020-06-24T21:12:18.406" v="914" actId="6549"/>
        <pc:sldMkLst>
          <pc:docMk/>
          <pc:sldMk cId="3024818998" sldId="10892"/>
        </pc:sldMkLst>
        <pc:picChg chg="mod">
          <ac:chgData name="Aimee Sprung" userId="9e28f6f3712a19ce" providerId="LiveId" clId="{8E71E228-86FA-4A4C-B762-FCCF74D66F38}" dt="2020-06-24T14:52:39.093" v="421" actId="962"/>
          <ac:picMkLst>
            <pc:docMk/>
            <pc:sldMk cId="3024818998" sldId="10892"/>
            <ac:picMk id="6" creationId="{B8F73E93-4368-4591-80E1-A7290DAE764C}"/>
          </ac:picMkLst>
        </pc:picChg>
        <pc:picChg chg="mod">
          <ac:chgData name="Aimee Sprung" userId="9e28f6f3712a19ce" providerId="LiveId" clId="{8E71E228-86FA-4A4C-B762-FCCF74D66F38}" dt="2020-06-24T14:53:12.398" v="453" actId="962"/>
          <ac:picMkLst>
            <pc:docMk/>
            <pc:sldMk cId="3024818998" sldId="10892"/>
            <ac:picMk id="8" creationId="{EC0A72AE-0023-411C-9586-6056896FCAE2}"/>
          </ac:picMkLst>
        </pc:picChg>
      </pc:sldChg>
      <pc:sldChg chg="modSp mod modNotesTx">
        <pc:chgData name="Aimee Sprung" userId="9e28f6f3712a19ce" providerId="LiveId" clId="{8E71E228-86FA-4A4C-B762-FCCF74D66F38}" dt="2020-06-24T21:12:21.784" v="915" actId="6549"/>
        <pc:sldMkLst>
          <pc:docMk/>
          <pc:sldMk cId="2414555096" sldId="10895"/>
        </pc:sldMkLst>
        <pc:picChg chg="mod">
          <ac:chgData name="Aimee Sprung" userId="9e28f6f3712a19ce" providerId="LiveId" clId="{8E71E228-86FA-4A4C-B762-FCCF74D66F38}" dt="2020-06-24T14:52:57.549" v="431" actId="962"/>
          <ac:picMkLst>
            <pc:docMk/>
            <pc:sldMk cId="2414555096" sldId="10895"/>
            <ac:picMk id="4" creationId="{A3C0C3CA-BD2C-44B0-A0A6-5C51960B7F81}"/>
          </ac:picMkLst>
        </pc:picChg>
        <pc:picChg chg="mod">
          <ac:chgData name="Aimee Sprung" userId="9e28f6f3712a19ce" providerId="LiveId" clId="{8E71E228-86FA-4A4C-B762-FCCF74D66F38}" dt="2020-06-24T14:53:31.734" v="503" actId="962"/>
          <ac:picMkLst>
            <pc:docMk/>
            <pc:sldMk cId="2414555096" sldId="10895"/>
            <ac:picMk id="5" creationId="{38A83B8E-D902-43FF-AFB0-6519200B5DF9}"/>
          </ac:picMkLst>
        </pc:picChg>
      </pc:sldChg>
      <pc:sldChg chg="modSp mod">
        <pc:chgData name="Aimee Sprung" userId="9e28f6f3712a19ce" providerId="LiveId" clId="{8E71E228-86FA-4A4C-B762-FCCF74D66F38}" dt="2020-06-24T14:54:40.249" v="637" actId="962"/>
        <pc:sldMkLst>
          <pc:docMk/>
          <pc:sldMk cId="270181909" sldId="10899"/>
        </pc:sldMkLst>
        <pc:picChg chg="mod">
          <ac:chgData name="Aimee Sprung" userId="9e28f6f3712a19ce" providerId="LiveId" clId="{8E71E228-86FA-4A4C-B762-FCCF74D66F38}" dt="2020-06-24T14:54:11.910" v="549" actId="962"/>
          <ac:picMkLst>
            <pc:docMk/>
            <pc:sldMk cId="270181909" sldId="10899"/>
            <ac:picMk id="16" creationId="{160B4F70-C9E5-486F-8CF4-8865443F15D3}"/>
          </ac:picMkLst>
        </pc:picChg>
        <pc:picChg chg="mod">
          <ac:chgData name="Aimee Sprung" userId="9e28f6f3712a19ce" providerId="LiveId" clId="{8E71E228-86FA-4A4C-B762-FCCF74D66F38}" dt="2020-06-24T14:54:30.629" v="597" actId="962"/>
          <ac:picMkLst>
            <pc:docMk/>
            <pc:sldMk cId="270181909" sldId="10899"/>
            <ac:picMk id="18" creationId="{CEFAD023-23CA-464F-9B05-C65CBA21213C}"/>
          </ac:picMkLst>
        </pc:picChg>
        <pc:picChg chg="mod">
          <ac:chgData name="Aimee Sprung" userId="9e28f6f3712a19ce" providerId="LiveId" clId="{8E71E228-86FA-4A4C-B762-FCCF74D66F38}" dt="2020-06-24T14:54:22.848" v="577" actId="962"/>
          <ac:picMkLst>
            <pc:docMk/>
            <pc:sldMk cId="270181909" sldId="10899"/>
            <ac:picMk id="20" creationId="{F82F02E4-DC90-4D78-9036-D2B37F32488A}"/>
          </ac:picMkLst>
        </pc:picChg>
        <pc:picChg chg="mod">
          <ac:chgData name="Aimee Sprung" userId="9e28f6f3712a19ce" providerId="LiveId" clId="{8E71E228-86FA-4A4C-B762-FCCF74D66F38}" dt="2020-06-24T14:54:40.249" v="637" actId="962"/>
          <ac:picMkLst>
            <pc:docMk/>
            <pc:sldMk cId="270181909" sldId="10899"/>
            <ac:picMk id="22" creationId="{949CA81E-4FD1-44FA-AAC3-903E82E46EAD}"/>
          </ac:picMkLst>
        </pc:picChg>
      </pc:sldChg>
      <pc:sldChg chg="addSp delSp modSp mod modNotesTx">
        <pc:chgData name="Aimee Sprung" userId="9e28f6f3712a19ce" providerId="LiveId" clId="{8E71E228-86FA-4A4C-B762-FCCF74D66F38}" dt="2020-06-24T21:12:14.764" v="913" actId="6549"/>
        <pc:sldMkLst>
          <pc:docMk/>
          <pc:sldMk cId="335778278" sldId="10900"/>
        </pc:sldMkLst>
        <pc:spChg chg="del mod">
          <ac:chgData name="Aimee Sprung" userId="9e28f6f3712a19ce" providerId="LiveId" clId="{8E71E228-86FA-4A4C-B762-FCCF74D66F38}" dt="2020-06-24T14:58:34.024" v="842" actId="478"/>
          <ac:spMkLst>
            <pc:docMk/>
            <pc:sldMk cId="335778278" sldId="10900"/>
            <ac:spMk id="2" creationId="{4C822CC3-5B86-4967-9C58-75347F51F5F6}"/>
          </ac:spMkLst>
        </pc:spChg>
        <pc:spChg chg="add mod">
          <ac:chgData name="Aimee Sprung" userId="9e28f6f3712a19ce" providerId="LiveId" clId="{8E71E228-86FA-4A4C-B762-FCCF74D66F38}" dt="2020-06-24T14:58:39.742" v="843" actId="1076"/>
          <ac:spMkLst>
            <pc:docMk/>
            <pc:sldMk cId="335778278" sldId="10900"/>
            <ac:spMk id="3" creationId="{8F410C00-054F-44F1-A28A-4BF98C1410E9}"/>
          </ac:spMkLst>
        </pc:spChg>
        <pc:spChg chg="mod">
          <ac:chgData name="Aimee Sprung" userId="9e28f6f3712a19ce" providerId="LiveId" clId="{8E71E228-86FA-4A4C-B762-FCCF74D66F38}" dt="2020-06-24T14:50:37.258" v="77" actId="962"/>
          <ac:spMkLst>
            <pc:docMk/>
            <pc:sldMk cId="335778278" sldId="10900"/>
            <ac:spMk id="56" creationId="{04734AF7-1DB4-4B2D-B1DD-6F60BA719AE0}"/>
          </ac:spMkLst>
        </pc:spChg>
        <pc:spChg chg="mod">
          <ac:chgData name="Aimee Sprung" userId="9e28f6f3712a19ce" providerId="LiveId" clId="{8E71E228-86FA-4A4C-B762-FCCF74D66F38}" dt="2020-06-24T14:51:11.569" v="209" actId="962"/>
          <ac:spMkLst>
            <pc:docMk/>
            <pc:sldMk cId="335778278" sldId="10900"/>
            <ac:spMk id="58" creationId="{B69C35C7-B44E-458C-81B6-8462C309BD2F}"/>
          </ac:spMkLst>
        </pc:spChg>
        <pc:graphicFrameChg chg="mod">
          <ac:chgData name="Aimee Sprung" userId="9e28f6f3712a19ce" providerId="LiveId" clId="{8E71E228-86FA-4A4C-B762-FCCF74D66F38}" dt="2020-06-24T14:52:17.252" v="367" actId="962"/>
          <ac:graphicFrameMkLst>
            <pc:docMk/>
            <pc:sldMk cId="335778278" sldId="10900"/>
            <ac:graphicFrameMk id="13" creationId="{29A456D2-3910-4588-94E6-C96098A3CF23}"/>
          </ac:graphicFrameMkLst>
        </pc:graphicFrameChg>
        <pc:picChg chg="mod">
          <ac:chgData name="Aimee Sprung" userId="9e28f6f3712a19ce" providerId="LiveId" clId="{8E71E228-86FA-4A4C-B762-FCCF74D66F38}" dt="2020-06-24T14:51:40.534" v="247" actId="962"/>
          <ac:picMkLst>
            <pc:docMk/>
            <pc:sldMk cId="335778278" sldId="10900"/>
            <ac:picMk id="4" creationId="{0D90557E-9118-4C09-8652-5144536D1D79}"/>
          </ac:picMkLst>
        </pc:picChg>
      </pc:sldChg>
      <pc:sldChg chg="new del">
        <pc:chgData name="Aimee Sprung" userId="9e28f6f3712a19ce" providerId="LiveId" clId="{8E71E228-86FA-4A4C-B762-FCCF74D66F38}" dt="2020-06-24T14:56:38.030" v="666" actId="680"/>
        <pc:sldMkLst>
          <pc:docMk/>
          <pc:sldMk cId="508848543" sldId="10903"/>
        </pc:sldMkLst>
      </pc:sldChg>
      <pc:sldChg chg="modSp add del">
        <pc:chgData name="Aimee Sprung" userId="9e28f6f3712a19ce" providerId="LiveId" clId="{8E71E228-86FA-4A4C-B762-FCCF74D66F38}" dt="2020-06-24T14:58:53.422" v="866"/>
        <pc:sldMkLst>
          <pc:docMk/>
          <pc:sldMk cId="3174925629" sldId="10903"/>
        </pc:sldMkLst>
        <pc:spChg chg="mod">
          <ac:chgData name="Aimee Sprung" userId="9e28f6f3712a19ce" providerId="LiveId" clId="{8E71E228-86FA-4A4C-B762-FCCF74D66F38}" dt="2020-06-24T14:58:52.366" v="865"/>
          <ac:spMkLst>
            <pc:docMk/>
            <pc:sldMk cId="3174925629" sldId="10903"/>
            <ac:spMk id="2" creationId="{723163E9-163D-42D8-894E-3B48320BFDC1}"/>
          </ac:spMkLst>
        </pc:spChg>
      </pc:sldChg>
    </pc:docChg>
  </pc:docChgLst>
</pc:chgInfo>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https://microsoft.sharepoint.com/teams/AffordableAccessInitiatives/Shared%20Documents/Strategic%20Presentations/Airband%20Slide%20Library/Airband%20Basics/Airband%20Basics%20-%20OK%20for%20external/Airband%20Maps.xlsx" TargetMode="External"/><Relationship Id="rId4" Type="http://schemas.openxmlformats.org/officeDocument/2006/relationships/themeOverride" Target="../theme/themeOverride1.xml"/></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olorStr">
        <cx:f>'Commercial Pilot and Grant'!$B$2:$B$29</cx:f>
        <cx:nf>'Commercial Pilot and Grant'!$B$1</cx:nf>
        <cx:lvl ptCount="28" name="Type">
          <cx:pt idx="0">Pilots_Grants</cx:pt>
          <cx:pt idx="1">Commercial</cx:pt>
          <cx:pt idx="2">Commercial</cx:pt>
          <cx:pt idx="3">Commercial</cx:pt>
          <cx:pt idx="4">Commercial</cx:pt>
          <cx:pt idx="5">Commercial</cx:pt>
          <cx:pt idx="6">Commercial</cx:pt>
          <cx:pt idx="7">Commercial</cx:pt>
          <cx:pt idx="8">Commercial</cx:pt>
          <cx:pt idx="9">Commercial</cx:pt>
          <cx:pt idx="10">Pilots_Grants</cx:pt>
          <cx:pt idx="11">Commercial</cx:pt>
          <cx:pt idx="12">Commercial</cx:pt>
          <cx:pt idx="13">Commercial</cx:pt>
          <cx:pt idx="14">Commercial</cx:pt>
          <cx:pt idx="15">Commercial</cx:pt>
          <cx:pt idx="16">Pilots_Grants</cx:pt>
          <cx:pt idx="17">Commercial</cx:pt>
          <cx:pt idx="18">Commercial</cx:pt>
          <cx:pt idx="19">Commercial</cx:pt>
          <cx:pt idx="20">Commercial</cx:pt>
          <cx:pt idx="21">Commercial</cx:pt>
          <cx:pt idx="22">Commercial</cx:pt>
          <cx:pt idx="23">Commercial</cx:pt>
          <cx:pt idx="24">Pilots_Grants</cx:pt>
          <cx:pt idx="25">Commercial</cx:pt>
          <cx:pt idx="26">Commercial</cx:pt>
          <cx:pt idx="27">Commercial</cx:pt>
        </cx:lvl>
      </cx:strDim>
      <cx:strDim type="cat">
        <cx:f>'Commercial Pilot and Grant'!$A$2:$A$29</cx:f>
        <cx:nf>'Commercial Pilot and Grant'!$A$1</cx:nf>
        <cx:lvl ptCount="28" name="State">
          <cx:pt idx="0">Arizona</cx:pt>
          <cx:pt idx="1">Arkansas</cx:pt>
          <cx:pt idx="2">California</cx:pt>
          <cx:pt idx="3">Illinois</cx:pt>
          <cx:pt idx="4">Indiana</cx:pt>
          <cx:pt idx="5">Iowa</cx:pt>
          <cx:pt idx="6">Kansas</cx:pt>
          <cx:pt idx="7">Maine</cx:pt>
          <cx:pt idx="8">Maryland</cx:pt>
          <cx:pt idx="9">Michigan</cx:pt>
          <cx:pt idx="10">Michigan</cx:pt>
          <cx:pt idx="11">Missouri</cx:pt>
          <cx:pt idx="12">Montana</cx:pt>
          <cx:pt idx="13">Nebraska</cx:pt>
          <cx:pt idx="14">New Mexico</cx:pt>
          <cx:pt idx="15">New York</cx:pt>
          <cx:pt idx="16">North Dakota</cx:pt>
          <cx:pt idx="17">Ohio</cx:pt>
          <cx:pt idx="18">Oklahoma</cx:pt>
          <cx:pt idx="19">South Dakota</cx:pt>
          <cx:pt idx="20">Texas</cx:pt>
          <cx:pt idx="21">Vermont</cx:pt>
          <cx:pt idx="22">Virginia</cx:pt>
          <cx:pt idx="23">Washington</cx:pt>
          <cx:pt idx="24">West Virginia</cx:pt>
          <cx:pt idx="25">Wisconsin</cx:pt>
          <cx:pt idx="26">Kentucky</cx:pt>
          <cx:pt idx="27">Mississippi</cx:pt>
        </cx:lvl>
      </cx:strDim>
    </cx:data>
  </cx:chartData>
  <cx:chart>
    <cx:plotArea>
      <cx:plotAreaRegion>
        <cx:series layoutId="regionMap" uniqueId="{4D97A130-3CF9-4DA6-8973-92D39858C0EE}" formatIdx="0">
          <cx:tx>
            <cx:txData>
              <cx:f>'Commercial Pilot and Grant'!$B$1</cx:f>
              <cx:v>Type</cx:v>
            </cx:txData>
          </cx:tx>
          <cx:spPr>
            <a:ln>
              <a:solidFill>
                <a:sysClr val="windowText" lastClr="000000"/>
              </a:solidFill>
            </a:ln>
          </cx:spPr>
          <cx:dataId val="0"/>
          <cx:layoutPr>
            <cx:geography cultureLanguage="en-US" cultureRegion="US" attribution="Powered by Bing">
              <cx:geoCache provider="{E9337A44-BEBE-4D9F-B70C-5C5E7DAFC167}">
                <cx:binary>1HxZb9y4tu5fCfJ85OYkkdrYvYHWUKOr7DhzvwiO7UjUQE3U+OvvkipO2RV3tzeOLw4MGDRFiiqS
H9e8pH/f9P+6Se+uqzd9lqr6Xzf9728jrYt//fZbfRPdZdf1WSZvqrzOv+uzmzz7Lf/+Xd7c/XZb
XXdShb8RhNlvN9F1pe/6t//5NzwtvMvP85trLXP1rrmrhqu7ukl1/Td9T3a9ub7NpPJkrSt5o/Hv
b/+o5Jir67dv7pSWevgwFHe/v31009s3v50+6peffZPCzHRzC2MpOyM2Rdym3CIEcUTfvklzFf7o
NjDGZ5bFLNvk1ObMQvb9b++vMxj/jAnN07m+va3u6hoWNP9/MPDR7KH9z7dvbvJG6WnTQti/399+
VFLf3b55r6/1Xf32jaxz93CDm09L+Ph+XvNvj7f9P/8+aYBdOGl5gMzplv1T1y/AbK9VfQ2TezFc
xBkTjBPTNgmGGhWPcbHFGRUIc8KJzWyCBfQffvuAyz/P52lY7sedoLKFPX6FqPxRJS+NCzsTtg0b
zmDvqUXJKS7kDLASnBIbI2xaxHyMy3Nm9DQyx5En2Pxx9Sqx2cm6nv6KQt5v0QuwM3LGgRiAMEwu
8LT5D5mZsM8sgIQRypGFTOBq9798IJpnTulpfB4NPoFo9zrJ5yKS+f0O/e+xYeiMYYpMDFtPyEGU
PEIHsMOYYJsLbtockLr/7QM6/zSbp2E5jDrB42L1KknGvU7l97xS8iUVAH5GTBMjRExEGAO+9phm
MAaiAXIiFNuUmvYkiB4KmufN6WlsHo49Qcj941UitE5TqXL5gooAUA3GFNQzyrlNbGsS9I+oxj7D
puAW5whh26SYPsbnOTN6Gp3jyBNs1uevEpv9Xffma14l9/vzAhyNnAEwSCAqKEUIJM5jbLgJpIMs
mwlhEpPa6ISjPWdGT2NzHHmCzf7rq8Rmdy3V3QsCY55RbBKBbMwoAvvlBBjLPiOIAi4Hk4byEy3t
H6fzNCo/hp1AsvNfJSRrdSuvX9TUtM9sbAOxWCBJwLaxgBoecTLrjAjMbZtii6FfNOdnzOdpVH4O
PMFlvX+VuEx6Zt5UL6k0gy1pcRsULluAcjzbkg+BscGm4VwIQp9mY8+Z0dPQHEeeYLO7eJXYrPPu
+gW5GDlD4HKxbYawMA/myiNc6BkDW3SSLzNsp1zsn2bzNCaHUSd4rF+nOra7rob0Wt2+HCZUnIFH
BuwXAhRBQYicSBZunXEERgyYLxiI6he/zHNm9DQux5En2Oy8V0kr7/NGR2+86yTXL0kzDPwvFmY2
WJB4Ympg4j+kGTB0zggYocgS0MfJJIQemjPPndXTGD0efYLT+9eJ00WSXkd59oIYUfPMFASEjQCP
8+zdfIyRzc9MJCwCZAT3AYmdmDTPmdHT+BxHnmBzsX2VNLSTN5EMr9X9GX4Bkwb8mxYBgx+cytbs
RHuMjTDPOAXWBgEDm4G1eerffM6MnsbmOPIEm936VWKzv/tWXdfJC9INw2cm+Ps5JhxxczL2H2Nj
22cC4jVgjRKwSQ/m6EPe9pwZPY3NceQJNvvXadvscqVf1LZh/AxRygQGsWMjMC1P1AKMwIvGgKsh
E6zRX42bZ0zoaWR+DjwBZvfhlRJN92Z318ubF/Q7Q4gTjBoKdg04z2wLgmmPyQY8NGcYCUAFPAVi
4mr37PTgd558Lf88p6fheTj2BKH97nUilFf/P9Q2fsaYBe5Ny8YzBL/QDwQPwNAhNsIW+EOnsNsj
1vbMWf0FSo9Gn+L0OtW2D3f9i8ajMew/4QzYl2UCf5tcmQ/1apA9FHygDOLVNoStfwne/ON0nkbm
x7ATSD58eRWkc/O3aQyH43vQ2B7d+d9mcNjgBTAh2myxe4XsETBgsELEGvRtxMD59kvM8yS54q9n
9TRAJ8MfLeR1ZG58uqsyUAfu+cmLqNCgnoFlY7MneRknkFFDQNKAlmZDZsep2+YZE3oai58DT8jl
0+vUBT7JKpQvHes0QXkGPcCCeOZh5x/SChdnYJUicAuAnPnB5B5KmefM6C+g+bmWU2z+eBWs7NGs
IQ/t83UdQeabzl/S9AQdAOL/EOJkbPZoksciBhN0ZkL6hmVxwaCw+T3NHvS0583paXwejn20Vljq
K0XortZvnnNg/8t8QSARRiBNAEHW4Jxl8xgkgSDkCQ440NXmbIFT5vb5udP6C5weDz+F6tPrJCZZ
3+Sqli9JSwxgwj/oxIJ8mhOUbPDiWBziChicoWxOKnjI6D4/Z0Z/gdBx6Ck6r9OPs4WNaW6S4Z7Z
/O8VBAr+TfDjUPCeHZI6gJE9FEPgYyOQ0UEgQ43NVAQG60N0njOjp8E5jjzBZvv1/4Zy/joj92fS
snetr/052/lBUu7f986LhxTsk6E/NvFJAA/7u76FjGhIgQLr8mcW9fSQR9v/2Mn/y8C761r//taw
LbBoBbZMYdMpdjfl7XTAvaALI3YG2rqgYC3d20pqMkF/f8vMM5sxJDgo7JhzTgH6egqUQBdEYSH+
anELvEvWlFv6M9X8Mk+HEDjI/bp/XL9RTXaZS6Xr39+Cxxa9fVMcbpyWaSIwpUFLBRYA8Xg4axhO
YXFzfQVifbr/f2xUKx0EpbGNDRl4RRQUvhKicRti1W5fJ+s6jALHqOsvwgwGFw3BJu7rL2NmXKZD
wN24RIMbd5XDWosvSDtGDl4NiT+kLHdF2F2GjZdyOXoBKzZBJRpnRIEzUDV6BkvTRR6FfoRjsext
c3AaO3KKPLuqreYLHetliMbOqRq1j3q1LEtxiWmSOygfzTWtsBtYTeCm2P6KKv7etvOP8TjuO9bf
iEKFTsqaRZMNW6aGjQj6lZ2oczPBjZNFfJfYA3URSa5yLb/ReAzdcaUKw3JKVF8lJh8dUkruF03E
XG3mbhWnfkp68xy3TlFL6YmsU05rqO9Rmi4R67cyX6ii9ce6uWz6lDskrddtLyovyL93EdwsU1k4
mrGPTce8rkk+GTykjqKwZjPgTtLV78Y8zJ2kKS3XDsnNiJk/6K50kpJclWmyAY32ve5Q79BCl07c
2J6ojD+12X4oSnWtvbbVmVcP8RrHVeUSGiROko++0VcfwXLUHuo8PWLpmE0bu5bs3Ca0dgbn2sH9
JxS3uzYvG8fosp2ZwXIT2IXaKJSDVXtZpEbuFiRQbiGjVYLWVlxcadWvxEiEi5vkfIzN3hVdkDoG
kdflELWOMcjRGUVym6eXSWhemGHznjXhwoJnLJKmKJ1GysrrCPIILWInbMPEiQ1jHyRJ5kqz/1Zl
ybkRGcopIeluYY9XqbwqrBvUW7uuSLuNhk0Yiry/Gnq1ioc28e1vIpFbo6iQWzTBB7MfLyPAmgQy
X3ayXZsoSRzRl3yNWYJdI4n9Cg/ci9LoY0M7sYoqvUsKUmwL3n7IBav9KG1WeDSTRcs17F5dL2oA
02nrBI5yjD9naU89i9alE4rk3MrLeIErt2D9uzpS6cqsoz1tceFQHlhu1KovmSi+JFEyOAp9Yjz5
XCRF6iYtax1w/H9KlLoZ2h2y1Y5kyUIkInVKNhIHYp2NM/SLQufv8866GjOxziMmnaHoNlWIvNrK
GpeGwaVl1nui9twIpYeleTXyvHfLfGWOduKYtGp8pEeH5slW9x12qabJ7ljUlmRermCJmQhtp04S
BQTdDV9sUdcOxn4g9F2T0N5JhMLOmJbSHcrsI2R5L2zSWr4OQxeP7GtJ7dbRUVs7ikfKK1LlqJa+
S3XLViEyWkcielu2VeypofXsKloHplaLCim0oZKMm44H46F2bDNK7OSZk6ZCbeaiYUl+qNVTbWLG
fs/Elx+dsZHA6cnC1GnYsW6MhellTZX96HvwuCxpHVYg7RWENZu+03gFB/NwlVSwTT6W8eBRkmuH
9IEF6GScO8rUtsvqqN2IRt5A8nkP7AOV1aoOxwUZ0miVqcjlMrBXUZzj1LFzS28KO9ebcOx/1Dpa
XA5DghfHpvmOuCJ72Uu+ON4vp0HzbQPIEm80s8wxcivfECGLTUHHZTZysqwkiVNnbkNTx3zLXKgw
MNchWh5bjndJnsAomQ8KmBvezCMPT9Lz8+aGVsZXod1WC1HB6Tbb/H3dmMEiUZJ96DJjOwzLokvi
60I4PCU1sBtBv3b5x2BssGOXUizLnJeXuA5Kp9M922Ztu2xKHW+7Nv/QDUO1a0hEVhZWe2sM8k2j
y9CpCiXXce2qljgkCsfrPmqvZOLZZEykUxjFgmalY/ZlvB+zgJ33Q/shk0buqza3nICPhkfGVGwq
TsoVCfOPtTA6l1N0bhRF4+u44H4qY19HetuMX3psK0cMdbAJxi8VpU5jGl9HeC/HGY1qXPZ9rPd5
Uq8TgvJNMdbXZY35ylC0XmVD/o31VDraLKNVVLfio7QDN7N4stLSsPzCENnaEOHXcmjuVNTUVxYK
8kvScpeK1ueGbj6MqpEbeB/ssgl6w7F6nX+2+sTPhugqi6NgYdRW5ReRFfs1R19aHY3LJCzFJrFB
4Na48aLbpuirPYneVXC6Fl1mj04+lPUGqyH2BtWUXhDqxOPSATIuOqcNs3DN+jJaWiTYsonOYhMI
K6rqUq3ma9G6MW3tdd8JlK1aMGs2czHK4KJtebcAbSLb9BLxxNG67kZfsIY6RWsGQCI1UCTnLV6n
8cbq7Wx0E0HVZmyk5Zm9nToV6fPNXAQFHOjYng7j8XooEFkWzbCM+pyMLumrYjMXGhhwW2zghFYb
qx7KTV9HjmUYal2wotyESVRuqp+1ue14ycfik6F6w0ccnkGVKjaDAunuDKrzJegKK5zywJEGJu7c
y4o8diWhvZtpSUfXwrVTqEGu0yYtN3MBQXQxunNVmKLYCGp+tqxW+INsyo0JWgFhrVrjMtSbcSok
pgDMz0scdZkbhLx1M2G1qdMbTb05VCNsV5v52uhY68dJccPCsU5hvbETw37CiYRtSAOVIjcd+LDq
RuHqiJebfOiEY8et6c64jtnEHKMJYrPIrGVp2YsZ5SgePdjhYtUO4w+AZ5Qbo1Sbeirm2tyWDsmd
OaDct7M+2+Qd/lHMB+F4OdfGshlcXfTRAXcjbxWwJSjkdAzms1BkHLSXoLLCRWaVH2fsGR7lj2OA
QW9IndCovwSqNn3Iiy/WSH6rw0JvAhQwLwlV7sw7Ok5bNhea08RvVBAB5d63zfsdxjVemr1eBQaq
NsfCQLDFx8u5NreN1tcyj/Va6K5KQcDBns7Hba4lWWU5SSCEO5+3Y3E8g8eDyFO2RkBYy9ZAGawo
FReJyseFmNjdXKQhAVyMNkmd+bqDl6mAP5V3Xa3zzQG7A42iPEqduQrmALC2ZPCOwPHQEAmoLPeU
esSQNjZo8LxZzdi0M80eKPdQN+Pihsek9mdgjhDNiJ20cWW3bpmqxD1SqyWLfGPN2M3UPPcQIwr8
MkKfcIruibeqYQfm6zrmQHey5dn0foIjVVoCGU4kM5NSRMmP2rENh3jJa8KWfZhXmzqgoEcr1+R1
v6xxV21YZQA7mPoON0xteagzpzUb7tkI+CEyonrDf9ZO2oyqDD0DdHcHMv3HSTZqueCpDJ0+Gqut
LcclmRlHC5bOXFN2hP3Rrv6cIcQTQzkimrEAeNp8XUhlrerYOJDgTJJ5HUXID0MMnNJMhN8kbbiq
sAB2euCze7sr4wPPBR8PdboxDtyZJK2agQ1Wp5E/Q2xlHah886CC4ncqzqrFDLQqLStxZmqdi0CA
zHeqMoDD2yRggUwEaZsMRs9IP7iuhWV4LEWgeKoeztwB4QnmYmLcaG7MWm0sEx0v0E/2bNqgf8yX
c20uZr49twW56QSqtFdHdpkGYwGbNHHOQxWe/1XZYRS7Sc0W9iRksonVWEOSZysxL6Gn/bSwuY+E
1ejPd/QY9KPVXJ27QA/7MXa+DOG16MEllvGtLYoo+hboJFuG05JaDEuaa8fiqTZlGMBFj/eE2bQ1
Tz2iB1vFz8bo+/yYdB4XhGhrmlQuHwx7auxJWxKNljfWFI7jNNe5F6X8mndm589Xea9dq84LD1f6
FneTOFIYyIeFQE1z0dYgrY5tXTwRG0HGAlWEL/su3WZGky2pNWExjwgHCdV5yDz4qcfMHQ/G2AP3
zZieq2nxUUU/44gIf77r8LjDvW3R54A47AambbKc++fCmuZ76G1H5qAMDorBCmATdQfiv4CczxGk
W9mta6sY/LbJVbVqcaI3lsHrjYwEqAVKLceJRvFU9LNwL2gMXEfnONmM7/NJNzBi0BLKWUuILJhM
GGRfKgh6+8FEEUOkg4UouvOyDfNNUJDMqTIZqPPBCCoHmIza6J/FfClmzjs3xnaGgV3E0pOTtD0U
M9ueq4WmcITEoN8xgfSio81txorKh3kD3UwFn8TCfMlmiRCrj/AacuYMYOB5bOI8LQoVbFuwmdcy
N80LmoswxtayzdKlts2+WNWT4IomLUFOolHYReTYkwgMJ93CAMEApt4kA1GcJm7Tq8GNhATeF01a
yjAJ0blW6yzaNHAQJwZqpuir2Y3Mb0oTGPFUzDVsth6TdbPSE+vtp1vnWmUxt8LBuGom5iwn1p50
BI4gnjj2fN2xFJxKBLlMmyhfyUm94hNTyIjJgEsGX3Q7dqNrTMriOLGbQw2Z4SYynC6jI/bjaZ2i
rKvNXCthYYt4bHZxaUbEJ7tgkrPzwufCaqLGU4HZOMWkVGQKwbrRpJjlYMsjt4yM0RFNkHlxDWZc
FxmLCDyAyzHtQuSbEzUORnhZmnm/mA+OjTO1MUcF/HSuBpqAQGbBeWmH43o0zWyDwJ81uHO1mQS1
ImhYqiZe0UkH7yYlbK4BRiAXjo2ojQyvqcrYSaZFHItMxHw51nxxbDKnE6RDFbq6DsBFwsxq0RvG
u/lp7aRSzLVjEU4nVeP6c5OFwp8flM6ya65afQYbz+LEpVVrrjQDY2wbtGGzimjpmZMOPhflfNTM
yKNx2q9QYgDAc4eRUzAOdHkdTNDMp03YWZM687WpGFQjTRsAl16TlmxVFg6gDEyHby4k+AiRm6nw
Ozj7Sp+AmxMeTWxnVKVcl4XqN3bY9RuEWALG/s/rLCy7VVIIL6iSbhPHutvkoo0yB5eRzED1hFYp
JUzOVDdKle0msId2EwZQzJe/tMWVa9hd7WbdeUtUflG2Wbdvgoo5NfFBrwFHUSsdO2HBYsw66WrL
eN+KMd5IFPBFBDFPV9i5WnKVBX4xZuViQKP0KyTGS5xdDUjxFbMLLy3K90U9im3c5x9GFgSrWpqh
o6n1leAhOu/KyK3yEV02Dc7P03BVBGIH6na8awZEtz0uHRxzIIgw8js8aF9i5qaCXtrgzf0kJEvW
SVsor275VdyXkxdGU6dFfNMl4Kjs4zZYVcH4LgkGuSprrrdF15631ApWXTlpC525kCHqvdEydg0H
82Oo43Jl8Sh0jY4ix+5rumZ1ulcBNnzDrtWSDXCirdJq1rppVnYoMzcsTXMf8vE8lo0BruDhcwev
yLod7wZX8Y462OjzBbzRjNeadBfg2Sq3VUzL7VxrkvKuplm7MMu6OKfRrORm1E2MPvJC8HO6Y4EH
t2yq1lVmiTcq5KZrBAFzzZTJfZpm4PgEa3yRxe6YMttBlOWrOI3Claqq/djyC2Bn3QfaSLEYSJq5
8Fpb7DCFumWYdtlFMoxuRKrJDRLWnhmj0q14vxho2JwToZDbFk3rUUZit8hl7hlC7Kiq1IKXOHMi
8M2w2E3BVfjOLIwPqU31UnDpYw2O1Iw2N6bMt9QmnQ+u1mWTjrXDGigCHWUe7W2fBe1tjh2VD9gV
Y1d4ZUA/mCrrd0Eh4xUzh489IpFfxko7fSPMTRGNwo+b5s+c9ZXTKJy6FXjWhxh9s2pw4qr2tggD
7BQjAg+/vRp7ObrUanaqZtqxaUcWFUXgCU7jq9LC1ZKWkV4ENS3AOdajdzUDYdmp1BuRIl421OVC
gKRwk7J3Wh0SJ7VNvwUnuNuXg7k0DeIzgzQeN8PCydFAF0mWj+fhEDaOBar/gg5Zty5GMrhZHzpj
J2/bdKVb7VBQYc9HI75DOIycBtQ+F2HFnToqnJpn+Y5SIwZXE/xwYVLDSQcc7XujGECX5SY4o3Ph
6QaCGVKUd9qc9E0aaScBA9MRIGqbpAZhT0KQ5hpp8EBkS0m1XoUKLwPTtj2ap8QLJPZpWdteDwfU
VbW4CFC2tQ0rOS+FXqG0yNZJUn4regiW5Jhq7+FHbh4FfG7yYqhkGP34vNDPy/8s7/IpM6Kev3tz
bH58efwszhTo+vmNnJPQ2eH7Rffxpf+m83lBNxM25u9ibg+/FHCMuB1G/Qi4YczOwKUCOQmQ4zuF
3CCedR9wI5ACDO/8QG42vBpE4NMgb9/cB9zgHTssiA35c5AYNL3Q9TPgRsmZSacXVQUSgnIBOd33
G/Bo/yHQ+ETAjcB6HoXbYFrwQgukHoE7ESibQUj+YbhNjzQvyqbp9wp4mY9zBL78np23qOiXYRG1
H4Hy1LphUnilNIVnVGblYC2LpQya922QZx8ylN6EWX7e9na0CKjaSyvyysiLTaIuMmQbm4ANf0pD
FMuoStt1b7NVbRcfOyH6CxUP/YWthbV4AMQTCzMhJHm6MMgGgffhIJ8A8nYsSN19uDCIsRWJHTXt
PiQ0W3Z27BLNbkZWmasItI3znPPIw1kTL1VlBG7T1OK86nq8LyJ2Bz7LYmv37UVuFf2O4FStaGPo
hYBYwq5KCh91VXPJJcTibNaBH64PW6cSQboLRHDbJp1coV5d5bzBH4C4KxeTuvWDuGi3Uii9tJD6
rvOo21aWIM7AtG8oMBTCVsVb2nTxNtF14/a85kvwvYe+1eNgS6PuMjAM4dVBSz82vQ0uM86ibeSb
ygjXahDGezCJ6EqxoXXDsJL/sKfWFHt9GJudzjBEeiFHED68heB9jpM9lTwSlj3ofTgOetE2EURX
Wtb4oebhhzZErlmMw8YADWBLpSGXqoj/1Hl3K1hYL6Vdkm2ti0UaJAh8sg1d6Vw3vrLAbV7Gy6qv
zPexlSZXOKwc2GjyERJIS6cKzC8hBGg2bWqBK7ho1TbswRXBxKicLh4dJVH3Icmr0AGf8/s+jZTl
pEkol2lUYIeTLN+zHkfL0gwqD4gOg0Ig0gvw/HqoaXXslZiHzkA6/IGCSajs8VJEVvZpCE0PHD4Q
ojSLaJfg/GJomw0vZOLKYdSriJhXiRTjKo509onofWk25Tml6XuZWaCq/SxaW/abYYil+/dnHP9K
vBw+JAAf4IC0DAxffZpo4EGsnIM+3xlFWu+V+S0Jx3wrIBoEWxcbqypqAicOiNy2kD2961sml0kV
+Vag/JJEW11WMdht5r7RDJ1LrXwaGUtbe3YJKtffz9M6OTYccgbAEwSiH3gMFCchfRP1ISvqUO0R
MepNnJg7ZWWmb0ad9JrBsv/h56as+0fHdPo9G4F/hAlIIpi/f/FwWwo4/2NZRfneqw0cXRj4rtQQ
2jQMYvq4wmw/aIgfgoPcfl8CQTmI1Z5lN/nWRuCvbxi64ld0sMNPmqJsjToK7Ix/iyESnUKQ5BM4
NVvQxoNimQdI+TU4Enb5CF6sgkzxaRRY8I7Fz0SOJ3jZzKse0h3sHiTumoRRyDCcpMkJzpzKKFSZ
3JuM/snTKNryCA5/L3AF7Cos3dBKEPiczdav28I4p8CJttXYkEVslVdSktBrUeRrDINAQ1l2dYEv
5yJh9h1Wmq+pBBIc8Jh4HRrDbT8q7dZRtSBNBZwdw+q4GrtF1zA4VWW3KUUF8fCsxeDJphCOkyVb
1BVP94hD7CwYY/7ZzvLIjaLNgINoj+OGY0enovEy7Yb2WAMLKOpFWIDnPzCTfmd0qYu1jXxw4/Tg
ECmoa9TNd12jaG9UoNMEmDAP3Oz4XIhJ5xuScRVaab0NctU5BdMKPq3wd/tu/nqQIOEJxCO1bALf
GmAT/T2gL7B+TWWagbEbIE4R9BDvNszunTCrL2BdA+NtY+J2leg8Eg23CRbxHc2wR2J4H79MOHar
hFkXkRGjddIZ7VITHlzFg9E7crq3hXwWagy3TZPsWULXPbHiP+NcDBDkHqKLJBqGSwgTgwvUTIET
KYtdMwzmjl1csVKYXlrVtj+0I3dJOVzGBVh5YzI2HnhIjTXofe87kjAwBEq2AjW6dccSqZVhonKh
WM9W4OP1IRDVrfpRlj6zVLoPTe20QfW1TfriIqVFBbkA7ypS959FbeodwvDe3d9tMIG3n09pFRKe
gSPA5wTs6fVoDorOwy22KiFRBeb0TmeBdEuc4q0tGrxFdY8ge0HiZTpaYjV3zEUvgsBwjemeyjCG
cnEcgwPjphiL6kHTg1tMHoOdOT/8+LS2BmOq5UPhHZ47dwdpDD/x4E4wGw1XScE8OCnUmYcbXQWR
UpIuHgycOw4/OU8wylCwgMyqT4c2Os/g+OODnQAYAW/Quo40mFtPrOl494/n4lvwegybwxymEXPt
wWSnLTzMae45/GhTZBcxBpdr2yxNLdAWwv0/hgasEsZh5+eeuRjm7Z+rDEg2KfcRyPglbvHoB3V4
btBgKyFremV6Mq+bXYuB9bV2T/3YKIKFbpvG7UCP/dSa4/cx1cli0B8Ho/ve5gyvIVPjPGbjd9Rr
CyJC8oNOouu016MXJf23IkOmF08ZQR0Xidv328ZGxceg4fu4JomT1la4HCv1mUhQV3Nz3KkG+bLC
4bJR2RYEfuE0OG0XsTJ8SiDwEgUQZy90pZywBDUhCciekC53h/5dZ4A4D6sYkqGIozur8bpASnfU
geEknEH4lqULElS5I1D/vlPARpsWniHB6HJRfAfa2eiWxkj9TG6Y4m7dEetzLcjekrdl3O7bhMc7
SY01wKYXiVVd4pZcNKE9+AkEuRykVQEBeD14HJwKGZCBp2whl2DxXUW0AYFktQsg3z9Z+qfIqtwz
h6KASNT/4+rMlhzVta39RIqgE80tjXs7+6byhsisWhshAQIkgeDpzzC1/7P+ODeEW9LGIGmO8Y2Z
cUZ9FeyHgPUZD2CoyCTBp+o5dhZnPRnHVIj+IsUQFqpmSYpcyOdqV5LG/kn40a2qFDsT7QBckQs0
pcQcRhj3qhu9Cx2qAQ+LT1E6KTABkbmN/cNp/+IFo8ll6D3zarwmg47zNWmf1yrAAVb9fkgU2zfT
iXTla5n0ZV7ZOpPOXHRm+h1Zm4+w4vbabXRh5eA/+MGX0H1Wyt7f66UnGQPDE6sxsyTs9nEVumfp
YGR0c8yX9XHsD2QIzyMLwxNm7LMwZMwNA4jFwbWBpcNxiPDrcfu7HprnNurI1YsxSsrAP/TQOuBf
OcclGlROLE6wLh7nrNSX1kgDEIgeLUM9HawZghP64HKK6Z0Nl4Eu+3CZyqMZOMeo3uFI63UBpMZB
fChW5avhWN20GIpF9OYODaxer+pSwFlAsaDCecoU0SojHHzHZuPkHceIeGk7E8irnv1PNItTY98D
yv+E0uykHaeCBvy5gwR9iWl0ko5YMjkP8W6YDZSy6ceP2KUhtMlI/awxz6eTcC/dIF4mJ415r/I6
6ETqzosHCxZGsnvWDX238BIe5j7IemZG/GTT4ziEYw4k6m115Avzey8zMgyLauxvhHqmkLwGFgXL
8hpVyW4aguqUlG4x8e7Vn/o9uJsqV7KHPOMEMtd1M4AI6yjAQgytfG3+rMEUp16v5wLOz9o7VdZ3
kDQGd7qZVkNxnp1L5a9pPxKAi0t4Ax867pC0SN2YeZAn4+o0u8uu49HPRKoHDFjNKVbifTFEoLLr
l0Pn+aelXLqCCufUVh7NgqjBRRpWT4EsLS4tXrDyuw2Jzn0sNnaVjXeo1vXJWfpdHFbLbXqNePPg
z6xwMCCmy9yV2QpSMFWxmQtq+c2owMtaE4wpp+p1mFAPuqt7IZGcUxvhUrZdf1ixvkxDkJ9YbO04
T97msOK7rpEX11EtdMHhF86hIfUBtR58ceeC2r5Kh3l1MUHTXyTG8bMU2GDfC28XyLpMIT47qRWX
OJRjETVwbKQJXjysUFNM291hcrw688hAcp7EcOEHCYxCdTmpozPKoR8KKVDej3RNw7UIYvJOah+j
X1h9TFGwRylms369s2Lrntb8aod4zqYqgkxqm5xLhkJpWYIz7TBONqiKVh7wpyaui8lb1KNyeM7H
4GhGXuMH8Md9GPYi70sDXkInyW4Fbmc1l5nR4ktM05ziQCqYvVmjPxiQXitMnI5RsKajFWOeGH1b
6KMciHe0JQA/3oeqmFfr5ix80sA7C39B0ajb5DwuvUmTJMoWp1lS2zj+PgBRGw0giKeHeYq9c9tn
UaLpS+00+wrjYcZGUWVB2QKpHduXrmywAtWByVAXHUrgKXuXfplkunjmzqt20Ci9+BKV+IVXzY6Q
5ONsKRORq3p98YZI4svZIfOka3eT/40LbNo3pn4TGDizZVReKrxhz7CqBg4GWnUO3NyKat82PLWJ
0+XLaPoUPC/HMejfB+E8gzleYSu3sNplnXYJBxbqh5/jYG8MQ2ffrntTemYXRf1ukAHLTEvjtGaN
2M1iLtOgJnvLFUwDYhfA2HFXOHVynEGZ58b3X1zSMAg4EiMAuId8kfrVEKiOg0uGvCVDtEt0ctZl
T/cQJh4jbl/4tB6kZFdnKv8xnfjHNSCZ3MmC4FyhNLv20+lcCNTMwXUXgBGue0ZTbs110NWYB7OR
qK3giNLuIxx7DNI4ycE6THk4ompidDiy9qKScYcBpu794PdcJ4dlKd1PD7BJkTjBfJ6qhNw6JZ1s
e8W22e6KtasenJDZc0nXqdjedn+/iwPzO67wt6d1Jc/aGnvopybaV6Lir7V2/rPtQ83LFUyB+Rgw
n+6C1vFOcxKRh4U0Xbbe99HFT7Ap9U/IRZ1LehdntVSXxvhl7icj+TW1Y7HtK1rbJQV2Ej95sAOO
KMXaPfReeeasA6IXNd8RWOA/XuueQ7RY/ySB2xWxR+QFsst8JQ6zoD9M+0WAGm0vxaEHKgpc+YWz
aUH1NosjW9fxaQRbk/7d23Tli2p+exHIwcZxnAeni/UpZmTauZBa3so++aT3v+sYcZ3KiH0uxlGF
dSrYM0bTayUwZfRBsnytVQMXJhz+2GiQ6WIG84Ilz9miai6WckoO0+S6T44pg3R7mRN8+EEf/CyK
OJlfd+PDUlkXLpsedrMz1u+RF79vr6RrcOMt8z7AXdqiju6AJVHVjeWCBF3uJhP56lqZS3i0f+Kq
HlMn9PlLMo5k7y2Ld4jgUD0Fg+em23cJGC4Zp1M/VibwbNeYPZhIJoAvSqDRzqhRwcev2wFym+ER
09Xw0VDlF7gO5vMghvFGo5nn0vHGbwkgeXtpH9YmDaSkz70om0Mog+kA5HF4bnyNX/Z+EBOsdmMW
l9+E1kkWuyS4JX4ozoQ0pBhiSd/LhL1sL61M9Tzzu2wwOHEx9lSeW5x3t9FvCZZqJvjWTfLfAwns
M+3WbnqG+6wOccX6gztr5xl27fT3D89TC4g8TlJTYR9UtWFu3KW/KGcIbnqx8MOdVv6egw+yNt73
VDInH6bRuchG6psHdfDvCzpyHv2g+eHouJ8TMpaXiRB2W/AZsxJhiN+JRH05uz9tyPo8CGZ5XYLZ
B4/vsnz7E21mgUH8dkKX502s12sZRuo6m7DNB75EP/Gc/v0oIyIRRkfJNca/E7i6vVF5K2PMyYBE
LuV02F6FJR+F/cj6m7TEv2wvcBIefy/kefs8YamcDCijcxNNoC+Jon4+r4Bbpwm63/07t2ydMimT
8rb0Lr84Q5TknabxV4Qfa3sFdIgxi+N2eMDgSc9s8cDUykV/Kav+fmuagG5E0ek+wAmZzzqJ+oJh
xPvFcFZu+1BjBSbV79hjFdP23N6Hpntx/yusJV6Kz7Fq/DxeUioEDPz4tDaOVyxBw351i9lt36VE
R8PUk+GhRsYFtQEMzanukgIn0/LJbbDf9qMJddMhCsUTXUagophzdyFQys+p6o7bfpiFlMD4CKrf
I9VpiddhRzkuLywPTtsrRKVNWuOSeFqHPjh6rWN3XIYI00TyXbpVhjCC/a5jkeTUWeoz4ADvmQ7O
75kI+42Lx4EeEJYPMcNq32GQNKL7GxyvuUCXpG8NIh0HNDWDp8a8+ctV5+2NHuW2gG0qTpjPm8J3
mNqFcfe2PdnLmEFA7cPbTGN9sz1t/+6Vi/V5nh3zykcVHunQBIUU9fIdzljchNW3tmO7Mw6Tx6Rx
hjcPAt/28REkmTPIWv4V/Lh9cJuaptvHnCaLLEokXozy/VMtY15sj3fw3Bql51/9IrE66bg+zJZ6
72sUHLaPKP2lyudqcS8cHO0jhcv1d4+hiGus9Zr4qeahd54WjNXbLsMyyb3GsM/Yanff3TlsJwnF
p4PcwrbLybIlj9faPQNnKZ/00sF4D1GkkVglj33n6nRQg/uIKI9/WfVMsu27254dIfOs77KjqM9c
G+24TdZfvYOlvVnWR9gcsB6DUhS2H71TzYP2xcTk199P5eFEQ8xkfnBqGlxjAl9ge0Kx9SaqqHub
1rA/6kSgxrVGfGsn3T6tWWdaDDDxj6yRVSq9EhqxJ5//Hh0FjnGseoWxvIxulCmECO6nxeiatxnC
6Evkzs3J+s389wdsyNnDRP8VVwMcUr/DKWNl+BaPNcpT/MDEJTCE76eYqebyYTvtFuTUvjy+hx/8
206YuitXgJsIvLHwsSTQZRylsm9Mqk3TH0cefhGX94fWp8MVES4sTTp/2oeBjK69COkujpYVI+GE
WdU8Jw6VRx75Op0dFKuI3u1nB5DimJgmw8ovfuB6fV70GFxlogon7pN9hwoWU8wPwD7y6NXBWvhz
SLNJITuV2HDJYb98RTHwDeXWLiq7WL7JODnWfLZpWw7+yU7xYexQA9aRjq4RaLKsCoyXJTWMt9Wb
XkgTfEHGODQ8pu/IGVSZ503TwYTa27EI16iivS3YNJrTqsEWlEPU/91UrcfTCHrS/UfrTtGGHW43
LQXGY0CpjHd8Pr4zhv8+/n9ft7142/h3NujvXROwfdWt5+1t2w62x9dpBJ253fz3QQzjSSYjGvw3
2bLFX0CKAtPro2wiCnJBrJYr9iUzG5KmmET33kUB9JcaFRAjet3LWL/X7LOFw4UFcdvkYwg4Thmw
ZMN9I4yDtW6PSMLSAYlxSzWfZl3j4Dokp/FK0xiHaNeE35F2liNJXCBSY6PTNZA9OLzGYBKwvIin
hygw4d8XTAvAPDSFBFh132y3xNmBOHXwrfcimjlDagqEmPOP3PhIdgeqts2SDOlKEZqDG+PtklkX
DOBPUQ/TZ60qeUaMQXgIoalIzUVAh4c28i9RBcR6Ozy4ylThiZmnUowlYHkUDHyY3rYvB3UUUFmb
tk6PkWOW60kHP0JjrwSVyq6L6jd3AvqolH51OLOZEngDIHAcqw1A5Nq91K4ku+2x7dlOYYke+n3O
zCJyoLEZi8Yh7boox0IBbJmfbR+M+TzJZY8qTm5hpZUTcBDhHsuxVwWcIfUVeWRtORXSm24BGMLW
oLREj77C7Vp1QmpTnfoFYJ6sMPHKzpm2gOSpRNIsh3pF0+3v/N07HUF6bffb2gX/bQG6sUAf3ZIf
FCzDw+qarqgwVMFicRoUy8bkIYXkwOuGpHSNSBZOSOFMenwyQWf2DoORyk1j956KLiFZEK2qBQIT
cKFhiPQJ2a3j/F4HoKblEB9klSQnFIuBpvWJOYDz3ATo4ThZiJBTHWY0tm7K77Ze30uMv9xbCpf5
4YnY8ves1B8elW0WmxEhtsG/IUfR70cZPjTA/nPPzu8b9Ozcr8gNjN5u/WWoRzJ3O80Qm9AiRPBz
9N/XOgmvZXMJYxM9Ejmw8+o1WB/yPj4avPWq5mnKGpUEu3EgqNM50EMe1Tyv3drsywg5LxPOVVp6
YeZNYtlTd0oKsILmRuqVH6t1etfUrGfN/eYMYqZ/XpdB5PWCECYNpb/jPmmyxTCawYSMQA2W/mky
rn8qLeiaxWJtYUuUxpgasmQh/h40QfcQG7rrBgjElcDKuh/q1Fleq2AuH4VMeOE3jSyo06zPpIPK
iL/Tn0YDzVYAQz25yPBCXxnWtJld99C3jXdiQXJddB/ttsiViCgwZjPIZq98cd7o9G3TWgBjynFR
znqX+D6AMY7h7t+NIG6XzTIZ8XXI70rUb04S6wwLsBJpD/MeMlIoYWE2QBD5F7uPpi8aIwC3WO+R
+aBBIwQ8epCMIApR6BQDVv64rkHSzUzgAHngjGZfXlq9eKd/NzIEI7Aia5CSVv6UrE3uJFSXsTD+
m2ba4hN2ahDo6ieWA4kyp20DyckAiH0H8G4Rfwb8qTV/QAaB7pAA1qftoe5/b00JB4cR0fctVNJY
CzqxuvOxW7TEW/x7oMh+VgKeONSax9atHVyJFTg+U3LIwYo17d/zHKmvEaMhuXOGlPiZrlbnOMdi
OdPWXgSXgNC8EoujCNPo0CTm72a7i952ESKF92ccyOehnOVxvn+TbdP6hOYliEVMIaw8rfdNX01N
0XbgK12H+Vm3ypucnNdkxCjP7pTjtomRhvp7q/zfW9gZgsvI6eWCA5vUoTuftluBLf//u9sTTh/l
LQ/7QzWAzt02/j0HIBAYrQC/7bYg07ZpB4xjW8rm38diQeCssyrIyAaI+khBMd6qlMVRn2I4eEOI
eYUF6i9pfGeXt9QT81eZ0XawGQkie1wnVJJu35/Rmr7pU9tWbQ7XDdJojLHdc2bI0LBAvd06y/dg
WiHUBM5TqTsfa4lenme3YaleMF5Udw+WaA3cYbwbpThW2ybEah2IWt3+PSSmFQlE/AQq5V9KGhC1
GHENlSjXHXLo/NjsbC2+HUP5mSJdOizufPg3TmXukLiEZggjpHyEvIZc9uo3RcWAsqJlhD0BdCnh
BiBCJtfEAcCK0J5QKkOJhEG7jXCpeZ3T/vd+YpCuLk1z9Gbe5Q5UtSwADQmKvj+ZsSsav8RczDyc
7MZDnKCJqm7HSvO6ZVeWOxe8DQfbrf/zWBXiREz0AMcV54XRMil60AZXvra8aNiImJdE9h5eYYL0
cCxTwuIYfQAqu49aR8PdRTHmyeBVdGLYOZbHDzb0dgZl7jc8mDZv0a8RwjQSy21Zzsd5IODnSvdq
bG0gAVd43K8OYbSKiw+K5wR0eFdbNnwlrXetYbG+tnS053jym1y8MJrY506tya0DYyB9MiFgCEPQ
R5YUs1HipGHlqv1SV8vDPPRLFmrS5SU65kIgTMKhUN4Mm6aZGLRYDx0BqNy3ImSP7SzaGKv3Vues
rSAp83u5EtEbiJf5yYPCW9h4cPKpmeeniFKUUQBMDyxcdt5Kusd27KASh/5jGQ9d5iWwbsaapRHE
l083AWHZDvfRmlsvo2ISFxecWOouvtyFXiMuUV+tcGdiL5/aKnltJv5ndMr+ut2DFo8loMSg0vBE
ZArBng/bBdlCIvfLBMii+oEL+sJr6w8bDMX2eNRPcBE85h5DX4zvYzvupeT0OZnlr3GpvDwRPjSl
QYcHbwEA4630tXfo+IH/++Ae+9ptclN16kMiPJ/bqoMpdH82FsDnaXNvY5B0OwWeO0gbl5GjI7HG
jaZl/IhCBBjQ0e5nCFz8HkDEQX6KveNoBilnV7ezfdY3EXL1sG18hei5hyXskQ/3zgG9dL81GQEP
tPS1MqVBYYCFh6LN8mhgt6P2eB80id/9RdWHbhZXGCmmIJJ5j9X91lKvbcFqKw9j0OHSoVqclAiW
J9aMJPNouGTLuiBzsUwah1oNmW34kk7cAebWryWSGhiBGrOMiPdR76C65p92NA6o2r5/TyYBb6NW
ENuCexzZB3QWx8G0w7pBpw7myp+peknEdKh633m3cX1SVrCMh9XwGnm2OXZ2GjMQXNCTnRsCtRQf
IsI04oYWjJxagf1ZfUV61RahaMq04QJTYaLV0zi0Bgy4LP/xhW4LpYASFa4yx3kc+vcRBgeCGM1D
sHJAX9a/hUn3DGfKe62Zr1/DGkMDRzOLRfPjaI166PAtwmhpD9rX3WW70usw9s81QOYFVteC9+BX
w1TXPTddY66+N163e24EaI84A5ybaEiJX7HML1f2cCC2CT4i2+zHVbY/cwKdrZx4dZsa+2uw/XKB
LQrtm/rRMYqp90Tvm3VaL5RDR28B+qNiiTD+DTjJEt7oR7BPmQFagVDJOOd1GS5PPl3748TgtpW+
QJMOwCLdAkMbjSJC/LnO//QgVqbMOlnUu+wnVlhKIOIDX9v8AncV5lYpilBAJV/x70weaTjEX9Vd
SoBU2V9gEJksapNw1wvqwPpYlt9xExbxytZfSTKBiGoAaiMRb/LekWpHgkW/6HbACDqs9W+Lzg1x
H4X/ED5YsSPTXO2xPItPstcFBjL2CwAkwrExa0+zcZIns3DURfbDTSr/baBODQMRE4HHHO+NlsN/
727PwuGESUqxVJSI3r+EFoOzXYLPwFfrfigrICv3u8NoP6fRBXHnzf9R1FlvE6vQoyNpHhbAAOeY
J1jgBlCAadiKB6iWbRaOFbzSeoFuAnnXCX8nLex7IB7sNShhBMAlWdD6IY6eV9e52zBySAN/nV+7
PaVV8B9HTz8SZvJHd+8IAXinfWgqrJLqpCNpCwJ63y6Cf871uAObyN+C2v5yhOQpro/421Px0xB7
yMaGEtZMeY/6ygPEn7JGF4sopT3FsCwbSKQUvTsEwPzTEoXha7nOFSLUttqTaPXyKiIgt+00P9SN
+wsZz/UYrEpfgzXKXTQ+ee8xsrc8eJvCcH5pcc13fqAfalJ1GVli94iTKMCvEUukN0SbG2X0aQlC
eu4n/SKH5tUdfF1wf/1qPMn8FP92JTwpXT8rotx8NBM5VGs/feA9n2IMbKoHXBgjrOJsQAYsWzT0
rSXpUaKhAdHHKm2cBioTyg8/fTj8bXe0g+M+gD7fNxVzdkNQGgim7OBDSjpAZqozGs7BoZs65z6/
yoJoQQvmQZfxy0Y9wBVGwTh5NgtEqQvZedHLuCAGoWQXnhrhw9OjMjppYaoj1KN17zf0yoXDfrGK
CzQFIT8MCY3dxC1q12oh+YIR+beyfwI7w4NFL4KrTwC+d+Pk3hQ375Z4ZRrLll64UV/j6I4vTdWj
i8Fd3wzjkX7Hv6zsq73S1H2dXa85J7p1nztMnilG0wYr385/W9fom/duThj6c4TowlmspVcdXS/s
MsU536sVwlwsB32cqB+nfExQnem42cMWwSTmVMsFqAx0hVpGe7hf8hoY9EygAblyQNoF/OL+uR99
9L3Q0sv++wtqr8n9ynsNW2XzOBH4T7E134FGJns6s+YYy/tRcfyXQdT+0RENGswgG3R0XZX7E7XP
bLXk5uppv92j4VTCYOXqig5NQEDWjqUwt3Ia1f4fsco/I3WDXYtfv6hUbVFGRN8zkNg1FViKZVHH
hpvWMDKGYX1TFuCFi2TPr2R66xhfLuEcLwAqFbn6TtAioqLuKJFzVu36/zaj3EfE/AMn43HmJcBC
4mNpga4jZyKXS4OuTW81WaIzAT6Xso4nD4swyQOuSgRptStVCmbrH4s8YMZZsB5gU/GXpj2Oo0Lz
jSWMTpVDXpRf4SxUCgpp6K032YlrR1GKKcQzsxVhFvQJatA/hQ1euhXTqjX6XDbecZ5V8tK4BABM
XT+aFtiDDRN1wxAVyfjWzCir+vs3BP9ErkOJBdYwF3x+a53FXCFexDeloxZ1xUTfR8b2bbKsqS3d
/gjTuM/XQcmi7vBetO9ITtjdm3DmjxpF1btn0bqpnLvClkP/6+48ftds6PKAz2GxqAUrtBYGAr5N
cw2Qjko19IUTmRe9p333Gwrvg25q72kWVbwTkMfyXnFnjxBOldI55KkO1akLBvUeOtDSq5Zl7f0y
mRTaGnj1YJ/EQn8cdGu4l/DzExD79hxgaZ+VzK2Rb1J7PUHgFX75VvkWdBE41t/lfUVJLPqpxF4h
6yCT8ZPvD1E6TtP0E2NiCdGBq4BehITo4taP63T370uSO95q3kjJi1bJGlNdCUXpntPxMf7tWCf4
hSr/JYjgsoQ1WR88Ujc5GrjwQ5XYctfA+4CFr77bGSaQGdv/QKOBq+ZG7WVGBv7khfXzEPd13gQc
XYriCXEZHwP2GtLmHLQSrcH8KjoSp5EHFbsujr0BLraSeU1rz/qHgAV5H8nmgyKoedbQ6zstMOeH
OvlxMFk4rGpf+og/jJFykJQNk4faQ6Kqj5BXXGRdnVu3CvcuUsMPnoGXFU6/WjlUMG/b5mwjd68S
jTmsrj5pFc34wCWob5JLt1fXmvtF4yBxkg7+1D16nJoMHwH+k4tSCF8bH8p/q/SKBFFXPfVcoC8A
ANwCApb73A7cecYFPKKdkoYzGqD30hKMlw0VR8ugsSC1Enm4Ti7GFVbuWe9Me8wfwKKMN579QY/n
vsYsL8flWAHA32PFUaZo+NYUTteMmcAz5zG24xm18o2EYLJKPb/ZsbkOwvhHrE26vAs8yHyc+Wcs
szC7qV9MD/zRGjqcHUGuDfPELRaNxgwXsCuUrzYVjcMuAg3Qglars1uXR9dpyWNZrQhGTbiUG6hh
H6OAR9mZd13t0DarvenYb25kWJHbo+xxe6gVLnDa1su8vlluvSdeq9qJXidHu8BLk4+pHsOneviY
7N5COnnmtYQAHA7efrJSFX2A9LKEThK5B80QrK76NZ/8sdtXBEudlu492BVffgjHl0v6RUMzPPMe
o71q2/DHGdACS1bVi1gi9HbRiNFU9Rc3U7IbaNgddKXthwaXxDubZG0bNEdCAvUiKE5Y2B+HOKlU
mEpaQfpr/QG0S/eCowFRCg3/ziBh0mr50eZe7vpftnIrkBqIbc5rYpExFZdlwjpHjnGUYS0zfmtg
xZMjOiB2kXc2zK4IfuBI8MXYDwRP1pSDp4DBFNkPrFkAUpbjswn83Osr8YQaosvnbkyKUIbjgULA
uGsH1XXb1NbHfjsX7bYqnY2Bjl63jYC0u3hjOtet/ZhbwFADrzhSbQzZljBBBIc4p5KZ5qpKTMdB
BwLGtVocGs2ckyhnBPpa1X9BqXrUfvlJKDmgFp+wtMJQwA3K19jEiHx+eQuGO26qGjhVLHcKdg6A
lIYA25qa/dIiRElg+7zqFUZNgkpgGkiKWcq9lT1podgHqNXr9pUkQp4dqLW8ArqtUdAkgiyn2qg5
i/uxP3tEoFCpHDDkc+AfNaC9TrvudVEoM2UTDVibIAUIyJbinETdhl4HTyYM9JVPyaUKLUNJKQGZ
tTCcCaCWCN1EPnQ/IKkN4TtRuNDE5J8CUWN1HcOjQu+Q5DlWOkua6kv5UfJuZITeFViOgBGV5ftq
abd7R5HfId3SdA8ATIop8uYL27uOrB4qNog3yuocEfP5Onh3N7BV7sNYBdFxiLtPd2TuAziWM5pl
DkffhN1b1CG8im5XMGSGqqgX20Os4PWPXU6a7+fYK1+HeZlf0R4LZYj4Ax9LXwmt1BMq4Bb+XlLm
tiSQF1opEfbhwzWaYbw6avbBZhlYEI6OEF+M6oOQy5hi8EDKUicjFhjYIBoKccy3ZySDWnRYHPkB
ayBQ0dZCPpMU9vDs0Fem9UPVBe134sU+4C8AKWP1gjZlTTYZIX91fQUDJ6L/+LDZw+7ei8CnWMXT
ZD/8D3dn0hy3kl7Rv+LwHi+QmLHwpgDUzJkURW0QpERhnhIzfr0PILX1usMOh7feoKuoflKxCgVk
3u/ec0snPRdmJW6QqdSbglHLDXY8UvdSuXZlE5TIUm/2gLG26eLkUkXha4cmfGSCh9zH9h3N+T6R
xJgavXgmed8/6IqzM4uSKT3r0EKV6nuvOPjtFGbGvVAxtzE1PVG6i2TUFPoX1dGTfTIryP+ZqX2h
/IBL3GznT2MhkOqd9gdghBe7xqYz9MnC9rWFtYW0sUfXk0ILr60YnKfCrm/irAgQrczzVCGSzXI+
JiZXuh2iB6s3NdL3xLj1uwmUA3uC9hV8h3G3/SiOWycoq6E+mnWFZshdMyc8HnBbzbyuHlE1sVle
Z838biBpeVWvvBbNMp3DvhnvEyOa7oVZR3uXCCCTmx4TEdPk1HTw/U9q/oUd3y1RpcaXSU/MzlXt
XYfx8sj0XUf5iKxrqjV3NhaIztGim5G41mOHnkGiUXmx+26/tKaxJ5qW7nVFt2+sPrlgcK4fLZMv
U6lUvqYYJtJWzlBkRpwsEVWPjojdA9lGzVfy6gU2G1++pbhvSKYEhuFyjXXEi5UkzTGKMhYMosLL
MIOvyHrMiDIJgypcohsy2r8PiSvdc1bCRuI6Vb8XhWJdtoPSdpghyAUiubi5jx0bGaFqnjD7iwe7
r7KjmkAUqaPcIqnMPhQDRMKqfXKMhzlldiC7h3Q9NJAEFAMHkt1YfsdU1RfiEo9q9iYgFnjzLIbA
mhdx7litIHXrKS5OJcVz00c7vUjLI7NoEeROY3pyqrW7ROq5R9qvOw4KsuE8KuOhnSc7kCipBHhK
51yOsbMXSfPUw0a/IGk7l5WE47fp0gSKBRJxydrqmijl8tSmz8Z63Y1E4hzAEMhnrCFs5NtO85Su
/VFY2EyMOV78epxqmB2YNSynLY641M9uvbpgyvc2LKKbedjMoHN/NyZ8MUP1RR/67ibMsF7BJVVO
ioge50Wxb6eqt57nju97QlDs1756iAnBM5FGo8YD18lvbjMsb5PFHtQM9XS/PcUgAjQTIOyERLBT
qzKG5iaMu1qfG+yli0FAv/6qt51+P44/xlH090sbEWWocAP1SLA3K9cuE3ZFnGrO2Z26je/gLjGN
OHxNjWnYZ6OqnrSkv+eLxiRfUwc/7PGLWjK0D2I9VeOq3jHTAXYwNG0QDusAOwmNy7QdpltUn+bc
MVqtdjF2HpgK/dnKNPUWkkPnk2r/UmhjAxgOxKHVLMdi0a2HxiI4UFWnqtKtH0YU4Svu0+lxtJsr
qwP3OCYqdtsqS18YB7q3yWond3R5NiVra8dwjccydHFqo+mRPz8XyFEyDXd2mOKF1Ov+AE2HGb9G
i28TseVJ2ts8HY0d58VwEggqZ7sfdjqNOo/4plNPZLFx3J5i9hp8m2ju/eKI61SXeNYGCR7B4bui
K+oNbuYqQCm1vGHO1ZtKHdSbfNS4oqfcEoUetU9T/1aAen3U7LZ9qlgiK5H2Vlqq+pJYvBWRUv5+
tP1MGRy5Wwr9YHcK9klCV0967t4gowxvy4zEVc8DxibAqeUkXWsXVVwyBB4kwqg9I8Ro/oYw+qSP
cnpKmnZERs8IAFgYlvuxkHdmqyW7NF90b2kH88VwMGvOEDa/8isxGEvS6r3vnBcZRQ8JX/VDbC7o
i2p33y/ETxizsG3vQmvxzHhyPtaUrJbaOLTjKD/lKp4ntcS8gxoXPhst3mktts52nE+3OiDTQ5y0
a3Kgyk+EbOVZU0V4zva5bozXNB9K3+n68L0zU7zxtfV1SE17X3XWj9FG+RV9jvNFw4DV5KryiIRc
e+pSZm8YF18jhpOXcuGvGNmNn6wOe0LlKtED10/s9hkxPkBcJholo4K8meKn7aDMFfGbxbXP2lg0
/mK7iz/WdnLdDknPgKOJ9fdNwY3xWQolgnDa958al8hTE913XL2OwDL6Y4r+yjwdaGFoMWbWFSWo
mLRhrxakIJMGfMUiigNOrGbXhAVD3aEbmGdlChs8A2G7s7uDmiroT4ZiHixmX0cT2dfLJGO8JnbZ
AjGZPDofZNDchw6By2tzpzgwDgA611a6V5kIykK/mKs83BijttuScb/B4r8zn7/I2N//H4ASiO45
pHr/K/u3ohj+iU7+q773DyPh93/wDyq5+pcwyQhTgrb1zvwGJAArp9WB1gYYw7SfbO1N/wAk6JRx
ogqQf/5VnvY3Irn6F4A513TwHa593ub/jUhuu/9KEnCpjKC9lWoWQsU2fVL/HFGcC1QrjDbOudGz
V04qBPfYJCeleH3jEgIL0y+ONidXR2mvRALaS1yb+Oxm7V1J9SRQmpkpa13dROkyXGvnW9zM40mH
0oQBgaEO0/785zz3CWZ3F8/1t06S1TFy2+tnVFc7S7RnXV3w93HK1aq8JsOs3vbjS4iSeyrKTO77
MX+Gqa4/zHZ9VVrC5vUIuzIiyGaV3LctLtowrJwno4a2JsFO+sDkQNE510jaZJnxFZh1Fu2BHIDN
DY1uH0md4RNiVC3s5FRmduvnufUau6l6x0ARMgqz3zqNFhzUwk+tcNyFtaE/NKX1aVu5S3h4+EzM
Lg8WaV4Tt5tOhtO+NNOCqT1vezTdIsZlrSsXw5iP/di9jaTkbpNe+sOoxZ45hoewFNNLxiqFOMCN
ZvTFh+5al4oBWVQt88MUlupJ9B1qb47AWGRA3Ss8g+HsnJEt1X00EM6Qpn1ymjr3c4Uwm6jvYL/C
A069xp3Y1jis6mczucjaXnxn1DRshfNykRkSTn6au8ifGq5Nk3l0Y779JLEDN0MXcuL5AwObdp1J
Jwbkt8KdPpWYfnpxmKzcm2T5zZDtC4OJPsArfwCAWBxEaP5oSpjYbY6eFtZp7o3aTKaXWdlhHjPr
VGX3XYuTs7f0EVvgY1+I5ozul1oEuWimTQ85sR49DvAGqp47jU5gd6xnasP4ibfyoocjezFFXtNJ
ca/h6OytL1lXkph0p5t8UmzYQfGHMTaDLzX1bDD4g75l3qKdF/vSTKZjUn0qvDzgyGq2z6ZC4VrZ
v5X2yJxqmYtg6EZfACI7aZq4jISKT61NZCBF3fAgDHaAn1smoqs5crB/lJWJ7dbQRqaI4Q8B5J3Y
UwtiJ3ISH/dn4nci6diM2qzwhsgbxqbbmZEpiGUN38hbTkcM3zcb3iAMTRDhY3cqFHZCduRiiULd
xGdRVeFrNd/VURs9WODJBtcXsYQ8xgl2aEi9mLVD/kFfLrN0/AFd/1Ro9YOUw+ppBxaVip+GnPKb
WOlDGBCx6kEFqfy2hKBrG/KCo6S88I2biDqpFyB4/al2ZeljvHjtrRrzQgY2LrYL66pW35WplQd3
KN4icPk728kXX5Osl1qXrQbzd0wzV6nUqR8lTchZN7/pTuEc8k6MjMGUu7Fgd11AQXIAi6Wxeioc
1e8H46nMjZLtZoELA6HzWDLNs2qj3Zm4BT2DG9teRCFrswy9b27No0kGA7/yB5ANg1BSHnnJmEcH
N82+drkBexo+Ck47Dz5Lnrj7lsSgGzuPcJmTQMyzBbGWUaGTXMyWQGwTctak5Tf0ieQ4phHu80L3
C22V9ar2IdeWn0ao+k5WXKKElbDLWjAx1U8CdierUthnhURCw7k5Tmnxndft+FFmn4BNAZ7HTBM4
+FtMm03/Yi6kHefJr4gZHbqEFTr8VLTzoEVW9wewUJMavxRctAEvdZhKclJ4eVcnO9nikHiUlYEr
kwiab1pTdot/uOlAGADqRtC7M9px2Pem9X2IY2jIIo1YSjTl3uxrc8fQQDvhLyGrlGvQmtN7/OgE
kHK4LwZDzxLdxidv5Y2W4hxT485yZechocbeUAFBITWWYleI2UswGOuKr/Uisz03qsYr0qTcqRM0
92a5tlo5otYt9CHMP1DqMlJhIUnJiCGqMTv+bMlv0LVJy038lk1n11672K9MMNyR0VApl5OkXgHD
547B0Hx1E32Ej4CYP7lXAG7ZLfHYedeJDrmcJMhuNR3EvOSK0e3OkJV7KgvN3jWaWe975XNhhLy5
VHbVpEpfHz8ze3TJAGKSaRM9+sI9d99NiPCSLTBCqPTTeb6macw1qSw+DEt5UdTwIsbWF5G54FrR
Bo+19Wsz4WRQXU+KNDznUthB6WqXOG+xFBTDYzOU5n6ZdKzdBuPQoW/0PdQ+wrITrK9QbfdOpbBQ
xdxyR2Zw+DIDuDj3KRpQq9kTWywLiFYt5kMI0AsCRVd6ulabAWBv1cPm3gaVsdyHmewCF0QLjmFO
H1PVd2Aq5vtMFBUnu+S7kS7Xjt6THYBr9+wYUPcymcEiA8nloxFIz26wqhsuMi/OpKOx1Mcq6U/K
jH0LLyEO83aQO7jp0nPbtDsPRNotIvC3ulU3/mAVml9X/SVhWBD0zlTvXSV/cWaHEO/QvKjqjKDO
hjewByYk7LYHn90kZ7iG5axbeN/kQsQZrn1+a1QzF98QKKclb5K+vhZWZFx0Sc9GpLVXC7a7b05V
ejfm3cGK9NuldpkSKK1Ph1qGNFZEgZYciYKtgO5OBJNbMpwv8DdOI/i7GuAaqxZl74jRn5gicUde
ILdW8QNCOCw+AltAE5uL3RVH0PlkYBNSto603YPokwNJqMRzS9KwTVp3JzybPlI7lh/X4ERwxo5d
q3PT14Z2lE9KUiu4KcGyYXJ6Jp1WMzFamoMV1oM3AlU/MoHmlkv437TEFfdAiecuNRllDcAMCUHW
ynQtmOztclLcqHdmYI1yWF9lcdeyc8StZfpKc4iiXHlywKmc1I4IgUKwZGf1S37t2/kwN+w5cOTg
BqKOgwsQIN/NPurkedo/dQsnQFRrTMJtsXhDTnwjimZ8jORT/TDGDrbB23vp/NA65svEvP+AtbdH
xsqftDWMGPChgrwdnqa1UMLp52lH9QAkEWBs51qzmNfFMCw3A5xV69/SDJ0zLYfVo6TvULDyo9qp
R1Pt5/N2WHLkG9Nw37NibIPIHL4rS9hwDVupsCpA9UBb+cjGalsvzKU/hqbiw5Ui3cWGkhYId2Ip
mpWXVAPUhUqkrR0fHc67zOY+kOFvpZqk89RImQPRdR9EusxdlFWk2FaX3lSOkq+jhcaH1eDMlCbG
NZ2puMRfZGHtw6hVz5EiX8IMGgS27Oa8YZSF217Tao4O27Oodq7aMihYjzkRN5j29kiToFe3R38O
AKt5Mwh59iu/dTtsYO3t0ayBXEiiQA5hcokdiMmV+4hWm16aMMxOaFp+2TvCMxkVeiU2pqAyQSF0
rF/3wqiZGPFyR1t3DnGGk29llG4mw+2gjx2o7D/PrSi2gyi0XqeViEooEzY9kl15DNev/ZRI4GDs
Zbi3yuGUylIeNv+3sUUotoetwdubqfnkbeebKl5BbTSnzcVM3BJKwPaQ8CLVIUsDC3D9WLOVTu+Y
/cro3Y7bD4RR3S8WFnkswW/R6nHl/PxtdN2ebofN8oobuTobauEz6QZZsACy1GzCFvpAzsJcD9tT
CUpfrdsm+POjrJYk913KbjaM+PZemNvbsr1XLTZEU0vCvfZcSjSs2JRE0hYoEeBFS+5SIKi2Q7s+
ap2fTY+pLR6rmfuZgRc8Yo9SrYzTaaDDh8XOcXP7/jlsrmDI0tU+c5eXQqkVaJGxcs7H9ZxL+H42
Sss8lgzCdnAGWwaq1X7mG551GZvlELf0YmwmXgWf7ubz3Ry7vx5tpFd10YxgUrq3jaS/HWyASSJw
rGbPwpFrX982XNXxY6QNvynh0dtQyoixIMHhXdjKRxdA6H77w2Frj0ET8boG0+SvegQSCljsqoIF
uQHteeP2y/gfBH8xO+Q7tucQKb8kzhjttw9l+yy2D2rI9GJvlTbWhRUdHW64aCoT7AS48vbJ/Mv5
244je6oWR9SfP7BddlkUaGh9Uy7ediJPWw2DQTMHkxzQadsbwn387xUE7kScGgmuJ6emqb/egu23
3H5fY63M+fObc9ku9w6lOgVWqnqgZSembqfKnQFXW2kc7U48CHbEtuEUvqlJ1t5rX49KcU9LgY8D
FC7A+r6f5+pFIZLrpWvbj7YsmOooAIJP5Kx9QNPaDCTXjqB8bQsq196gTLq6L4kw3/w5TK4k0CiS
S2vO4FHyPrAgtSKzH9W1nUijpmiIGcP17k2jNLcaNUZy7TNSUKkbiniilOoqRbNOyG/UdlVPMLC4
YwJoNhZtZ68tSYK6pMUt4a/dpJQoCcqU1IjGrlzJ2PmNyWuhfknX3qXcqb+C/8PiRyNTqvMVEEV6
K9e2poraJlV65triNE7FNYnGhkCQRsPToL/2a+eTZPWO3ard9zbIEXWhGSqiImoMcdFU9vCcru1R
kexuurVPKqJYqlkbptaFKt5EUKRZQvuUyv01UrtT79gwEHTNE/N07xbOc6oXeA4psXI+FHSCYAZc
P/fO+Gj2DqsvZzi3hnGTy++T9uAsjzDQEwKha0cWZVmxOX2wIcEDS42W0kfM/Ax048hgt+44DUoE
EAwrtCM0B4VPTD6l8GTL/H6mpgugL2CQtbmLzM57C7uXCi8IKqTYETcnx5vs4Wim9aMjT+661Vv7
wASgDN6u7j6zQebGE2wRg/qwcCxu+rVPbEmHG3X6Etr0jHWRdTOzyOik5CshZmx50o9ZM/t2Xb84
Ofe6tbWMNBDR4Sw5LV1V+JPXGdl7aw7PreV8G3gTlrihOmykCc21zCe5VqMV6mOT04qmz3pQy+V7
prGnHlK6e9KxfTBW47RlkTnMXY2WjeRLT2XXNGgvcxhCSgBBvCvMT4mpC2JDcyIOaO/mtr8vqHSL
q/1CwVvnpge+8D9b8H04aV0yIy1RMzrhGsrhWkriqh5CpVh749B3eSPV9rFYO+Xmo7Y2zDGy/Vi0
7DFdu+emzLrJZ6PfOVjjberpdGrqOurqMmrrcHdHu4Eiu7IXt3EhXxZpP2XCfXPXxjuN79GyduCp
axteTS0e8elDqea30Cjoy5PyIK3+a0WRHq9yRwxpJpFCx15J2V64tu7hAVj8GY8ISgl9eBX3trWj
D1yLHY33uG9ZOGaBehRrn5++NvslVPzpxjB7pmESUync+2SiBpA6QHvtBQQb8lWuTYEjfJEOUZ6+
GloE8eYzQZyy4YJnCUDlorzJkmRlKCpuBaeeTY9dgSfHXM/mthmIOhO7VZGKAXhjegQx4Fto1dRH
odO3Dml5BWgVnStxxFpZyZOLVYrn1ikx9DVj7pMM8VNNOgRp8EfzrhF4QZaTxTBe+rYlE9xFx5k2
JhI4HWSgUW0OziC8Pi1/5o2ZeINVf3UMrfZqwluVEJ/d7LZ+XA23NUss/HthS/OYS261hoISDY0/
GvHsZcnjDEHuggstwSF70FdbRl3ELqhzq8Q4oJzTNbagatE1VrHyRaOa3hP2mz1X6ofWtB9dcnJe
NWiMZXSxM/I1ezxbP1lZRIHeD43Hd9TWInGeYGW2yQP74uUqDEK9bsHK2up/wutvPLdBkJD6+2RK
FWyX+lYy+QiWxbj0tiboa1QAGcYtZ/kPI5d2sKTLFFDU6IOv8iYDw4Tu3Jh1gREOYouxEMQwAOi4
KX93rWLCtcPyJUnm+7ZEjS0yYr9qR0MYC9gv3DUYxoQIgXN5baORrZo9XqtefXRToryqXt5oxPE8
woPWLXikO9U18ZMrGJGTwtzJbjgODAtPBSgTVAYcdqHzMwUYH7ANMb1WSXo/tZMcQ48IYmaCeNeN
K5c1P5n4NM1I/kT2mPdMVH3dyOqjGoZPDdegc+k2FDWOHs4Ubp+F/IxRUcAA/XRSTPxKeXVUQC+R
kT8k8ZD52UCpm1mo1072d0aT/+AWc225kO0L1oH42b/2g/PJLX3w9GmOPdIUZ1GopzT9kZnWDDyn
H7FYcm9MWZPhzPFwJreoV/u0NVjKckvji9RCBMwAUNtpvPY0SmRJuAIQyUg+gC3rE99UuMqwqk3w
v4wal0FsGc2ifNi9NP2a0LYHNJHrQfIoM7O4tUqchlZhrXzd0fb4l2isuodmXnidU9c0bo66PxiB
7G/ANHnCML7JyQbjNPTjAd/tUV0+JQb1XSHcvVsV404XnQk8XO6qjgiVhn7ujS1pnyp+q1RCKstK
MDW9eBjLOwo754fQpD8mKsDm6xM9CEuyGpP1O8jk9CU2Nr8wKZpKFfl+0KzHNq3tHQG39NiYR5yI
41WxnI/YNW8UdmG+ZZBTLI3nMlsSdg2ZjVjKBS3qh3uYvBj6ayaoIajhYrqdo8G40Tmrk2U8LOk4
Xw19NLl9we2Jz1mRS/z6+SXhKuExLF94axoCglX0mpgB7jXjguDtRcT7DVM8Eimic2Kv5/YeZMn3
TM+eqx4nLgH/gUkC0b3YxbaisWdyIQcXCwqcpe2AwMD5UZL7eThMYlHPyGS0hKouAz041v7mYkvI
NRYztajGa4a+jcmac2o72AP27ozAvijrZ4ML28jQb8Z31GkoXohDNdGMAC04OaQyJKOScfOPfhZT
SDB9NNSDHWrDru3pEWjG6ajoOREpZrrA728T14TTO5WQhT4SDLRaYwYdS6IdlhXTC3X9RXYGT7A5
dHb27oZDRSQukcc5Zz4rpg/WTYGI8m9qNu7GDCZDmFYYl1m3yORBz3k9rT3+mGLjhFJ5VQrHCAob
kk5ovJu4Nc6A98CcmadFZXuVdPlnb9iPVVPijW078snpR60ZHwuKh193Sse1iK1mz1nnOFDlkmGF
h4TEbHpG43wmXIazEpRFRKOb0lt8nLFBJLzyxlngTFvMR71hNEnaJTALPeiEewoJRe61PG32y7JK
SWPxBWNOFfR2C6Gi00k5MVzNzf4CUc06x5ZxZ4u4CcieKtiwXAsEVVVj3M32akYAhd0App0hZ4Ui
s+YaWy7unQL3lQ2AIzHfy4Gprap+b+ou9F0+x6KOibVZgmJI1X0fce+nKTCywkN1AqSvjgXlLwjm
vZivdnMLgqsMXFk9FzkmxkaZey9eg6UdA/nVpEIydXuO7atDamLr9SVfu0jw86EjFGugdXv+55CA
oSO8xJVeKe3zNAsY4XQC7SqEf8IW/A2KuiZXtz2bw/kWJ+mZwECHwazE+UL3KAse/oX1R38Ow0gH
SGg7qVet/yhh8rw9DgbhUzVdU4BvDlJGUK+BVfxUbDLnfjiXXVkJrwQg4IG8475SZRGKQBSN556p
wxn/FsnvOLkugkab7eeq9ZZqxnzaWM96P40oOSwEl9kU8EPWaq8GjrckoeNtT23cv55S1dYqlv3u
konVpqiPNcuZqEnSE+Ouln6xZfTttVDGXA8oN38/5J2a+IuGpVVZN/YYkugOCvVH0eWs1JL82Rw1
uTfX6Ot22CpGcE7za1nK8U+7SLxmZbeekT8/g9V4340GYzNbIMqvO/CtYASMvEvD0vr8zw9LGcPC
ysVRTUc+2qULZEauVjHZHC2gS7i7Y+v1Jfb5HU3T3RnLbnfGPKdRppKmSG0w4oOe6Zay5nG3XqS6
Wdrz9shYa5K2R+v/o9EoKNABnvttB4Kvi++h46dns+sHTvw+dc6qJvgVLQkJSlVIXluadq7XR0Pa
ROSyUOxW71OYjbQ+mCPxf1tmd9vP0ogr5/ZITIa2U3ExMvrpP4WuT8FWxuEosThTYCFO1CNsT7Yf
Ax3uThmfGMYtFTgEh60X9r97yoIX90CtUxi6viqlmnROWV+0/MJqX+m/DtuP564LT1P10LeLicHU
irNDnae3woh5mq8vdnvFGYsEj2ZuvJwmhSFgr8V5M3ltT7eDtYaiG/mY1dyJi5yPyS5//ft/exHr
y7HIYFHbtL6O7U9mToQkZMkcj8RwQufZaOSdO8y118d1xJ5rB9DqtYjYrCw23TlJTMkg/S+eSX6J
GQdgIAdnmayN26WAuV5USNrKgJrdAtwUmpl6k5O+Z1P+wRrIy/V5hMEOz0pUyadpli9Vx1mCc9iL
K9F4S6auFRvkFfGUUdlWVngvZvYSCsPDIWmLQCBU7HUwhR07mg4C5SEb+OskfLufKmFPAkFLaCQs
TqILoq/kJyeZiJdKDJ/K2jCGNardRSmO3tleY9KosXIgE9JR3mYP6hOWvHQHLPM3xv3/q9dDMzQd
8P//7PW4Y9r077/dH2un++//4LfXw1H/Igfkqip8dlO4pg4R+rffwzH+oihD40/pp9dUXeC0+Iff
Q/zFXFSDrixsi/8x+aP2VwO97vzF114VeEfwitiCSvv/QyGGsbo5/sZaN2xA1A6LfnvlrGs4Uv7Z
7RGOSjTEUL9PlLH5eKjnu5B2IECFLcv0yPzQaQpNnQ/2aI80H1Nk6hqZz6Xja+M6DBANAy1hjMJA
GgOupRmvHH/uUuhOqma4z1nUemKcCBODJTuW6B+mKx9qYbFvHhzMnyOZA+Jhma8XDYV5sXta0lu+
C5k35+w7TfUty4AQ2/BDd+1zWR3yeYmPhdAojG+1M7lZ7X+jdP83b4mm8p7zrpD6s4T2z2+J2zsy
FKNrnDBVusdIS3SPKcptXickthQFewmuibitw2Ba9FuIgkec3fCYLDDOdYHqxm/a1YS8e7fkt4mu
LnkRr03BpGWVtXcG7HCRa33lwlGf/nbm/bZR/VvZFzAsy679j38XfHz/8oE62HccQZTRUm3HMvQV
8v43iDtgsrzG9tucQmrZCKzr6JzFQzFZ6q7o3OrARfOuHF/LNZ87140Lc40qDhiwr1WKd0ZIglUT
/lvkutVlUmlMljCsAEO0phQeDChbDdsPWfi1qdH2dYK2u8qJPKyZ046A90VnOopEuhyEtjwkoqF8
XJGfhZmhb4bdpckTrDTVdJmH6NXQlhtuUKsg6nzVhggDd0csKhEndcGAPlgnkaWIDM49xk/ykDjk
9ombvSzXfKCyjgss5ghgZImzWPDzAzR8rsLuhNUixsNnfMh4aXaxNXyfKcttHMMr+O+Ysd05ioD+
zIRmJ6zB3VndDy0GQZWDwHXSkBxPHlE8rxXYMaxXVvP8/9oVV5ClzA+/1GTuvUFTvnc9NrvY7sy7
GAXS1iixVAdIph3EEzZK6rVZPTZjPEC+Ve0TedLnUutwJU2gdzr+EqWi0CDpjQejKL9HIYhHbRwO
dlrmMGbEezY/M1YydtlkvDvxSTg6g+2mu09M52KoNREsgIO7rGgvsA9QQdO3ZbECN4SXUUmDu4+B
XyQp2hsK7HVSWHQVmot2wBrwvmRw/i122YB/G+wW8mttAkaqxqT2mn6agqbS2I0xfJHxhdLqhZrl
kuwKpSVeQl3ZnYar3ROaD6GMTqimf8iYNeoOkRSpBRhcd8UicE4N07mwu49QYnSB44mqZOzjpHxX
rGJtbh4RZtWh3KOoPUQOjoy5nt+K4UUOc+PlTfmlntkmd+2HnTdBavRfbYc97dCVP9o0edBiiXac
JHcMrsGk9sOrRSCQNS1RUswA9kymSlmCCKq7SU8LzVkUSajGVztJQHJrN43KlLNKtUMyhyWyuYJs
BFndrgW7gqXPcA/TUNCw6FVj9i3kr7NuWJtR1on4Na7kocOw5Uzjqc3kd1t7QME/927x0ooQWog6
gXuDLdf3QMhTzGF8LM7IYVnpvfRJ04TGnsP+FhNlIDHbn8hE0LVFlYQBaNTJ7Oc8g7Su0MJW00gb
4yRBZIvUY2lgWSrmuyGpHlOrfa80AmP5cDCifG/yTVrH8t86B1kTcG1l0yVTOsdWiJ58KnUS6uow
cEMurNbzUiH54ppB3/sZ8lpkPpN91N8V2rpIknJBt9vUayc0x8H8mvJ5ipTCBiaNGS0anWxeJsa8
9HHeA9X4Hpr8AiXlDfMoD7Yg2l+GjxC6b1IXBIYapaShzMfckEG3CuNCWxWF0CJsWgyHIhKfJd88
cKOTiwKbvyDR7S0IjLvUgmVFrB5BfYHkq09UgbdqBWeserS7fC8yAA1LB1Z4sGaSp7l+R1IaR42C
63nAK+ggmWbrJgp4qXKsyRiKejUcMUoEMz1wuUZxHNtbtvU6Zo7KIJOGMwYbSSpjtrvhh2YWV6WM
n1xYeR6bsZc6tzR/CemICkf1/te/CyYFyajaM7Jkcp6+45L21+/33JKSl3yVZJGcoJkFeqquPozd
YkRvQ0PEchmmT9Bjq4uXzb+i1+ya78NagFaYPlPX/pqRtrQm90PrwkeqQPx2pP8mCVvK6p1vzqRf
I+fCtNdu3WiPd+nrcprVOQRzDLKtDg9VjtSYuKoXNz3hYEVNd2ptHQjDIvBaa8FJbJK4sOLncDTF
kdo/PG9cMuPOwuAooj0YWSRDeWIg+KrjN0kl4RzbvrXs6jVy5SVLTHxWXMKcxWh86x3jREKP1nRd
EsadpSvh4keMfGPHx6VS7+reAZ1HAq6VA0ZMHEXjDKlrdB0Lx4AN8x8eOPevL8g0xzwXwFBKbdzT
sXGX1/JLGE/3lg0YLyrtL6JlHJe1P+IEzdlFh9IZKVQdJo+SBzLE3DIUuFXWPwJh9wj79wq1mHug
Q/Iq1r8RKd4tdV7ieIv82CUWpRjQhaeiGqh3pRwxW5QdIdCfk94/WHBwp/+k7jyy48a2NT2VmgDu
gjfd8J7BCFKi2MGSSAnee4z+fThUMihm1s1XzWoIwjFAkAzgmL1/4yXEVHt515dhtwlM8+B0AVN7
0OPwjPjuSh2MO6/WgewlyTaLm4cea0ZSTmT/Sc5W7P5naPi/JAUJcw30nRVBobY041vUVwBmXfV7
LrlfsTY6am5DYg+1sRVBvbWmowIy8bCsADKyakizthyA5w6kRZxBP0LfXJOmuoZGv5Bs6wmoP1zf
hFDmc5gH34dkXDamoX03WIiEELxLSQUDpPfNPJ+ckaLSOuk2YcKx4VHMaxOKAr+grMGudHJGli7a
+EFdnvXARGm2JoEJwmdm5xA3fVVO53bi5EcTNtq+rrzX0ZYfCjQtwWORUpgeeKnC8QC5praRs4Vs
QARCLuIn0n8lMjSZPBu0apkM4dojZlQDZGPhorlL23iovcA74Etg9VgSlYl1RiSbL1vvXkfc/0B2
Degmq49+ORlaSl7D4FLMG8t66ExmUM/eqXV76uUZJhI7MzOIb0v8tIxb7lh/j00TtgGPxHHFRv3Y
uc3XEcA1Y3FikvY8dLV+jXtjYdVR/W3609UuwaPp++gMLLuK5nWEl8+jJD9hkTkz8JqZmbr11VOS
a2KR+mpIo1eZ8mQBZ1lZSAfVevzapq28yFlt14GBsrpT7J1YOndN+6wzIc5HHWtxAv4mRJMJgZPN
iiL7YiM01MHh9U0yZYN5kbDfDEm6zYLogeXnTmr6B9dHF5bIBEPT6GwVdCO4ajZ6xqP47Zge5/oU
EouHGK2aYq+Z+kqNnKsdmj9JlfPM99YXCAv3sMnWpl4tuwimmHsyh+JOckp+cL1b+OzHXfSca3xt
Vr3jxOem/TG2RI29qKnWaD46sqktzZxouFF1W/Jr1rYG3AjuNbnXMsI5DPXKoC6LFIe8evg2Flaz
azpl00t6P9diUMCqMSBS0QUWWcsAzt4IvzeQwg0pFxeISbbKTR0pCJxa9Typ95nTnWNLVcFzh0Tr
UxWdb/wSIG5i5Yq8ptG0+SHS4weltjFNUdnBRLr2Ytch8N6knw3FFMAOkkcieqwVJiK9r5MUjnwT
tWryK3WDOVMkX5VmDsAyXSKPsSYoyuuvdFvWJdinps7PwCMimyKyNbeBjc9IDAbwAtE2wbkSEjSe
8/PELU+E4uRLmvZMhF4ArS3Cs93BpAtXLywukqYiSwsrstr2HvBRKa7mlVtqixyG1wKfECiveTgF
OuRtYUn7WDfqxdDijJx6+sKM3eRoJcXVR051UeJLswAAum9iVSLjxeshFQn5CkK+89j1oZQGKjgf
bUBELZswAvWkq9lOB9km5nYrijNlwJnE7IK1aOwkwtISsbKFaHy7QDvH5YiGH5jND7cQbTjrtiur
lc5FA+wm62RngRo3c7u29r3R3EqNwJwh6rDzc5hTkuoNrJV5YMQBjO7vW4pijlZhGpIeehN7FUAj
cRrJLvsLN597NtolkxRl6hN+SY0uX1oh7LlcVbYJQZOZZlnFOgCWsbVKR5+xgfN2TB9XS/dmTThA
OjJy/izIzYrbiDPxEZ6AOolKMmkAlHSlx7OQgcmTYK5uBrNCJSxBqLEnv4JEqrVtrW5ZJNj+5aGS
bp1SlveuAzEx9u3xRKKPHZNm5GtNqjZohox7HhnEZyZzN1KHygrRD2CsRQXgI4c5j1haePJdMOk9
gdBFjq4nb+V47XomhR6y7cUCBrgoAa2sWMGwmiPzsvQ6kHy6ORnTQwm9N1Ql2KnIACw8vVDnA7Ao
KAaKtgSwRDBrkMhY2QXr9g4RlwhWRIR6pNlmQHadbKt7TnAgJPalTqSeVSKme7G6GpSkOMq1Np6l
hMWDnWA8Pw7OSlJyA7ogn18ZvXfoWuMb8YWXsRwheCSsUqsSvKu0iiu0jklMYlEj5foFwZOdM0A5
NYwxAPHJ+JDmTBV1AsG+8o34eWRCskMkZWLQNvtiGmd1ROeWhVfeo9RS7tGqtJbA5666ovbHbmQz
JWODu6rx2t2bhDpgmHp3Sh+wV0+NLXt8fVu1bnhfOzVpNV4Zlhrpj7bGekxydpnOBFZJSbpPFVZi
xF2rR28IwHpKWNAqFlkU12/jJ8vy7hETtQgAhP0qC1rvoRvTX1rB+I0v3Vzpy3rrdC6uLm33DQE1
hPk6azzyiNgLWwXf23UesDy1ZY0J9xQktrVHWcYxQmSbMR9hy/1EFGbChjrDnW625ygKnTXSQD8A
hgxAzvUfJLT9feRitdKbE4SrDsJT7dbBSdJgLLpeD/JCNXd4CQ4PkikpiyhtGS1j9YJtrP3gSVW6
lVpydJnq4dFdmed+gLBoR/nYkpRjxZqGtnrIp0Mr6+ehgxYEuSxaGmOtPgaWeSYqm2yCpj9Wg5Sf
HbTru1CJN7aGeIXXd4+IpGQ71uUuEkJne4EGdXgpFc05BLG5mayKSNEPF8QycOVDfmfX5fpTYBKI
lZOohamu2Vu/95C5BooN5ppZVS6eXFYjCyYxbVsZobON22ypJ7j95EjgAZQhLGqCQwwM7eyBpdtg
wkc22InrTQy8c9Y9KBWBB6B8RzJj3p0K2RL8ipqt+xbjDh2EF5rAr1CQ84vSy9AFWkxMfRyqRsXg
D6aM31qov5ugXku9nG3xEtlrrUw4lycXoP2KhM9jEiDx6Rva1ur6amX56VcX4PPFSpuF4pbVvsMX
uZCTYJFbE51jxLoEM/i9R1QGLg1K4bM6dTvk4YmX2GZ/Hwzkj3EKq+aFHk1ZZfbx8M6NRV1BIFUl
X9rDrK1be0ALJvfmHrxDVNqwk+jtb26ifWkdVjL9WK7zbsB3gyfXL7xkp3jZYmxGbauQYIMX2cyT
YWRxpLsqcYjgWQsy4O2eN2lZ7coEqZVwyE8uLuDo+NQpG5Bk7o/INOHHkNukYBWo2Et9/DLKMQlv
FOrWQRjviJYSeqktRHYkaKhDjbJO1OxnBMXKeyNICNSPjjJ3bb3HpwrpP7vRSKT1qbz3peGO9TTK
P2Vqb11pPU6SSLIM5AlcnLT0rOHkRqO6K2OyInKiOuugdvBgMjtGmTId1rLs7vRJ1sGQuqcaGYhj
+bUopeCh6TGGI8pxBvk8MZW/xxi3XVALAHbpwR1NdbRx0fiLLFbndYl3UWN20SLRMJ/vDTdZVL39
6iXJsB67psCpaCTlhbBSXhsLYqWr3LMJrZn64+AksNCNlu0RETgkqBxkGxvU2JH3K6PHUg2PVut6
2NB27m7Aj6PO90kGlHLEHFLNKvmemCWuYjycYMk6jV1BgdSzNR3EWRAc8oIpGQulKTsynfblgS2w
y+wIptRrw003gPUMMZtaujKxJKnsHWMeg0LEDQK5YAFAjf3iVyopw7KaMioh8eKZIjvNMogGN5kp
U27l7TTIyf2woIl3CSDftJPdOzWONcTRUVs0WZcQX5zAftFIdo8NfJ2EyTI2rGHnV/rCt9BOZYdh
z0WVOAyV86UHCLyKatLIwLwBXqLj0f4+jbIi2MqkAOXEkHfDdBBnKg4K7APr7neZTC7UjpAMMgl1
oMyTKLc4S4UEOKEP0CZITbHfSeeioQk8GOV9aM7KaeECwZxUZWg6CzkDISzqXLF0uTWbzP1ohEXP
DPPQCiIHvaf3a8UNxOFT3a0oyxPMtStx30S1AlrS9JlvB4v1rIfg0ucbKrbMJaLP26mSE7KFSo1b
yfvVHzqJSpjnGDhVRTz//BuI5tsPJIqOrYBXmpTORYNfgDup1d6a3z7g0xX/dJdbF6XnzYVwjVwj
zyMDIZwdvQfGmOFcC2IE8FeV+eFSNBf6lCbuHH7JsLwEKLtCuCLzLg6WGzQ7gqfkyUXZnlr6yp2c
ENHizgdsjkDpAEA2W9j5xSBd49R+MB3oGur0BPBevTiEfJZGNmQYtEpKRk6fRwFnJzb4btlnK1uN
rw7458Tti7WkJWDP4go3gJ7EAiEAWAehLj/3KaSltnv1kwn54M9Nzz02ar5LE5CdLCyYIAcDwywc
b2G7m7gysk432kc9SmB2Rfk1CKxfKCPcOUax8DTnjInJdzMDdai00YlI7C/sCas2OEM5mrQNAmuB
nc+WbfdTG4AhI1UwVxLth1khHUHAB+B1KX3HLZK3zvKwqyN7XfQvYFIhB+X4FcIH1MF0AHMq6+Go
ZdIv12QB7CjXtNMfw6h7gM6bLxvVPosMQuoGRHjj7gWsDxwWdkammn8t9Z92TyQXHTGknNqNmmxb
mQiQXOI+5Pv1Tx02sY9ijeVHWCJ5qEN5z+r0O6OPm1egtRR7bxmhywLR59PwpGb9Fzb9CvSJgR5S
ekVaaN8hBjXR8SMU1FIDiRaj+RIQDPMJpsfFl3YwLkYGgyDTdTh10mtl6/LCqYI7teivtjI+RiiM
bxQdOGDpZGDNqk0ulahXOIDx3GgHbMTbIEp3yTGlPLXuLyuDsRShH0iWmA0yoMtZZWrHwkPXODBr
1p0IDgDQKyHGgOLqFHYDTvzYa6SGsbxb2fuSxdY8j2wHEw2ZcRm1BIsxaa6jx8R+objUxeMQDd0v
la0piTQYDs/4iK6KHmmvxsVzu9s4rXNEdIdhUpuW5yfZRmwErRgQHM4Vflg4HAsDzY66PeKbix7c
sHDq57arMJjppJfOKQ5Rq0TrzNO/5OGXXA2/9lgFTfLU2trOwz04lGTpTKB5gggXW1XhbJr5jwxY
9MzBhLdlIFlroYYjRYMoT1dgOMLTAyxJLRRu4wwQk0NpSnkB0yQJkWiohem5AcgW6a3IthWc/ljI
e9NGxoTMuiiS11Lqeswh22xebTS0ZFhEg8xPosoFwcwfEI438aeBvSA79Z3dQtW7OFIgo35gv1oN
LEdLR3K2d6O5WyDsmrn3Kq7VMyjj3pyQ4oOtgQwELfs4yUqmcvVlQgyylzBnSct3p8sOQGTdOAeY
qC7ynpS/W4577K9/ZsEKTb5rFju/bBCryzbLdzgzgAocUXh1HfW5kjUTRHq/GCMsSXUiqnN18lKz
0LwKZR09N+L3OBXFwJayxCIQFIOlNCqzATtQoMPao30T5Sgmkn/q9cae5WOx7yz+bo4XPQ2OvG2w
FiVQlIOZA7qdoiffp88xk9xKnd613EzYtOxyQzlN/9xwCHBL4G0Zcm0ZTTQCySgfeOAZaQBYLCBx
trMILHeZEbIrIIXOypHJMcOpB2owbCYZ6TF8f+YZXn6EGLJF0IHOq0cUjkvVOyWkCpjNLIsVgnfQ
gDOgVLyQB0ldxh4zd9ylBIq/VYR79lUW+bi6IhEv9yUs1whm8Fh1y9KOnkrCI0stwRBLK4srGrW4
7ejxXVSNhJukp6THmHHsJuKrRcDOfFbxvOLnnQSIQ9hwIEZO7FbIarnXVh+eK8N5KYmH8G0oz/ba
K3t16SZI2I/9T/RPf0KUuAROtrS6FDSz6T1OCWmyXRAQa79e2yaqx10RLM0ENzgrQqm0K+x+7ros
6ZVo7GeWgdHn0IVbzUYnLEWNDjD69OvXFjT5gpV6qRlE8qx1DIF45evsB3vN5AMNnEYM+VxLUrds
zeJFLfxqjauGtyywRCaRVsYJjyAIq4de/9Xa7IYLY2+00l0/BexBC8Ldara4a+Kv0aCSnMJy9R3p
RfVDVACzl3KKp6ttGJL9KLP9EVm8udE6LrwSKVhb5gZN6nzrqsML8BkbNvhMUpQvbUDoph6Cb27/
q5dAvESphsVpeeoU0rsSoe+Ih04mdCqbv7D4JuCWkzogIgNjON2g45Ju2Dkh88dmBoKVnWHy6sME
0YnBzprA+BYoZI3D6EWLoU4bSMQs0fC15o7X3Y+l/RIxhuaS8WhFyj7BuWumKuqdlLT9Ev2S73XV
AJJsYKPWFT8TyrmLVNKCuZuad2EEP8VMK2eGEdWCt52/vmkHc1YQYSG+Cv2BxBqOuw5CNl0x8EC4
uK0mjnSxeS1BBNYKnMGWx9511r2GzWUtbWLpZwlEhrgBmZ3GkIDqJh7vQF98ieK7GPLTYhgRQYFD
C4lTPTZN0cOatZZRc5Jl9NDyZlimWnN0ZDA7esgiqYBFzJDgbUTC//9zMM1L1qR1OVx+ekGW/omN
AV/yf4fSPKZB/fP1/1zr7/XP6m/X/UbUmCbYGBkMDMxZ1gGW8RegBizNf5BkshwT6AzmkSbQiN94
Gkv5D6ImlmZqKigXrvgNplHs/ziaCi7HUd5EV6z/FzANtol/gC90FFgUFaMzyEIW2B1b/QS+YBAt
UwUA2c9Cy45CdLQnELbI/RGWcGuqjx3BtUXCs0CmQdYeZVAIb61qiXKyaI3j6HfrP10rbiU6/9O1
ivM98ADwem1e7MUBKi8v1K2MlhAc5unwqY5RGKPtt0qUXcy07tFIG8vD7RAjAfGhGOiJtGfaYk+p
IZMUJwfNZMCRpmIxpPKy63xrrZqF/lW16tcorbs7rwf47fuwtNijRxAwn40cZgXo4K+t168MJwQK
OJOtUV/E7uiii1y4e3Fm5o67T13PJEk0tYhy5OLO07YhSuKyt9Qtl6B1qYUeGhMjAoixgsYkMjzK
XpR9s7lDBFL+kUdBuBlCPT2Eo58d4ungu+xdAJ5iyfBngyiKgxmU2SHKI4iW4jTfMIIhHjr1x3eG
6ALp+SUU6RaCz2ifQtKaKy937ZM/nY0IMrLQNLJFrqyzSqu+OHIhnWuMx1G+RtcMbmF2aqeDK0Uc
LEYw1IoZnIFYNcQnEtwmc4R711pdnxT0bE9eLulXIIRYahESgHhRGlcCZd3Ry6vHIoHLIPuy0V4I
B1Y7JnXLNKpLA9cChCTuBmkAOUfUicP0rkxKXcBHp34mpt6X/3aRuFFstButRGSt6zXADEbQwNSf
PHNuB1GXo13wuQ64DvOv+M5t7TSE7UbHS++uJN97dV3EqirdVFgOmP61J186YxHL+lbt6nUR1ShS
KWqzy62u3diwvoh/heYSQHN2UXuoGYYU+V8j1hMzNgrtPk+x/sjUPgbJX4VfxFn8flZ1UvBWdzuz
NFXdhLFvLpUYGKRiAbJE/7fxcZah3OGgvvYSx9u0CrEsqFogPqvOZw0epZuxbNFL7GX7kk8iCa2U
hK9+3y3rwk+ea5eNBGpcwdGo0UbxtEhfuPXgrrIGp5Ukdz0FxgkC8Dz0TLeEG0/+gAGkbJXZaZgO
BcsJFhllvhINpT34gDqmFsmvsYQr8heLQGvhxs9qmHT+PHcKaTcVU2DxPq51o7TTGuL3UDs/FMtU
L++xr1C0MUGWpNawB4h0ZQ8eKfIWNUZxGAHCRxGVb+1hpfww4VptrMQIlpkvAUyBcG6vDelFqpP+
iAmZdkrYrNmhFY9fsF9BZbAgkJLObK+GJGMwb3tGNJwdDBTeDqm+4IrgY40H7CcrsJpkKTZAkuuh
KJDxxSknILqekSjE8uwl6DzkVtDpNVgtWGmxjqbRQhwY9dy9MY0jopiIweRW5gu8c0eWv1aJoSqh
v+Tol7q1YLoZn1g2kHJQTfAF41VHEOZrYjvdUjbc8AB1KDkGuHK/dW1TwDpoZn/9MBX+E7ZvwoN+
wGrqpiM7qg5NBMCoyYQlf8JqWkoSNL7p2z8jM4i3wODI1qkTGl7g4muMl6CLThD5z+XPXT+U/3b6
+doK7AOSlb2+xCZCfmwK71IYQ0+sJggfs27uJlUyd7PBXcbT1ywOionzsSvBhk1hdYmqRNgsiFN7
uqKXSI+KfrfL3q+41Rvq6OHO8L/7jCItj0XapdfBJhZXIXR0H6hleQBcBPjerPPvXgS+v0fbhQVg
gEKXm8DCtfPv7b4OPCiuCT4gNc6pGzOOqi+SlGwTTAMQArn23pieJbM2Lgl4DDauzdNgGP5mNE19
qVh185S2iJImZeXfJUblbWBeKnOlVBJS1IP/3LrVME9kuT+0KcqLSVScram+snt/KSejuy0CI/06
NjCPp/rGCa3VUANMc5PIf1bqO+SBrCd3SKVN25Q6exqq4Vxta3LJjx6E8H2tj6CtOqSzNTVc/MvT
Z0+w1xtSmKfPsjRGPBClqI4Rx/0Eix3Jq1WmbAavoQIdK4APcw7laHzWZaCX3TCJsOSwMprRZirP
EIuMHdCNXl0d4KVpF9+Tvg68sMjxZuFiwOLwUGpydEhQVng7E3WSnZxRjiXu8me96Ns3Jthk0e/W
HJrFucRVY/NPtxN1chWuId7cW9gnLnuoeQdAK8YhKhFdTbLRe6rN8M6aXm7DNc6FqctfRVfVRz1S
dG1HZPPfu2ZWbL1i5XQG7qt8Nd0BPZ0co+gSOU/sO4ANjXl6tptuyyu56nAyJujBmRzr0Io90rBv
Z3+2fu4n9UAqsPN5u/bWitSxslMJnM7t1JEP0jB+PDi5sg01s0Sk54/6W9/IzeWDKJoGQa8+cTdE
6QeI0P9wO1Fn4HKodnG/EZeKG4v6z5cljnyBX4h+That3DEeHpg8ET21lfLJHGDqB7Xd/YC6dBwj
z0eDHa2hIJDY3iVBPqvZiF+UIJmccdJHJezDO+Gd814aJ2MdVIgfCfOHd8JIZ2oTJZWZ6vG95//q
unH6hPe73D4PjbK3T39vu33e1HYrvX+ekcbWFpW8ZoZEgn+0c9zyekPNFgnogaOoE2e3QyQaSBvN
YaP97vdPnf1Jpv6/v8kWSpUfX2T2Tpqm2+xPTKgHk9Ik7R8Q4r0fSKBmNek1COVJ5Me+t60wPCKs
0M7FG82S4KVBJfSepU+AQ8Ff9Tb11Xt9OwbdPCvUYVpCvPQo6nzoL+o1z3qJ3e9B6VycOh7Bm9iJ
cnDfH7O3s6lOHlFbga5FKMWvYL6IZ0w0i4N42sSZ6MjsSDRIQ3BkJirfbm4raCHg0iMvpIxFcYF+
2SxtnXRfTIviJNNkjMY18IhTUU7t+L7Gy12UsqlKc0kwB8D99oHxDI50bruDsY+Lurrr1A6wdhAl
LwUyP6Fr9s8Jy+TlrYdpvLoGJFLb3CKpGaFCZrLIupVz7V9WA4b5929x2uwC75NVB+7Xp2+RCENm
MQbZr5IXK0AADQVJd7ExzBATb1TpQRSiaNMZufSQB2Z2xXy6Tay9W4Xe0TRLVoXvxRwMNr9a5761
OoFV3jvesIBxvjHGQj1oOsGLKpfVgzGdaVOdOBN1t9YsJ+t66yfOuqC7KCmgjc5y2IPoar+qixLr
uNH7fRANGQBBNoV/1YkuI5PsXDTkONbBUZ+uQ1n5921Eb9HRiQA5/vc3xfz7m4L0CvtDFX9DwtzW
9B18eFM8RKCIaPnaq5HW3rwKAuXQvB+A9fCkinJd66wOc3QC6qDa3aqKlC8mDkCgjIGhY0Mb6aeo
Imel+dVRHxr9hG3f7/og1OMliH8dWN4fDeKqHjZiXarBsm4cqd5mY2DFJzlrcb9Vk6eihzBhZEZ1
V02OcNp0NtVnujls3vpGoY5DWBPtW71VH0eCqGfLQga0y7VHDSLAeWorZPtDWzWVdL17yDJ0QTJ4
HtuqIz0gziB4/z5Dfeb32a31duZ1VriPVPQh//t3o2h/fwHsieACd0p2CAfpkLQ+fjm+5eNqNsjl
K3KfI7kNK3dWpQ9QCVH3cy717VaU3qosBWl/JMQHsmjwauO38tRbtIcocyJ/VW6HFLIz2TyjXQ9O
9uE2okH0hWeuL8g6A5nNEVEJs1H6ZqjpJctLkhsESAgE87+nnXs1LZ4Bn8EqqVP5KmMwhXmA5B4L
4qeooackw01fO0ZMmqCSwvKqJSmx5cr3nqc7+pGFdXV50F0vukD8KAG1ooZWd0XyosvyuugR/gna
xMXMBkscJTbds+gRg8tDiJw4cC0e1+nxJKkgHyzxzBIHBXmskT1v3ltuHSF9TEZabTpPO626d/rs
TdZaLxz/qnaNuggcu1rFk9T1e4+6x0lZ6d1LMe0fjdFPV6rrBrBKKYq6ILaSFQLC0A7EjtN7L6fs
1O5FR1EnOVBlRyWs7kXD7V6J2LimUCqVSqp3euHjNmGnp8br2Q9PZ5aaZGQ/UmOv4MTxqV70EI3T
laLr7SJjurKcrny/regh6kU3NejfbiuqPl3+520rJ/uXOdv+28MOGVC3YT/D62LI1z6N9rUZyOGA
MsHL5C2jQBrMZs1YsEOX2aYjHJ3sRbEwoHYYZTguspGNIFF7mj91DG3fQmx5uroQnfqpk+h56y5u
KYrilnZu3MUqsltBWA+nQCfoDfwZE4l8L2rIzwwnULRUWzmSG6irYKjEpK7Obu1EbRuUWOJoPSrB
cHpr/n0XhSgS5IjEWGbeMi9tRClbqSkPCv6EmGpMp+JQSbG7R9xPFGSslQ8fOt+6DVOLL9vOXoqX
QZ5zO1H1duo2AROQpbkrt4ozVCXSYZWzZudnb7OjqBMHJHcxdhOndmcdcnkot6ZfQ3O79RFnvlP/
voMoOrnh7P5luPtE1NQtcPAylM9p/88IpdmfhjvPGUPDyWvpR1RFy5rYhQYoBz6lkjWg/KeZ5TaX
kBztT/azqAjwddFmYk4ZsEZaRMiHvfUXdeLKMRj7U/vCSDLd9XavP+//9qFBaP2yeAhQSq6gFXJo
rYsv68X5bc0wLRzYgt9qPDuJznl40Bt13vO93Ecoz1wdCc/lSs90EjKOcU1HM9xjJ1VAr6K1V3rj
Ol2g47TwdgERVy6AABNXoPvF2gYDInKohp1tRNFLimahwiDYCBtC3/2rVUTeb60i8i5a5anzp2uV
SIaMnXTJdsx76FBqcvZlP307QJZ9HfNI2Yoq0YinEiKHavkrUar0HGPUtugdVeM3SbK0QdjRw7OP
lWPYVnBaJ0pIMcjN3qqMfInKsPdcWdK8dH3taRzdhecV2drtG1Rn8tK/toXmX8H3LTHbke5EVR/0
eCfIub/ojJA5rung2oFfXflS0M4NJXMQ6HdslDM4yw3SVkRT4u2toY8c/VhICAZO3W714iZNjZLT
rYFY4TjTZInFBjYc474tC6IbEau5MM/OsmS+1IPVPw0tzBRLMYa1mefDk9tkd+aklxb5/r8MhNaf
9FbdUhScpqC+GaQMFbYwn2JgTefapVyM/Q8gs2zuZ2mP7pqp98aRddp9ZmAXPrdqtMFbH7nsUG6v
hG2rDdJoHeZqFMWhzR/MdCwuooA0VrPQLctdiaKvpAbi9ca9KDVu2l7bwP0V4Uq8V1spPxFb1d/i
XCCJgFR04O6n0NdbrCrGIm4F6DdCA+avfpqIYjlIbQPZBcS/E4uwxGGlTM5fXoh1F2ntj0UHGOCi
tvIVaS/jqMXZVQT3xSGPkrPXgmEVJfLwPf7hFuouIhsQluatf4aT0bxlgbrTQxTXxFli9vZDMZQH
RDqGZ1GvD5G+c2p0DxAq+lyvdfjdDWFQzjsFVfN/W8kZU1aMJaOXpRNffvpOTUs3NTjXkNp14pt/
ruTsQq1Q7zazH9XQgfp13RKiSHMK+wGlQGwo+yPaIv1RnGFkXm3Nsjqxn8P9V3SeikkH4mHmaBek
WayjkwXJJnccf1dLyOBZIZxYK036KzOLg3xgkHy3kn4fNXnFAgujEquN1FcLv8RZKhsnBMzyI0H8
lAgXGFmd7fGiGGXbnpnxkJ7TSdoUa5ImAffqt2oU/FTJbC7SwUdba5p6bgcTY5IDQAGiYO8NLQRJ
WQHgZqmOsnRY3tWXDOhu6pabRO21r1roYwaX68bWiCXta23aB1d18ksTD90lrN09Q2AEOecOUn10
4EfBfPz9YI/lgKlNCxOmQqtENJROS4ZI9WDyiG0ziaeHOK/c9W2jLfbmt6LYWIt993tfUSV6mFIO
66WtAch7w/52GNt82CdxskmSWkVPystBVbx3eStbPgkrjLa2Rtjpd6OJhncKTUCbSqIKLhGGh3V/
FCXGmN/1bSYHqyGUMYJ5rxNdyOE8K81QrTtivOWPUJPTZQfqZKulJtuvfPC+JVo6SXUFwz4bkvSr
UkKpmeozxAe3A9LKSyJz/jcNVscsQfrlDjK2ea/o9aM51eNCRrYSI811CmKWJBLGTRhAFL0y7Nu+
M69Q84LHOgPiJ7NlqhRREPEj3bf9qUUU4qmb137o5gWrIsTy87+vFjSZlPanV4qxEQ8Ry1ZZOZjm
9Mp92Ln2Wpfi7T5qPxKf98XSZfsgDhJ6tCscOtBNeq/T/XpoZ8IeQ1SmcSwfePOM9x6i+lNR9Ddk
OIdAZaHyFPXVl8ZhF7YOgdHpMBjyXNdZidyqTBi7EKzUdIO1nv7WzdfMCIZvZc9FndbBQTEKp1ih
MN7P875KtkpfOA+FKclLU8vJ6E7FfNTLTVQL20CK4ZCSD8zyGlNEio1tKHewEI6iFPlj9uAZbxeK
msRsN24YWmeIKy+hDIMjMQk6NzqsYpECG6YNyKc6eaqL/ux3q5MMMtdvubZP1zWaPewNLOLQ5/W+
NVESfanaVloqqs+UMoAJNUcMsWIjkr/JI1LdSmNCJvzYNbKYffSpq1G0LXJ7fbdGWdYi89L6J3s6
FDLhXFn25z7G5ifk90HriVZR7uz+xGZP30ol8koo6NPHAch3KieVa80f4ObcriskFfjS5PBS+H6M
slz9jIMR2q0myzQ9ITgmimXe6Wsr8tOlKFZqHCw1GyeTt86QyoC8wMQRRdCNT5bhN3emVypf/Kia
25rxs3FhKOqGZlxRhQyOuak8iVlMVJGb27O/De5ANloHL9IvUBbJc4oNmYJTMlx9Ykm3ndptWyZa
VTxPVp/2a7iiZNseW7adM7qMPjW+7bsi0GGOIIiNGjgp96Haa9PBS/KKhCFnI5hbRjtncasSZ6Kb
6CGK4iDXVrV3XVxUyLpjieU19lp1LW2ZZUHwBNwRQYZxmHQvPPcLdB3faoMnGeG+/eim6P9MRdVJ
9IVlyslWFCGi7dtUcS9hGX5zK/M77Clr4Zluv3P8LHms/Xhfxu3wLOqDqV5F5/qf6i2GqF2ANQju
iaRDe9OJlqIocqIiGyoabmnTW10z1hsUFLYScMejK6PLyuQnk/SmeDs470VXRr/JKHTk8ac6JEMB
aIjTsoDFMMKDzwsNYYAQ7Re0L5faiPglFp1AqLuu+EbgYISUbrr7lsjk4/9Qdl7LjSNNt30iRMCb
W3rRipQo0zeIVht47/H0/0Kxp9mjmTNfnItBoAzYGokAqjJ3rp03LjGGoHjXMQpHOBfXq2qU8/dC
1Q8Bb/YnW/ed2+XjNO3T5UkjLUQ/SyV9aQThPihs6Q/5g5ZRSxkmlrYV8gdWAsqpGhX+DoghhtSq
58bIKtEG6nuymmvQg1zDPoNlgk+ycdEHUrlsQxJYog9kJhkM6+o02d+mpQZ1/Ox8Zn4uOWd9uIwE
97K54qTSIlLR0xpa4z/JTuFOg8WkfXBb8/TfbwjFmCIGfy66gAdhJeWYsqIZpsGu8u9vCCuRgJul
bf6FGreWOp7K3MktBTYTTJzj7dx0DWPXWrk8x21Nnxti6DZBDN0OpZGvw6n0neRnsW6TNL4FovOp
afPdXIotl5uZOQCdKl6KDRnFg79GwzbJzg63qtAvCD2DOGuq5lpaDZUck65B9N+lEGAwb4OiX2gi
7tMcubuGY3XJ1HSGkVtwpe4Ol4lkfFMVHND9IJEIcZXDmwPjb+YQ4z1GFO+LadJotYekl1QUhuTX
WF3IK9cAfX3PQtxXQp8yGvfJn5ZTn5r3T+Y9RS3/9A/dPxSvt32thfYJueZR5CWToDsrVNi+6qVR
wF2I670jRc5e8gZ/KUlh8lZp5TGoCPA3IkCcerV3cXmXzpS8Lk46rsBPnSpveWsPb1plJJtqANIi
mmKaipRpnyvA5TIMawhr98nj/bvsDcm1zUEd3L7M2Hsg5cY7g7o/vu7iUE9nvpldmy6TYdD91X+f
Kz7zdtNIRnb7PKwQAmxeEEiySY0uRKIpk0XCu8yn2kZxUJPgy4hDzE603E6xsTZ5Ew1xjQ9080Gr
cW259336HPTR8v9YYkGD+scNpKkOURlERtoUlvu0a4n6qEpcajO+1L6abInL+TcH1L4aknnE5gN5
t5HiIzbZov7bsBioc+O9qvR8JzaatXNqTK+9iEZUltVCdW1/LZpYASoH2e0vt00uWKwfWGjAQygR
+Q8K7GS3741uEVJJvNCKPFt05WBuirB5Ddj64DfvI+AZR+dk6Ch7iR9qrzDuw63oM6dwQThI5OJc
jEim1jjRsdHaoW3q2pwnYJZV+gydrH62fRAS0844UYk8gFj24RizuXYhcJ9JVeOb4nVPYgZabhI4
aJYfRLOwTHvbTYEe0VRQ+s8oqOjWsT6m+xylfM1q6WhSpXMci5qAouLL3dJrqKX17QagixiqJPmL
k9v6BhvikYIQIFzZkLYLr++Vi29V7YKSQuXiod9e9NNZOPVRwqweKHhh2Y7W2OEdGZBKj/1Hw1dJ
m0yHqiC/JPrZ9D2K1hjIS/LYzs42I+txxItaPDqqzBtXbS7hclZ23o4KNvPBT91zHffVQUjWajWN
HnyndElW8kgXBylxz1FkVQfRus8Qkjdx1e/PEDMCrx8Af6PsuT8XxcNOVSr/ULvfP3WLptWq/oFQ
lWjcH5ni+SjG3Ob7/WEpzgr90FZ2aR6nl1Vuh9FeI1e3Zd+IGCY0uoOsYJjm2XFPvA/dey8b4Qu4
dSiLdZF9LZL60Yl196dZf7TpAO2CIu9lhoLwe1UrX1JKA969yITBTsJjS8lJuFAn19dBDa1DaNXW
ITCq7CFVojM8dm2k6I8+MZDaT6bPGrCVpWkD3nuI4FvVw/bur9Bcn8arzGkPfAvOtufr336fxF54
68FK/T5UK9ZJAjO9g+1tHyS/asZZVxJaROpdshWh01FQcC6K2s1XaWcF5yA0DOiaFE/4TQ2FstIN
byHJEa4T0+KAp09Jresplux1gYhtf3/+Wfw2Vqz3oOuI9ULLbN+WlhYuXA9dEMXPzH9T4MB/IOmn
OFEh2YOxTbW1ZCo3ipIckoVPp5iRNQoGcmUZHZKmgbvj6qj1C0t9kOyMl67tGLucneuO2ltzJ5r3
A3We606L/Yd7V2NG3VobymB8UcqqWRPwXhJ8848q2cjHnkz2ow2qlC3VaK1bS8eWKbOhLPiFKc/F
sD5NDHrqD2TZI8EJD8oOAILAJXbWIfQHsNwp6tioVlaNUvLl0XWdKgjXei0s41s/GumPHNyS5SDj
o452oB6t7D8iSOMztalcIPkQUOw2K58yIA2OqprnuLKLpyxsgiW2CBE8PQa1oLZOruTADGBQdHkK
sPSagOSDaEpy3O0w2mOD30V1TpwmvsahFh8oOEgnAotWQY+Qk2WQkA7xY9Ijsm6SQxGnolMcomn4
diarIFvylOTLfY5o8rg111QnS9sIHh9wTR1wCSjftz7rnRPVSc6pnc4KNZAwo6DIVgx0UdbDq/Uk
cBGjNQewxWPF7oc3VSVz1luveau6FMrn1RzD9VmR6CGl06ks88VVw4s4eNK1cTFblwg6X2oj7XcQ
d77cx7VSt5cdvIyF6FPl6qtNOSsLBQuBGXTFgEyJl3+tDWCijqniZ93J1lFRhm7ONyX59i8zck9W
VlMtvsb27OIR/9SmOIhohQY2m79b0xgrDVLO08xMkZb31jQ2mGYEKTBB8501IY4DEBnE/VbEBP17
IqG35boQHqdVSxk7gj03T45DrUgvhl3Ny3Jsn12pai8ybI04zqQXPTX6faHFyqybZoXQaNZhQWGh
GI1DaPzgHFEX50gIxEerWRw/KjW+VdPdLQ5t12br0g1//QShpyVAkaEBVtTo7ftRvTQTbpu/DHjD
1iTVq3R2dREH8qXHPsekq3arkyEicGVFhgyKEsH7afF364wHI1u3KqlU1wt5hZkSezM1Sh9zrU2R
wkpgfvwH0XPvvk/1FYPa+Gl+nCj9NFW2JJzdc2ojILfL1KH7VKujLo1/VIjLlMz9YSXUeipmXYMF
wtizU5oRN2rM1C18Cij2LlVpcRPzxMHWAX91lT2r3Lae/Uc/jn3hIRuzj8RLtAsvn7kca86ziLRk
Nn4IVI5dRCt0rTeldd1bXEYlCArFvci2YrD1amdBIi5ei2agmfU6DCx1IT7NHMoBLzHJoqzUrVat
koWENB1yxW5p7GWdzAoQZ4gNbo3hZy+dqXH0rrrGCyxXE9iHQVYchinDxW56XVHS/92KwSHyCG6e
8K+X1o0/DFDPzPYSj3YzE1PCiGgLKpAvcSfxF2l9xGsqoLr/3o7p/7KYBGhmgW/U+TZpyqfdmIau
01OcPP4SwLczWygDCvSXSwQIdZtXERwu8h0X0ZdblcJDP27WoikGRggNn67qJWUzZE4tPRlmC7gI
RqGT4GHV3E/QVgBhkmFlEI1CEmBNHA5xcBNAcDiEfR0lqdqlntVTlGWp1U6eDmKKaOppzXXi9H7x
H9eIzwET8v7fvy5FiDuyP1IGqsV7iOofdNAoU//x+6pKufK7ROve1TZNVlADw5k2rSeElbw4y+Fx
AsSS60sZWBTrTaMwT61DVxgMkAeo1pakQRaYOpsosA/Ya1qUxoL8cjOPzaipnD6dtWqs3vr632f/
//M6cOW14Y1rkac0EATPfJ3AmtgWi6anh9FOJCZFM9L78I+mGL1Pvl9bZwDkPk2+N72q5B/CFngu
94q1x0Q2O9lDtEkmJYc4EK/X5gkG0WsCsBiZj056Mi2Nela5+CijQZqhUa7P1GmomxzDi41v6xH7
Ag32DeyR71gzVfy1v5s4cVIx2ofbXOGRbOZUrdo9jBpv4JEv+b2yFs20t55xXU7PqUoyDnXeUXO0
5C2Is2pDJTqlBqIZAg01MXc6dGE7vGjpjzAZ4d3EKfa/Opxz8VlUGgQYd8gVIApGB12aO35aIhiV
e7YT/ATiw6CoeCvxE9yauvOc2W16htVbXKrWOCYebteGEQYP4CWUBf4cBimN3H0MwkkjGxXBBzfH
e2Bn2pMmh5gWBIq/Ai1TfrGtD6m2/I9PF7qN8vrf33/VnLL9f37/CVFhE44WxFDxJqBy+e/Rm1Hj
qSk5ZvJi9qxFXnTF1leVD9sSBOyiaRt3J01e8X5bnH3P09eiJfrJrFkg+KZR0aaahsg7MrBN1+nJ
w2CG7PF8PcPaQW0UitnH6kFrjf5SFGb+mGF34k0QHtGVZn27aqW0xoeCGWJAV50ns2wQDE5dFsU5
+8ofr6IlDr2LCWPsElVpkfwuQ5W6JWusrHXWuNh+h0glWWT681Ku472BGOG1D1Al2MlwRUnnPRSh
FWJ40hr1JIca56pu4T8z3cS3W17cykGdrSfgEwRedWbwWlqHzliddJJet0Me6epMj434jwGgj9VJ
XGFNV4jJmGZ8YIllUj+TUx/XeqBbZCcqdvXvs1KMiDaJXjySbNv61ucOgu9pItifYy2b2MD8LQ4g
mvc+LIFHVGx70ZPxOvojZFCrXkGWDbyTb6f+lgoQ6cUL3S86z/6TaDX1Cc8oG4NgNznLln8i7SS9
qI3f72QZCHxpNNILRUrB2iTUWnWoUy8U4KQXntXhueIP4key8SSFHApsCWdOHhY70ZfkzjqD27d2
w7zdSa7U7MActmAKVTuf3dvi7D4H4Curs+nAtu/oE2RWW6Xf3DZxPsGLre/mVyGjEMIJcab7DX5R
mYPSHCynPdmC/TEPGocyq6QJLN0r+kkJDGNulqygtKkpDjLW3qdUz8+Tonc7lEaA/VUbuQd8MSHG
/m1aWNSUo4vqOBlS/g2yJkhrKXYiR3t4FA2igYSdiSy/ZI06PuBUQcG3GLGCKfmkK4RtJz6bw5dp
Z9fhgSdOeOkra4b5TPwoWrkZJeQvgulpFF7EIYlJcY3UV7G8+KtPz33W8rkN9aD1D2k5fK/cVrtG
Zm6LVh6E2jWUxj9a5NxurSpR1SvYij/GWoqiFoRegSHk5rjFYRVL0ums7vrxdib6qMPUZnIHzyCA
OLQVRhxaprik26wGgOrtHJ/NaJ2EMW5a5LzxmB+Ghz5p4r1qu9TjSYN7bDrQohKpzkuW4BkPWKO+
4hthQcclb9G3wY+Q/eQ3A9halfc1FQBBOMMKVNjQlVTbeyCEhrjZJ4Vkf5h+BX2ktt8wunLARyjJ
NaNKDBs9ipH++4H6j8pdqOm2zOaRhyoPU4Y/yasi0/XTrqisq1+7WICLatwcvHXcTUCqqVa3l/LJ
gUuOt+LVCwsBg+ug+jWKo9Kv0fu1YhTkEG52WX7+t+vFx4kLfBWFsVGW6rBLC9Agae3jiPf38gGM
e/EdtttWhdw4BbHs0On2ugrzhP1yd81LFzdkx+yuOpv2BrGrJKknHQ/c19EOxm1vAfAXTSKFMqZj
2sBDklHTs5DSF3VxGGslezWw0iuGIl43Ru2AmfLNDbU/xdrAMurajDj7TBvBoQZxYiN4fgo7w9hU
HlZuXh1aV6nVLgGlUhvP8PWN1hdbucpSkKlI8wOWuQddS7HDdlRj6WRm+5JU5ouIcv+emlTpr6mA
rpTbVNvpX7MulxZUTFoH3Z4MFZWY2qkQh2ls9ljTNYNnH1RSsAet7uwPNRkvJjflh6wVPyy/N9+1
PGlmTuKOr1StURJpmu0Vu3ig8I7aPMVhOiyKhiCFLNXt0i58/ZSmEmA5q/QxOc3ldd/oNb5iurVR
pd7ZOraVbDUsTAC3dfLOhs0K7pFiQCfIgnXT59YxDw04ifYwPqrIgkkBds0lDbN4EQZ2DfdYZS+P
MfoLDy5t1iS98hZY4ImqvJO+WOP4xv9J+Y0FwMGCjPrD6JKV3mQ+JjV6uyk6/ndaPY1PQzYU5zQv
PvpQU94VD85N5SnFNqoohFRizKqn/qSvrXWJtg2KsCW/+56x8WPbf+6aU8/N/TA6Q7jJKZWmUqqC
cVO10Te9aGC/Rc2PoYDB0phNfg3c2FtBHdZ22Ad7B9szgHXJhfcadeZL54zNDykKV01j6CsTsvpm
YE8zz7SouSRAEFdaI7c7CzUrD0QPJ/bSz5+qJORxCZz+wyjGlZKX9S7K8Jmzotzekfi3bgfRNNmS
swYxfFBWDGCRgZeQOJWTkFMx6XbqTJdr9ZhCpv7jY8RkO6g7INNZ/KBKOAz2nVweXTlQt7Df1JWH
avEZwWPKC0dPf2j+ezf647eUF/O8L1P5rBZQL6RQtzdALtRHybe59bBS+Kg8fKGna3Cs+NmocnbN
Ez1aNXz1YP5RmS0pqYWE1weD4pYyr8Uw2fI0fArE6mM6aNMqRfSXzfiE8vNX172frOSTaHUu/peU
GFS3z/h/9okPEf9CD48y0ZAJmAG8OYqFvOemLapjndiPqhT6z6LLNOptRTL5BCfef7ahZ1BAGWBw
Ns0PDTtBTkYyQDQddSAeZ651Sw7B0/btkpq5o4Y/0snESOyp9oOdF0eEsZQ23hSKoS3bKapF6TSs
dtWpToWmNU9qA9Hw97RmQGmZOK8adtybnDBd4nSoeNXCLve9gXZNHEQziQb+foaRLggfaY94W3qP
YbClNJd4peiSOuOLJjv1r74RmjKeA1mxFKOsMvLdf79PiDP8fYFuUzBio/IktcrNqSjyJwFOoaUJ
nJ5UvZL/JBmz4lmbb7vRXpvE3c44X2nX0XHWlG3+ak1j99Y0JmbW02sdsvKnsfvM359ZTZ/5u/X7
uiCSynVXpvC3W5d0itt0pFecvVy1aCZtaPiiRxwGRFFrKYxBEfx9oDIhEN8CxbadANEq060fGVQy
CARpEGRHo3Q3oiUOehUYOPEBbVEMHJVQINrNvHXsYe2nmKealk0NIGRGawjcbaCFZwDxZJymLnEm
BaRrGmh3vDH+GiC6Va7SxBuOoVPB8BzVR29atQ5JkS/MCLf7kQr9JzCx8o71A0YSifpREud9DhT7
BwxS/1oqbbcaUlfZKm5kHHVd81EMexWA1M5ZEo2ieqs2Llae5E9Rnq6jxMxecXUM90ZDbFA0e/SK
PLWMelX2af46jCpO8RhRZXlzlLA+WRCTUtHfZya3eWdkR69cjkqFZLSSpAeWEvWyTSiCxYll/Gqo
EOGHqMX70gjsa5OrF41k67ekJYXSZ5SEIA0yN7FGJv1fZhDdzBa1q6gwi3IFCFdNUkNNkgN74HyZ
5HLywrvsO4Ui7g9VfW/qpnqMqSzWN64FvEbVc4PoTWw8gtVRtiGRkiVFF8abnEsrvzeSb4oU/5rB
Ty9vp6KzpWWSvqpyvZoD+WEJPkl+Cak3c+xMjZ2aI3JBcxpIdre7SeRcv/H2wdDve9krPEIE8DGl
inrQKjQgd3TqT0/Rj4SZo4+SuuBZixT21c6xt2RRGj0PbaAsXP5nHuPAqVcp0vGDgYPjpq+RsgxB
6+/c3sg2mZ3ZB8KN8QqCf3DmLwaUQSOhPHiJCa8UgP9BKwZqI9RMe/CwQXyLet4Bee8QM3fLQ0/9
AXh++nW3Ghea3zNteiL1Rf/HNDkqjFk9PcGkARvfrAbcKqZFuMkmkfOTV3v0qvMrBKJQvnvgDpax
afv7OizKY6xELn5CjfqhQB7xZPNbIMsZxhWRgzLKUbcVlHN+WLV4jbLkmJiR+S2J4x+p1JXPVlHk
/2vpa3zCCvCochRNh6kE8NHQKXf7eywBe2DFiptsuKLWcS6l/mJrDQ9ecBlb4FFUDMRR8Y6bYT4z
pbo5tV2hnUGPg9agPxqjZTtAgqcOY67lffQgNiKiGVTGn00xamY4AAX52RnteO8qQbfyyz6/xGVU
znuiHe9aMp4Doct17IfcsIqflZl/1YbYfpUo8ZwnnZI8kPz5WdeVvJPkiuRNkw9ffCu9VBCDnsqp
30eMD8laG760uEO72Qnm6K+dfxaN8qrDeBQ4MW9WERcgwdUfAjU3YAFDkVsbMNFmhaGFa6iorCwp
HCdXaaflr2C61Skw9dx2j08PUGhf7ru9aLte1u293mjISsB0/zQgppi5ySViYu2UPe6W/RWTiEeh
JBTaQ6rc4/3UJVE0cPZzKwYxYXcLii/lg23VxRJ/MDZDYG1BgAT99zqgclX1jJ+WXVxC14aahinJ
PApL5XGkWJ3nP+zs++WBi2ZMXM5v7na5aXj6zzJoL6M2eKdGd7uNBQ39VFFWMANun76VZVCvbMtM
1hL+Cm++Zb7jXo1rXjEGT7Azd6J7cLCZAZ4A4me6KB3Y/elw+PY6ThGvQbbRNTd5c/CE3JElLuei
CXXsifqbUzgBgdLSPVqhUTx7XR3vOkVrF6LfS70TorriWauHReqMykyO4XvXNUtwVvJ7xON/Hu59
slV3Sz0D0C2m3AdEE6Vot6RmyVqkHf7UvZrEZ6dInSXLDZkXZdDCJE6KvVcM2QMeEsk2Qbmw07hB
N1rYNDBCEmUley21FOGYLIck7C84VONbYqfVFT6tO+sVpXmTfVCUSThoX6EDkgPOsx9lXq2GyIXi
Nhpr20CLCn0fU/AIn4uZnJGEca36W+MFT1o7puHPFjHFg8iY9RV5AbeJzvKUTcvsYOvyfDuLMTI6
tzFtKor/PSaycP+8zolwtcQ+WL1VDziYeiAqdfyNUGBSG6tts9ynOGuqka49S1rpXQwZc8Y3snly
ZO+BZbz3k0rFBx9W6zuxEIUHRR8dcenWtlik66skVK0nuySLHYBm+QFTkLvf+l4qBf6GagqLTRmz
dc1iYNt74JK8gvVmocbDe1Z4uwAY96GSI20Neo89SCF5P5GcJlgU/ZTy+j0jufxqNVG+KOxmPGlW
PmxGTc0fcE3RV5EUgz0P42AV+5Wy00olgEkP3A3RV/SqdfELHIDmByqXVRPp/tchgtuRm4P/SGEE
T5oi9Tde2WpnWKU+22LV+LC6LyyZKTeIU607BKJMwezzbjflJ7upXkEMoAj6daYrA4huA9NjeTDM
x7ar38vc6d8AcA8rK9WJNU66rFrRF3IjOc9D3BV76poA2dV68NYA01xofD02oumM5aHB3ftSunV9
7rLoSZ1mOZkWb5J6AEozNQneEfmU/G94HTRH8gn8KnKKke4iqTEYLDLNAbH832KroWkXEsipk+iy
UivYlLG/Jleg7eKop+DCs5y1nlc8GeRYWlRK0zxHZg+CHc7tl9rLzyHfDmid0jKKIvCVaZjvBq31
PupRobDfC/SrPB5vCwMp+saD+sWtde0VEN+4aZLUX4qm47TNXJK4026j/G91qWce/3udbv7j3Wdq
GgFiFQU/hNR/VHgrHWD3wSyk585JFbRNmjbH/6M9yV0SbauudFeUS2bP7uSQpauJ9T1HF+jV3MT3
uQN1jQ9DdGRZwPQgT5/zwscfONPM+/REhkglPjqmwHV7mzt9tDFVk+ARqs5vhdrpiOtIHMd45+Tu
j7LGb77Joi911erzoA7TRz0q1U3GvmPjZUr4CDWcNRgucl+wzCHYatwuajsrIgqKTmNEN6FOT4Lc
SIJny8NgbsrH+wCvniP8p0Vlghj73Rrw+/40Nl2HysX6H1gZJHOfN0pUnGgwDGRT4z8U6H9ffRC+
cXXkhNazRmp3ETVDlL/GhjtDYoaLEaVBO1vuqM0Up2VDOrKeDreRVId/Ljq7uCITOeJo5yUGSlJz
PAidi5DDiLNPmphPza4zBugRtalvKJaCDdQAhezJpz1Zisqi026bnSIV1r6OzHZZgda4girxZtMu
6EeS74ExGN/FRYkUcJEVNitZY88vLqoij9vSt7UrMEqW+vFJVXP/e9N1S1sFaz0rMM42B8QwVPd9
tWpzfHOUuppTywJifsCRNosC81CHurSh/lB+iOTIPxjIBVb62Elbx9dffJeAWozIZk+IztmhDwX5
mozdc0pNHO/KbvjhIm+udb4g6PHQe7ThtYscA0uw8tdFBMKD20VsW4vfFw1CKVCC6ipjNbhdFE7/
0rRtuv1Lrip1z7JrkiJBALRudSdZpgg7g5ex9r4qWFbuOy0Kt2MOFFhEGSuXtWzV995Gn2KQhYaX
m1EMzi0GCV5qNgmTsFgzFp2MfhM/WvMtb39Wk869bup+VRJP2dhGaE3dhRZmj54evSVWAifZola3
qtRXMIbuUXSJg2g6Sbwi8B7uP/XrlarOm6TDpmy4RI027PwJgEgGhGLi6ex+EH2R1+abKN3zhLJb
9m3yUxpNguPYNfbKFEG2TPS0qp2ae7U11asYxe/H2JfOE2Da6gHDFe01Gp0VSTrzScah41z63VM8
FYFleuVslCQyF9KoaksJ/u8qy0tYq8TfF+KuVewh3TgD3oaiKUYTTEVdZVgbef3TmLZmPUL9FWEc
ky6aUqgcCvSfFzf7rg2WtK+cwTqIBS7WMoElF4fbmle1zXokOq+2C4LTLGci6G6dHEJPq3zU1SzV
2GV6C3AFPq4ffvJkjOGf/SO7vj41kqdpvtEkzruu7uMBhX+CX/Q1anwMm6afKEjyB5b+9qLDGWNj
jgZ/gMTHYrSu7UMd+dlVqr2l2GcOaZPjEVPhiBKpzdPQ+/k6t7VwJRKFbgTHPIlwdsPiQXtNw8dc
VoYX1GfPNxEMWi9cBzRJXrE2toC3N9LBbmu2l2FdvBl19OhNsc42xB8sSY33LupDhOJOcCrcwH1w
cC5bB56jX+I0Vmc2WpXvtbrSo+pnSq3De5pdCAZj8/f7RJI+9/w5lKJeAKT7x5y0qK13meI+kXJA
+zLliCzCrdPXCc5tsVIDjPjEaEuZJLaBHzb084G9usufc04pQX2MAyvaN5jnwV6rrPcmwW0urnGa
y6DE4xcynmMWSQgBTXsVB51zTer2WczAm5ANaxBf6zwu1o2dBg9K3BSXZgq+iRkW4IncaIdDzjNt
UU+8kXI6dDLFNLKfKAtbAWo/i8yQTty653FjhdekD46aGheP4uWT0eKC/FF8b6exe6vWvD9av69z
Xb6I//32d2Trn+//SW5D5kchUfdPFpJmSJWESefwPDrbUlK6Br8hNEmOo7eLNgvNnSiMEGde47IB
0qlxWoSVK6Ela91Vk4L9oTiFOnxiE7tC722y5/JzZEXO0uRRtR500NummxIVnqTFQmQcToybOoNP
VFCwFgA12pk8WV8s3XlJ7Ug9iZbs9TMtDZ+jgKiNYqbulud2id+DZbxTcf3dQih3zp1KOkZjC8qY
CrPj4EhkpaL+7NdtRfFf892AVPuOs9KkXWiH11BrgnlQxo/R4HXHLKQKPbDt7Fg6lrsJla56KNmd
Juwhl0NTtE+9KuO1GzRfFNDsT0ORqvMQZ8uV6ZBVyHnXfXfMaqbxu9tESihtCrf+GEo4cIme5Pw+
PG3RKU75VeFuT9XcetUH3V1TDpyuMWptzr6ZH2KkvO9xoi1EXkmu4RINXeY/WmFx7iQ/fOj7wNy5
uFTfDrw+UShmBbi1qU5oqqtqf3Yq71syNEHhvPmZC2hTk8udbQ31iZQYr9ImGJaa0RerMnL1U8nT
ad65hb2yOxQFM6q2oTY1kXWxXfmkIYP7qiCYmWV5ls5cK8/Z8AyrTLZffSNtP2wb68WiK6tlODbh
2ixl/Ghko3t1TNxfSt1vv3mUw5degdlroz3jluf8NFrpzKZ4U5OdXwwWFQtDpM7rWsGxKPHtdaTX
zi7rq35j2tLWHbN0qQxUscdVO5NRV7+OKRYILbq4VeY27MDT+qTm6PcqRIcfTdQ92iRbf5ByImZj
OXPchO0VuKB6GyOLEdV+TPirLDAdxpayhXiPiUd4FoeikJWdFCHhm7oiSSrnQWIby9zIlENnDdQf
dPlbb+ePhZnmzwhvn5XSgbxvK/I1k5SXzFOsoxrm1WEwykcKAZD0J2HIFu5HKDfpXg68i0Nd94Nn
JYFOIXam7yUC0M5y9M3kvTOJGucNgG7RlAbzZEO6v5hq2x0bs+6xSEjTd10Kg0UpN/5OdZoDMk0b
/XPyiyzmO5wVMJuiHJeCZOh+9YvymoggJuGaaYpoQxv7IllZumjd4UpmJD0VcXglB4oLbB9yJ40d
LlNd1b7INk9qpOHJmiDJd9673TnBWuzQ99bGiHU/mAPUIqCnI0GfBvFd7c5tb1nbfIw+yDEyo4OQ
8OAEcMlu7QAi7myganLm9mm7zIksv7CMaZZI73mtTU1Tw3pVdhSo7/CZsb7Oh3lXVxL4F1PDAUOc
WnrDNokVlz3vpt7I4wVlq1hsdMe8851tWg2PxRAaJzup1+w+l7qjfc86hRVeWH90utE+jjV+1Gpm
l6syeB9L8rshO52hCaufnf7U2VZ3rSLf2RdYZc6sIqasImooIgl5pIPwczdyh8Nqzu38mEhN/phO
Z5auPCY89PH4oEsMtlmVrLtO8+aiibgpOeLE/RGREs4qy3guI7l96CoTV+apaQXeSOQt+hpKOBXD
Fu4uSYNf4dTKMyo2A69tlr3cS/txOqAm+3UWR1q7bn3z673rPu0+16GimNQG//rvKy2z2qHi/Vm4
ub3tiyp8sBvXoSS0x71MV7xDFwTV2i+16EgqcVhpuVacRhtrOScB7YFX26PDm3mTJVmyg0dcb31u
/00TZPZeg5S6UnE/hOlfZ0sX8celGSPQ03onP+fxuSwNVAf2mJzhWoebVi/Lh9Bz6tMQNJDvnbh8
V930IBfc6VGMtkBJqy9h2WhzlHrJo0badYOQSt60Oe7VWHhTbkcU9UEx+bTOkKZXRodllqUpX002
Fqpcmj/sPHnCjy+ZV0QFHztNWgIXyX/qFJX5PAvfvZafsPs/2s5suW1k6dZPhAjMwy1HiRI1eZDt
G4TbdmOeZzz9/yGpFtTa3b17x4lzg0BlZhUoigRRmbnWCpPiwcqj7qqe2juXr9Ix0d3hOFr0yqiO
S27BDvVn1Wp+0+0s/j23z3RpQrDAl/nBpvb81QkNpMV7rXmC7qU7VGlb3LpjfePF1AT9QGkeQBih
qtlQCaiKcYu8dvpLDdlmeTnPJLZr5gfghcXNPBvWWaePZBd6g/bFHKYzORAkPiB655Z9aFS7+o6a
8bwfXLU6kaZ0nvJm+AW2ghslVXt2xI39mDVdfGNEAUx+WT/dZd6yfbGs32KtDIBltNOVFrbd0Q54
RIKy6BGF3eCHR5vcRsuz6WnKzIEO81o91HnfPZOeoEBCBFIwNJhWRfaoD01BH0BzpTpBeu3MHnr2
c1zc8r9MjpPa2veeWaFePyx0VWPsXU16NN3mJe34aBD6Hy3TbB6cejwlIFMHY9gYFeXeYGzTcwQB
35EKcruX5q6A93KHGmd1La1fHcTmdIq4LaRWtH41CIp0cJp+VFFaf1L9gpRpi7RE3adbw+yH667T
gv3savlXgBi/qLqMD5UHtKMwwp/Rcs9FtmpT9kq5jXTysOiR2Nd91E+o4CX5U4AUE/nKrvlhezVk
np32S6FkUamR86lSzXmvaclXd6oR0MwRMcqWAwD7YaPHfFB9W9GVDYkgbTfXTrkP/RqhoyXG82zz
6MaLFsyrDWY38C0WN5YlQsJSa7SRC5Tzy2KprR0Duhr6YX6elCDcu0WZn5WABCCYQZ6feyO99WLv
m5MY3jlCy7oImw+zgayEPusQ1nqg3BGhdFC5OpcAVLYz/Nq0nkCK76ELeI004nRfLofoKp+y/MDm
OLpCepOuJ7vTn6E7/W7U4/g79bmZTmUeVNht1woCL02L+shA7nvRKA/mk5JyozYV63HkPnKFfkq8
Sytb+2THgXPlJygU85Hn+6qlX+iZSRFNQ3bIUMvpdvbpHskMyznEtjHCB5SgS6VOzm1RdQhbUZL7
YBVOdiW29aA17h8hjauTV3No/+JpBEbCpnl2mwH5UeSJP/eQuu/6DGHExAvZotILQT/3MTZmIAIA
EujvgQgSzZ9hM0ftGS1ytoBkqD5k1Jk2gLLHa7FpGdo4/dwCKlbch9iInF/UolBB2KKv5D4FBk/J
ka5+VxUF2RizQAROocFo48OdHE1LaqJSBh4Eky9KE6VfBzWkYZ12oKVx2SUBHp7oSu+hOTPsbTK6
9d6mh94KIwqSQRbdquWYX0czIk9uqSq7ykGD1wg9/2lyBlTUgzPY6ADl+FghwZJ0R1+ri0fyaUCS
kXMFx9YCG7d5agJSW3+yiyk+j+Q1SIW09aekLNw7LzE/8vmxP84TaB7g4H8gxJ2FLWaFglXs4nZV
TwFYAOLiiKvGv2vLHzKww1DdFw6qgY5Tzw8J1FgbQ2tHkAmIqF5ssH0c9RSdFxmKg90CHCkKHDBM
KocY2Tsr5wF4YU1Dh6a67VBPuZylRpnsoY20oPkampY6LDGXU+5EfK4QFDpAmQ8vIrrcG0UF2p1p
nn+WAx8D7xq99nsDbpGzVdv8AGSIo1ZKwtef2yJPsM6jNiMF5fPOXFu15TyKrXWLk75I+hSxq0Mw
BbKrS22q8CNscGoOp0o13VF1Mh7UaUIJyA+Dx5BXfZycKUXpeaAcEMyg0aYlhXBPB+uut1STn2k6
N71SB4sTm197QH3nsP85GajXpN1UHjyXxG0ZJc6p8RuexZYzLYE+52KUsRxa544q73Tou6jdkzal
RFGChByU9KuP9tM3xAQWRhSl/cz9HsmY2A8+0IuC5nRc+/e2yociSr6zuaIA39U073cWPy3LUA6D
p9NVa3lkB8C14UIpzz7lw04ZUv3BaJ4iswHYqNpQr/i8wVAiwJysenV67dv6AH5DU5B/mskHmImF
2tisGI9yqEIggTxtdQctUF9sdYu4FsJH1fWY1uYlbtC0Owp69m1SWN6hjJc+cUczT21EpsWDw/qj
FtrN09AMGxUS3I+m0++9RFUelwd1v2u0Z4OO1VsSBP5laJVZto0RQjpkehnXcO2igFFC/3+Egiml
Flv8cP24QDlgGE581yJ2zOb4aMGksZ28FK11z3dvklr5HMZF8jSAkDS7uvkYTBM6VXQjlUar3ZWB
Un/0jMHa9nBUc4dliAqLf9R6UjN+699ZBU1VQLf8uzy2f2rzHD8HWVxfR2pIRcgLkmcbtMzeHJro
SrwgIuDuDM2S7hW8yEzAcpsoH1TXVJ/4/aCNBfPo9OAWw8Le2Gw0bxxlpmGwt4wrhFvTHSwiNoip
pIGwie4xcOD2p4xUAvoVrrojr493UrVjWfDzriSORYolhL+TNtG9zNW9PjiWWtntL3M7ms74tSfP
twTzhNccipnOePEmqHYdTJR5L0PatPjBmkb1IMH5kFLfHE3oDJfrqkGS7+uOxNhl7jj6CI0W6lGC
jb5FZyp0/Ys3tZsOfousurrMjQYKbz0lIfkTkjlUtlRYkyNiPFeW4/X3PdT3hyyay1s3uaH7JPqo
NNteU4ePiub0H7N6/AyKyjsXZj5eVT3gTcUYh/uuhYIu6j2wQwoizWJrte/VDJ/axdRDVnBnUmz2
1RKe25gdM43m4ckd3OFe4nPEF+E8yaOjm6NA6uQDj3goHtI+nd4EAcBvUG8/cpJT38sy1Dd0eVj3
GersV9Hontp2zh46K/nUqUnwDB5ZP6FrAeO1NwbPddK2B3Lt00G8NA80W2qE3km8hVl/yJqifwgi
1/jcfW+qLLjSw0LdlQMCUXFm17sG3OqxiSlyomkBDZJXog6yjxcN08upyJaaKGLr2zcBb07NTCsP
yUT6ILCefECYn23+vA+eSRvv6AWfDT5tjwhYnmSkWIN5HwfTk4ziOYcCNR9+yKjmjwa+HVWUW6vw
81zDHeSO1Ohk1bidjYNPZ8outhXjfvLVl4OpXDvKENyvZh74y1PqB58kaLWnZqftw4lK8TtHEcTq
pvJBC6zBEkI+gr0OPGbD6+X8ng2jVWvaJ/Dwh2hop6/ubPu7uaWpedJy9azqpLvond65cL2Af6/R
o1tUUOSArtLLWYrKJV/vnN9wB54Q8WqvZ2mRefuxB1DyziHB4h06JXjjBeyD/Io9oHS45F4vqzYN
6o7NTOMeEng2CZZpzk8iAi+HmEeFk8i/y9nqWONWx7u4fxGyLj/TEI+i5aJDv87725fwL0LeLfUv
XuXfXm19lWvIu+WbYGnMe+d+936sy6wv5t0ya8j/9n787TL/fCWZJq9S66fq0KGKuf4JYl+Hf3uJ
vw1ZHe/eiP99qfXPeLfU+ob9T1d79wr+p7n//L787VL//Eqhd6h5OjSKLQQhPNpFy9dQDv8wfuOi
FMWsfBF7llmXcbeI+74ZXya8mfaXVxCjLHVZ5b/Fr1eVmXJQqTvP+9XzdqX/tt5/uz6bGbbegxnz
dL5e8bLq+/fhrfX/9bqXK779S+TqLRgIqxr6w/rXrq/qnW0dvn+hfztFHG9e+rqEeNLlX/7OJo5/
YfsXIf/7UvTUd7sJhR/0IafmrhtDZ1/TEY8UMMOwXygDzLyhc4chPVrWVq1cf6e4TaEf0wZRv6b2
eKJc3BI4TgE9cTSv3AJSr096gWbTTtxBvzfN1DvT8wuCTkz97KU3lcdTYKmX+lGfDGdnUlTagvvb
Umag9XKRa7uIuYmum6i5gdmD0lNOUS1OlO2q8aY7LxNX0yoF5/sGesB1k373o0a5NqF83qKcmhyp
SZGPUrPiia7MK7PK2zvIlvInhezLreW1D+KTqIpv7sGzkY8FFp4/SZieICUWkmw5SYjuqzwi5Tya
sqoEpGVBD5cZa5t1oX95dd3tHxxLR074r67sTTAv6f5vQW6Qgcvd4TzTiTVtbLg/zjJ2dAcR3dR7
ca8O8zXENhVCipGQYniZJnPlIHHe6ypWhYZuYQLe1UoQLUYdUwWQUzmQJYSkdB2/CUJw+Uz35XR8
M4fO0z/C31ghV0zd7WioAzR9cPij8mbf9Vrk3MlZinZF3+fd+Z2dB6Jox/Mpn6F3E8Y2vO2TALaG
P9aQCDmUbG9hgbL742qTszB1+itgkL/e2WWRskFFu5ztkzjF5KTDIVOn4brSBoueSeqECDlZvEXO
Nrdr72IXp9jlbD3QXmffyHAWAjw5dSmm+HX8MlemNWbk7yKjbtE8y8YDLQA9+siz7m3g12seNpVG
kgRRI4VPLS3UpO3s8RB7RfswBGr7UGulc3J696OYVjv0Wx+trHXZaxAqh4x25AO66/12WmaK7XIN
WWk1ynVcJ5gu1xGHWs5fsqJujgLTlTN4oB5f8LrvoLuQ8Hnl5uK7nAtmV9C70MLS7dDuPHg5Q2q4
JxXB8RRe8yprTkql2Jz7ilr/6bzVjFrdSrjf1v1402q6vQmaPts1sfGCnU6UznPJboCOXg9G2UDW
STZfTG9C3iOvxR/ELnDsN6GG4g8yXYDY0BdsInj+EU4jZ20aAKWb1LVvwqUpAoVI9VtWwA60KGms
EaGtaZAGD9lWv37X9JNkNJ8fxOgsaqHgXy0SILvitTcITqOb3A6oHC0ZQL4pTxFVVIgr/yDCg5A9
Q1cO1W2xlcInvcS1VMMucbRaDHtYTxqo48rmcWEoOERtHe9CqN7DLZ2COe0gWbwb0DN+LIepfhSb
ttg6QN1IDpGjPchY3O/WGdX4vun84Lq3m+G2V63+1huoEG9kHMNCf+Pqd0VXjPnu4iD5RD/A6HS/
hYjbULjXe/iXg3K3rtDl8cta72zhsp6v370z22qkHBV9fOxeVULf/K68qIjW/rwlh6C9+YW5/OxQ
Ary5xMj4zczLj8zgIwkf0PS0BeEHP65CxTRLo+cBXNgxX0Tl5JC+nk0iKreOxd0PyWXGO7sM2UH3
Rzr/vzRD584bEp+gpjxAzJkZKef1kPvNy9AM2k1Hm8itOMV+mduDxtkGcz3v12lk1f1dX1ba9sJ2
awI4BAY1QAZoGlFEE7BW7RWn+WpMXRac2twZbvM4Z2MaNdV1PKfVdWKkrvo0WOQO1NHNtxJTL4GJ
QBUmj87ojqobecg7MbmhXmx5GB2gB2k0Ndt6ug1f8ejMV/zMafeAWfV7OcvQAdXnqDuvdh3ptttM
t+AuItRTaardaGNpHR1eNhA/jOuBtB5/CV3fu0iBxPrijkwPqsrXq0l0s1xyLBRKMlxtfQFhnTe3
fWNervbGnqcV3THo4g2zfj2nUXUkT61+8LoMokrFt3/qyHmEXTb85rb5sK0B9T/4r7GR4czvYgfn
S81l0go+5UCjBNA1kKOlXkM6KQ+uDPiahou7siMyknQ6vNgKgFXFWKGws8y4TJZ1hnBJ6lWhu2kW
Tw2PmbaTFe0xvJKQ91OWtYHWRrC+M0O8hVXtUt1xRvuenvV87zYQDfOvs3/aITgRLam+h3YMr4fV
pPdVnaD9i5jhwQLn8lFiha7lz7FqP1uUaWh9UPRa2TgaP0mCGWhQPQAMkzBc2ohVA1418QraQLyO
S6ODeGVu0VGHVD3D9Oqtzzpbkzr5pl70pMjXk4Gv6J9ah+KtFiUq8WYFqjK1SUNTo8Hy63Ub008B
6lBMvZez1bHawsVLB4d2tGPQChInhwE25osD7MbPmQrfPAwUUdcJcol3K8klJthOYIRmYQler50u
L4ruq+Zc0dZkOGa5tyfa8SJ7jL+Cg0IORv0a8AZQLIygGh467WtlaTRZldOHqRjA5ylJSiU80L46
uepQ/FT9c5DOKgKIfGCX6bJq3ub19Ui+99+t6o863BiKgr4PD4/X1uBaR83vQWbTn7WBP6y/jfQo
eA7L+TqoyPa3bjx/LKpiOy7EaODniju9QzYqWKIALfLsbKMxI14v0Sv+FJYUrywJKm+4FW9kqm+W
zKecQjFruG3xk5JCSoXBK+igd7onFcLx684N7QNiV/ZnZY7u5Hd4jUhp/LwuI8c6hI0F6bIJO9Ww
qWerOspz8hxHxo3p5Nt3z8qAKnkCn1XVuLHiF++LTTxRU7/xTCM/P5vLozoFnyujaD4ki3yjkaaw
6JjNqVUHZbh7HVIUDc5ymHPnGnB0ebYV9OxYqLhqNDd6koNHg0eZ0IsnI7gt9HNltjdGbyIAk03Z
eMy6oecmy4SZ7/+Tk6XtdtHfOhZQ0SES06qnsu2cs4RMuj/c2e58XCfo9pxccQcFVS8TgDJb2xb6
9EvM5bpzcl8WRXhZxIDe8T6cKHzKq3Bow0e23bc2EisHuqbTHb1Nw8Fclp8Vt9yOqCJ8UNKdGsPt
WnTN8GEKan0bDQjfim2k4/aWrqif3sL3KqaqMKEKytSzs5gGutMPSW3zFLkMSzZ9T4b1RXwSbsbg
SL0MyE6r+uZpyvyvcIcMN14QDDeTP9KFLqdy4PauKOhavAa8j6pePRIjQ79og2ojY6jOor1uzf1l
zTUmK+LJ366zZV2rnl5ex2UJGZeZ81Ed6uD4LsRuVH5RA+9TaNUoqXSeeXJ7JaJ3cFY5lcM6Fr9E
ituBKuslUsb2GnlxSSgFiWmrBfCMSJCsIWfrJdEmUIztX15NItmjhrAO0pmo6s1470AwuItHLdnL
sPdCbL0x3vfu7GwGOCgO7xz+kP4Mqbdcv7cX4yksM+2mzuvURk6FRUb3gz6Vw12gBy3NSZlz8NhZ
PkJqX2/8eh6uZSiHpHOfVLOPb2VUxbH22FnjLkdA6L5YRp4ZBI8AM9cpFSwc566zrvypmaOt17Ww
DHjZdw34d7SF42XmK6JD9ifTlwuPZjgcmiijT6mqt7T3DI+1o4YfAALQV+l/kIMR2y0dRJZ/Sheb
29CoOs8K4i7LkGp9d58H+qkyvZcJek8Lg4WQoJiAomV7Z+6hjV3i6b3Nb/vC+X2NBxpIe5eNut0S
UPXVtA36cLqS4dyWHc1odrSVoeKmxlNefs6S9OVqsCJVpC9t59pI24Sum8IgaeMuumVwicb8ZXGw
g2K9OIstKiyaiNexeW0AlIOrnwB/mSRRMpSDEdkxfTRFsHvnWIdot5iH0LLpEfxsaC46OZMRIJXi
Umwa4bG3aHzctUMzH6jCQ13vRuGjGrmbeCqz//DKXBNJHolNDTf4IPMB97+fLxEh5LSXiPUKr9cX
57oGTcFw+dKE7kH1f7BCOLySGgm9jQ145+wq7R5kRgCRgDX8qNs4OMVLj/VGojs7crZTaIwPcmhh
TT2XfgOtfTs95DYgjyz2s6O8JiimkWSw6tvLyKWM1ijWuEnk7Xj1yqvL/sKbkhJ7M7db5g7LW5er
iXVFrToA4ZQCvUnK+kS7INxSNMA+jeE2jZaC/2Ip1Ng72WP+u7guQbXf7dPKjfbrnGAo0s3UBy/r
iAMy4/+P66zXHv/76+n6Wd0aFgxlVWoZt0WjH/tYt65b3+B5K+1743aqWIZHr9S4TW0jPo1AgJGF
NG7FNIj3EiPhFaCcvdZ6YEmWKRIpa8tQGVGP2FUBhE9tUk17MYr7ckUJHwEh7QFf1ZvIjZKXu3Q5
0eezKU1jukITY4/6XWRuSWqYp6jKLFq3uee3AT95SEww9uT+Ln5yOZO7L6u2vXp5rvHH6Josn3LH
FyS4d7vUPYxFa8B1/IdNXRzo34HMqfWLPYd5B7HkJQRZ8i+9bpXXMl9MMkHj47PjkwItyjJfHEOf
ube2PimHOBvBcwzlLb0S1e2sWeXtXw3FISETrNZ2PQOt/e+xslIaBd8dG0a02v5QKoaylTOTppXL
Wb7YylRB/O/V+89x6MEqdAWTzHTT/TtuLBnqtPEqeUTD7PIcJyY51GEfvJHhTmktSH0D2rYsOGtO
APiM+rJpZvQ4j6ZBA3P8wVjMftYlp4m99FaGVgX0Ho4khQbmuXjWNZLwZIGcs3h5or+sMfNM8xA7
4YcAsNIzh4SvrclzDAoXdobe27EonafGt1GTXIeAQ677AEKTo9J4F28AWdljbJvWLRTh48MMTYo1
Gd0NJGjTg29yaCIFFuwq0ndOX3LzGmM7uZ3dlwkySw6ukV6mykjmj1YS7x1aaXalW6XkOrvpWGiR
8VgCtNp3JXky07KQ1FtsvmK227Kwm0uIOCYW2MDMlp9KffrVBZZ2IjVsPEJqelLjUD1rXetG2+J5
Aiv22C6uqWuVs2aPV63heBFC2tl0ShT990ukCViL7nSz2Mo11xeTBnB9x7TFlPSw34g9bb12WyHx
cbwstb4YccsLjJ308kLW5YpnzUuc6zzWAwgT2NgZy87SjZT+ilZ/cFsKW/rNatSmmb5b2S9KOD3f
REJaf4lZl1gdq21dBrWfeDPzPUXrfvxMCu0ZQKXysS0m61h0ZnnVZnX6UZnhLKPx8cefA8YIwYs6
IC0jVECTCk7GgMhLyADV0DZ2dpW9HZrLUILFK8HrULzv5hY27ektPdbbobOMc5bQDzT67hf6WzX/
FGjQpQPigeWrLpWJNE1snsntGmeJbsZ2l9TGcFO0v6eFZZ5CKJ5uQJLyr6oUdCpBhhY1JGJY0TEf
b0gJiXdaQuRMDnUDSOrieT+2o9Y42f0PJM1scNFLnCwnY5JIHVDo6hRPAXTtQdJnwKA5GLMWKldj
RcJ+5ndk21tV7v6epmZ2QzdwSeozyrKbho6obeL42lYmNW7q7aOui3i2yh3FPKPVDGp9mEAALgrp
yxDWqOneC/0OEXLvxWupff04Iw1wBoD3zK6z+NJl8bzRish/7jrakbS+mJ79KrI2Xtvkz76D7GBR
BB4qCo2yUSwwu50BoomygXfSUKe94LTNOPYvQ02oHmCreTNcvYKr+7dz0zSIts7Alrxd0J9GR3uM
UUcazwqec7YXthPKZ3SxT9QMb4ag2ottpOVy3l3cy5SsL7R9vaxgAujae5pe791aKa+gT3H3CbDd
r3oSf26AGDyqfaXfD1mVbsSeZ725y1TayL2lqRf4M49m2hd/rtoTb0CDUkmWfAXd1myawPPv6AWc
n0qlfRR7oGfVIfVNi8QYF4ma9tCZtBO18Gw+R9+MMB5/DnOAXAG3tce+bOcr1E+qK9XMgie2g/TQ
27n9M/qmt/CfSCT0ZtOjHUML8/JkDd8kyCc0HXdQWKRgoF7l58UI1CDdT5OTnunGc+7zSlG2SmDx
a/Z6FuSkSsUWvZ6t3stZPBbnLoccKwrsx5Cn12s+i8adHACxm3dW7KPaiHLg5p1DhlPsP5Zl5l5L
7BoBzzuZMIue0z4NniD3yz9odRrvfZW2/6IBOBYrZbm1eif90Y7xdjan8VuAuth+rpO3Ec1SIvnH
COGJSuMIMswQNdFAAfCRQ7V5hN0m41ukqOG9LzrLoefsLBVOsIuIciibE2fVXA7ANyiRdePBGdrt
vMUhXi91+dKk9XlSyhpQyLKneTNtWZsa8HjT1Od2kdrVexK+RuWVTxONideDq+iHcS6Vz2SwLhEG
oJ9NNkE8ZMdAonLqw9rCt44K+HdKz9oNzLrtEzyK0x3c51dGzsveqsVUHKxJH3YSKwdDTb9DYafd
yKjqohlMZX8Fn3vzwOZy2881ZUkfMTcRym0b8nCFQXZkbtrpk6PnO4FAQ4/Kdhg5lZ2gnF3d0Tau
batnAIrbNNR65UPkT9Me1v3CBikDLa4cQltVT4q1HOg1z7iLcEpvrakDKeh+y7g3UilYPBK+YNr/
7jQPEIGsgcOCe62m8TFa7teQfVnUcFKLbT3AhfzX7Lf5YZX0nOm7Rd2vQitwcq7E/l71U0Ly2Bhv
0ik0NzMsHDsJFMe6lJwFSXOMX5d6F5a494qnZU10hHJFj3dtZu3a1s4frDJlo2km8bHW23TX6BE7
TTUFON+p6Iya9W9DmXkHvVdnpAjQpxbtarG1Xj9vR2VsHsXxtzZ1mQvCD2jqGiNT0roZtt00ajsp
PK4E0Zey5Zs6Zoh60cEfhk9Stby4L9zR/3l+KW+aBpJ0F87prujsQ190n9xoB/nlxtLH9DxMfR/u
EwWop5P/xzBZUMb5QIYu7dujjF5D2wWLXC+HV7usKCOxS8RrvNjNRSDpNV4uKaHeN7uCgKlcWKvl
UJS+vW/6et6sNjlb+DPPeuFBYysxlgsvIXj9l3mtOwAKksghqYLzOCTOvqiStzHrii3Ea0eqUT9R
PrBPVWXdXd4PGcJ6BSyaN2D9i6iyXcLE5OYOVYDXqZeheN7ZyPh+94O62mj6oO6bljubsAuUjfGT
hvr+PqC1mB5WbSMcBE1QZbemCU+oRMkkJ+hhX1iozP9zUtsk55dSiRZpKH2bOXC3MpnQkEKeeZOU
9niWcYA8zqGfKCWKTVli3gaCut5zt3Ius8VNTlijskj+jd5rA+Kh+JdJ5e1aySfjQQ5z2zs7Z2iC
/WqrgddRQlSDTZarJttipNqHRThMDmSr4VutyXnnow+D4yIVFtqJgRj1Nwl4Y+567QCdbbYV27oG
OTn6nhrHuawhDjvXvLMe8Ki5XKp7vR5dQOlhns3hvYNnjh+UXvvrdfHK42tQmh0fPk+/gkEJSphF
tBVSw/rR0Atw1o553+So0CMOWT8uAWKSADnEzluThC4TaVa2LhP/vNa6/J/Xmor2ixfF2snVw41j
Wy8qMrFWoHiv+d2Lrk1bQIqkz5553alp+9T3mffQZ+GSo0JLZgjQV/VVoi9jElfU4nPtJdoBjvNQ
sJV5H71eT2aoy/pim8zRexhZX0ZdqT1HWfg8JpHzOA487lWJEV7LUKA73uzcgEJrzoLhyWIveIy1
GxlIUAgzPVhG82O04H7ETrR/THq6pmoLMNi2QzpvpzV8c2SGxIBAfrnUutRyKYckLrLbvBitLcJH
vwbnt6yhgry6HbhM5i2VLdXPD4Ea0mRBn/5DmPV39ZxON2KSQwmr0xE9bB0yR8LIPMIlHxOnWjQP
JIpTnarRjB2UhJHdvpKtRCI/cXIqBzgc/V2radpGtilik22JnK22dcY7myxgUvXbqG7R7UMAoLQM
wRf2hjQMsKhzXaspSgwLnRhw1xfCsGKq95alQ5HZIy54UMBPHuqlQDonZXYAZpAcqqWaunqnQP8x
anTQUNKLtuCUnP27NnkZirek5Hjxrm3y0k5PlTa8zH3nuCy1eJOZTzLahmS3QBGhafR5LmHq8jUY
/d1esz77nf4NQab8Xpxdq28gydM/VlntPU16eBRzmCHEZwzgcEc9sj+Phdpc52qZ7MRrBY2yD7yY
OtpyAR/t48sFLkuOzrsLUEx8c4HIbdwDVKZ0vQJzaW+tMNkyJO0iw8yioW/S9G2a9CcIPN3bzp+i
XWNF0W8VQI5Zh/8UITjzMOiFDalFkUD9Xj9KAA2UDmQXgXG/zkQeMPyt0tgEe775JZ0z64C4Cx8r
C9b6dMzgh1l6Vvql2WU9iC1HeAV62/y42r2oHg4VjZLkuRAHezdVhoo0Uy5zwemiF/W68PQUR3yY
rC6oy0236FPIwS46ElVyWse0YLXLYXWLbZqDcDcPJILE8X6JyzplTaGYLPTO0Gv7dj0MXd+c+pLW
pVd7QDfSrTFCtLf74xTIYT83b2KKNhqPSev91gdjcQdXsn6ulYMMoIZG5tnmcfxir7Kj2MUiZ+0y
Z0ga/cyzzWoOEJSE044i658WfbPeav/TogGCWH3eRK6z1UFOLXsK2YBYvmsfxzH5Jqb18G7/AVD4
C6Jf9NMuM+kv0w9RPJItXoZrrLOsVoXRt8sOSLyX/UxfDTsamtyb2MgqUjp5/aFJAfCpygwYJasc
eIQr5+Nkg0yHsOZ3JOzcTxr3T3J4mn87x3V9oxs0QqJfZHzgPR82odKqP5X2XnS+ljlWpb/M8TXF
v22CCGnupJj22jBtp6xgV0xG+1vL/XnTQ+JyXzc9dB5qwO4rzOZvjQP3A3yR0zZt4HJEMK7YUVGJ
72k9Hq9td1KOutMUj67mVex8wGEZHnTLC3nYFA0PY9/oX95N0tpagW3VLB7bGt4Dd9Kda3PwpgzV
CR4gwQfVziGxcuNzUo936eSmPxIjAUnJ09sT/Jo1GFMiQkU1PtdDfyf5s7+KeF3jbyMAsbnbHBTw
zu2ST/BSZA/S6NDtVapbn62pqQGAhR+loaIIVfs0wrF1aXPISoNWT9QwDsYIe1UH3+6xNPJ+WxQm
attLJ0ScR5dFZX67k0UnuiVlUemhANjpXBbttKnbx4iW0FrMY4rqDA+BWuW3aBuwA0Gc7DIUkXrh
jdUwkTuBYWV53BH7YqpjNb+VJV7XEROCnlsnVjTeZuj7bZoeAV5B8hHczrae3DeLkF4XhvmPLqRj
qvW8b9Os+ruUjdYlwmrVfhPSpOPRaXewmxgA1Ws+FTqA5r4oUw0HMnKT5E9XowUPNjKXClsXmU3R
ptrocD4sP8iBvSvGmfTalGX3WQmXqOiad1U80lD1n47aVthLLI6AjNplRtJ7fIoXRxCX5q1uwEN8
HklVZUWjNh9e8juD4WSHkQK16N3t/H5Sv7fJM0qh2Q8yfeo28qb5TqO/6RYAOxRhLwF5H+3rVKGf
T4nd49R2B0ttnRt78i1nR7okOeQQKdJlhMa8uCNFd24i/h7oh9CrTIHeXac6IHb5y2iz3ht0/z93
I0wfqx1unL2ZJuHzX8Tbi12PvILOxgYusgJ6jzSp+ZYuOUkZq25QbygbWwjakbvwSm3cmHbWIhlb
Gc8NlZe6JQlJcuAurLtyIyyb8KxAaaXAdyhD0zb/eVKlmTTn5dOZJFUB/e1yUOCppL0Q/Yx2/sO2
OGJkylCEGWh7Uu39BLtxqbnVbdxM02O4HPLR2jdlAbv7MpIDDf9m1PDQuVi8rFPvO2rFMoLSET4O
OvuQRA5uVlM81tnN0KtfxSQHu/OKa1fV28vMJqrD67y2fiHR093A/YmMUTcmPeKgRbeFCN2ixjSU
5NsXo3gkUs4u4TI2g+xXnqoq/TLJeMuWSdtXcz9spNdSG0Df8FyOR8YSI2dygCUN3oLkdjVD30sD
Z9l1LxPqBontalbvE91BykhpPYd7sqLzznW1v5+qwN3FiTF9bPqQPKrlPeoqvVzhWMIeamvKjTjn
QVUBVCK0Ll4X+qcrRKv9rXhdfmrO9uR8B1k8fbTggv6AHEBR13W3LWrlvhrgFpPIwgKdXU3/x9qV
LcmpK9svIgIkxtea554H9wthe9uIeRAg4OvvUtLuanv73BM34r4QKJUS1dUUSJkr1yrMPc3DGvx0
pKPGNfUy2amDhXpXsGHiEwHHkdwmrDrQtOQBJCQI+4z6nlpxASJKbDnrE82GmFUHEvt6BI2WC71R
G3p4jtVjGzYJ9hSimBUJjxg0UVAi3SncyHsOGt0zqrLxaG6i6rEGOcbCVFBmK/GlhQj4RJALkisz
SoZdFxUAXOiYKrbT1jKORQ1WPDRzVgq+AJohPeOlBL6WykaxjWF7q6RNrGUW5r85Cg8iAGGdb8yi
hgqwTsEZOgUX6tRchhhQ0A/thUzU6UoQ2JiBrTbkQR1uByInGk+26ySW0wGjm3cXspvSUJCkgWYW
6vWtU9PVxa4S4V04GTaov4jSKsoZiKwscKROYfI9x7sc5Cq6R8gAp9CCSTcutIMXZAR3M9zpdHYF
dWWx7jqkpSBPvQqCF1G24801BDAaNsoCwtjYUeCAOmJpDxDCls0KD1h+Sx0Zk8h5l9YLCDKyg1eW
BR58AdvaeRdcqha6BrkTQ1AhnKal2XjJS6v8cuFNefi19uuLUgjIL4bprcKGD99q2aKCpK9/pHb+
7Ki0eOsM/GtRvzw+YT+Qr0SRybuuLxEQsB3r7Ith2o2R1x1qM1BQ5WX/unI52J+v7OgrG6K6VGOJ
OEuZvSFp//nKfZc+J1VuLpPC7m+muNiAxAxs3JNtbO1yNL5yhfs86FIGMuzGX4PiPzih5r8/II9u
bblKzNsUhGZLT9bVqyO7Fw3axvifoDZCpnNKvxqWYb5EvZeuGH70t1EWGlvUbyeHOE3keWiTae0E
U/noiRCE0cK2vkFI4/1jWPgYRhhF3zqOIOAfH2Ocgn99jNj2y98+RoOFzZljnbzsBvyeawX5CiQh
8kdQwZZ3vMVjRbfswMQBWL7CG4sLmbDakqtA8m5LTRouJmCVqNnyYR6Oum5PLvVQFAagxhykyN5k
x6ueCwcC8VZ+h60WgAmt8wA9Aeehj3QQBiJIR7I1UaRRv5rrCiTHD0AY5Xdu+D4ckmDIJ8YOogl2
Z5661n4/SH2WAv7uGj3Qpbrlxv2E2ErGETjVPSDngWqPZe5NsFSuSLDBthBdQApkOoENFpp65ncy
Q10UUjHai3RqyKuYxvFU1eYd1i3hMq4q8GGOym5OvWZQoQNr+x7rY5BBx6B/3F87II0Ab/PDexya
ddmGO8h1dkuO+NmekndZCu4rMEz4IEMFzpp6wXkd7Cnxl7MJcrw+6GXdMFzPwIFJCbEIQ+Vvy9hq
+Ir03i1thKaCvyVhdxKLpzPqZWBxW7S6t26BnelUC9V1kITdTII/MmKp1a3RNR+Jwpb6dOvapz3N
D8/fx0FgePaseMNRSAZYWKiccZ224FCiJeC8GiTjEFfQCdGLRUqV02H2tluOKl+k5q+HYDTG9Vhh
9auEu0tsgwOkEI9vAHatqixIX8a4qVDqBztx06ZxACaLOpvt/qgZxvxwfNP2q7/F7B9Yvik8wxB7
GTRjOx3alKFaRHUxwm2wXXsj7Zd77QSwA+0WiywXl8jCi6ttFSotRm94DYIwWg08ZwfK7njl7TSN
8uUPL+UlOrd4yLCDvzPwT+u4i8SFH3v2yi8EEpxamFVxOdzVI/6llNboGfZslF4buOHdZbbJH8Cy
szbwvoFmitOdjAz7NVKqYZmF5RwTKCLSOjaQfSkATRfySL1t5hxG0FbcR5GwaQ4y95AWPYkcc9CU
HHEw4JHSfJGLMoWCVSceqrGuQb8DoFLNY/FQgrgfZC3+chrAPruseQ9NwzD0NrXtvvem2FbTUDL9
bbz2oE4PBXZrB5o0qB1ovLbSf4qcCcy90q5P+FPkzFluOqI5Ue+kM+PUi+w4nAX4za+99GuipvDY
57F/c6bfGp5q6Ukdi9gbloUbGI9GNP7rbBzYu019nP3hZyTQch9kM2xlkfKjGHyQ7uibFjiI+7Ea
xgenb/mx6sYMqoa4ORvQfXPsXj7Z6WYOf/mrBFygU18q11xXrocAEUhMjpMU7Diy1l1BEp4vyHbt
+FsTsQRWL2jctZsXk7tqBRSy/+iw9PwZ3rir1ueQ+DIscUOHvMweUb/qAfH4y0Rn4HULluCUz9Yl
6WWSsUokaFNcHxRov3vHAmD3zP12NfMxiq9XyL3y/QqeA+yWZo0LliwS2ZpGXJ1dI3+IVL43DLBs
onopWdT5kGxaqHxCS85n+3Yy64upM72GyIOj2QFioDO9eNPKe4mYE2QWaui2ag/qyKW9t1BDNg9C
eXG3khA3G60pvECOtF0YWVB9aSukIx2Wi2Me9tUL9MhmezNCpQiCRPa6Tpv6S4W1qmWV5T0vQrAV
5SOQxtre6+GogIquw2tIrj5EbvcMkYtyBe299EGZCLfQGdmUto3aRmf/P35GifBCYYJrehiEtQz4
BLp9/URztlM/tq82E+NxNIFZJmua5dZyUHiiVIJDv2LdTSDBDiDCY4Agb9PIxNqS0MXk8YtjleZ9
mg/pbSzZP2QmLz/2zW1h2+Or9jIDb8tz4GFKw37AWrM4Wg4eAsjHOw9kK4VYDShyvOMOdx4SCDWv
PKCut+RBA+wR4U4tAPtANj2gd8HeOscBfBbFAPGla7B2ixfApZt92DdsLXToy4PdaZ3P9hLbojft
/ze7mjKoz9bhQgyiu6SF8jcp68t1WYj8CZSFfAddymApwjZ/UqJB0bIXeQsjQDOZQgQlKtBjkrPF
wefT5+pCnWmVTPcpSMgiLJ0UdLZWeVSyR9ap+E55rdr1qeubCMO57aHCyzJbKCsK9zbfWo6U/T/U
YZSguzrmbGgPsztk+6A3AxEqoKdqsLBM1XCx47J7aVfuYKsX05AtBKeGbEHNqOo0w6QBGVjdC1XS
CuIKKGWhZj5AwSxy1AMy08Gd37lnMuPbBUNRBJB7lTaY0ocKWg4hmB31etb4Ftpju0kz7O+ur1tE
R7JxESNCAi2AT69hetteX77hsNZFvZ8cqE+QAgs6J8i8zO9qGsgQg45BhnSywe6OPaSlNr3OsuXd
0N7HU7hpOxHdkKkzfegdi+Yf6iPTddDV9vugdpjqo9Wpf8j//zoo7oAWA9sDPlonfcRJveEmSCJA
PSqpeP1tbKKjkWC1+VCEbflYpOFPS6+6aq+JFz4Wk2fQCfK56f7epN6rMyJW8nxtqhQVZ1YW1avA
2Ie2riweuD/dohVRnXH/1xb3imKhMre+BySELZ1csDufWeMGstLNCURw/UFJiOUEni9vEF/mKwOA
iaephpDGWNbNN78We2kBb7soAecGPwGEQnP+Dco74tVlHlumSLfNU/aGpn30ivcp1QTAUqec9ylR
Un6KcO/GrVSvRsl6UDPibEQN3gI6B+q1kLgmnSlt+6tfySfQxAYgLF0ObS42pPYdIqxydj1QXNQg
Tl5Ts+kaCIVDkZOUwkgzrMqZd/6wk7SYiwAGXsZpgrXg2S8gG7zAiR3i/bOAVMd88rnrf/ExAfg5
9FPMN1HHu5WYvHAfB8H46kHOulNl9SytMjlnYIheDND1eCW3OE6NPTiCobNpe4uK9cEuSVm4FShW
XKEw2V7HqsL/usqmbsXLDLof1B5buwOtiG2vB4gKQRfUndbc9LbAMv0TOmO0J956gK7aGzr7sF9N
ZJ8ca/YninsyORowMsCOt2q0JzuZqPO/2v+YH/f4p8/z+/z0OQNCdHzMrZizCVDVtrEM18YN+evQ
g8h2ZN1NV6Tgfa+Vj9RFkXxruBema2DbEf9pOpCM6AGzD58SCL0kHlRhEjyl/z3V1fIx3Tw8AaWv
O+RQCNdqCHbp6LtIVsvA8rMN2Ug7oQPz6UVl5oL3DLzYeJVyO7L2SI2aM25M+Zm9cKTfnT2wzD/F
NX9/ASfVu9sMI9NuQVt2Z7CGuE/pL7epHf412+9uNLwMI/yLXdz9fMLGGApMN23lQJOe195dLGP7
DmhPhfph3OilecpaMFuQp7R5u3Nd7oMrkWFTov2bKQbVoWjAdUs+o+G4i0YCTceQY5l99BXAvux8
uoK5mt0zFU4n0EbckjdNOwR4bvE5OWTK4TB4QK3YoZHvMuhgPpsVUhKhF0ZnaoLqb9vkbfxgQJHu
IR/5atQ1rmnGGaqeZLmg5jRZfAcyZnPuzQYBIMxQFDvqpSkFBDfO1NRTjhk4+WjKAvQ6WRe1ZycK
QYtiBAhWiCWjuIk+yCYHTBxycCeKpXRRNUETL4421LRSoY7MhGZRX4viMULe6MHO5lAKOTQ1KJ+v
w6WszWXgdWur5VApjJLgbqhRqsa0WmiletBOeC2Axl0P9od/eyi/PTYDXvV/eAA5hbC4Tnn8ZQ4P
+/fVEHPow2PNkrM1kDgIqbjcxnHStPt9YmyISH+2zf0g1QfJft2ABdYpDGvr1DayEgyspsiD1SeP
mkiZzE1C2BCmRihnNl0xNR+DCK1DXh8mapHrx0CGcoSTiFBKnbDypsvSI+QHvQdAg70Hj7FnlHE1
Z5DEepAsr/014tvDmjpbzwjOI0JWre4kU1Fkl9LLGFhpMTqNnWSNkvpmQ8N9U1rYiTbf5tF6EKQ0
toD3x7dkMv0eiyoQP2/pEwy93x0F9IAX1EtzMOTgCpP1d2RSlYEKIuWlO/oIUNeuDw5zTQBAfn0i
kP5A9cu4J0tr5lB9mr6FSdzvKQAnQZC7nequmgN4KubtBS/aO+qkmwzZWIi+J+KObjCRtij7+H24
zKtqJVwG+uYi9fcx3gPA7vr7NqjzR4clxWOOdRIf0uEmqjnucYfZS4cJuaNOIKSnHQdRwpIGfAzH
8yoHievorX23TC6cPxBoguEltAKkdwL7Dvju0xpJ5UYN8TfQ4H51O+j7gGgk2OcCaoxelllvGEj9
NHCsDH/lJADNFCvDTNje0RB8y6jHHdLiloZeyDvkhZ1FWDXZxgdrgYIM0muXxhxspxkyGJlWktJS
LtoOZC37ZP/dHznDMwsa0e1RujwAwpoCqaAjf3/EACsvrpY8RkLj2vEpWNhQJNBTYNUsYjzD+74E
l4YK76DiFd65FrIsWB4H2x4ytnfgCEDM30Xpl/KDE3mwMLFuh+7rNDpOsswC4Wr68B+hp9xk6Wh2
4EZPSb40B03p1A00+/QV6p4heNtBvTvsUfSmd3Z4LrmQ8YvaPTUbZq4EWGGfYuw8sGz5txu9KnoH
CtpB3v7VrdazEZD5w03vY+bZyE4XNTpbXi9Ks3U9GJX7VAE4AWGybTul6RG6YNkxtwx7OwKFcCNU
CRh7afkPXYjQdc2c8guLxZdYqOpHnUDvLvUGseADINCNKH90Qf1lNETxJa+LBNI4qfcwMvyYK0Nk
NxCoeL9KbQ2fr+LacbJGHqwB/fFbzc131hgoTasjMFvEEfPJDG3ImVbmbzYapCk4/MiCxEbgrzPE
3h4gElMeHKRsIMzj2A9ki+Rrq+z+Xll4HQQOZIebCVxYV39IXwHSKE2sUhuruZsPL307QbS0tG+d
cXAPXC9WXWA3NlY6JkhjT/IGyfYBaNffjbN4PBm59kzW9mGQvv9PmZonEywn1xPPtWZL8OvkN58y
CcbnuK3faI1Mq2VaKI89xOZlaO7JrgL/RnAf2Ids+tJFkB24hncpDKztNoPYue1GG6o8GNVzFUGp
AlIR1ipGnhGSc8l04aE0l+TgBM9pW9tLUaBYvZFRtpSTGW2m2LEvBhC388EKmDgF0l73eYjwFnWQ
i4Lc0rLAj2xDth71fyvTiSMI03XyplegC2mddNiUhcT3V5cGApByPGDROL6CPdeDRKVjHDrdZGxT
B4P3UoG85uj4UO8TWjvayidv2UlQ+E+eUYAJq/pRjdx40yd+Wr2fWODHTSUEQRwL2cXCyqzn2m/b
leikfaMsaAukTZwfkDAAo0M4BeuKQRUhscJimVUg34m0PF2hzzofaG8AedA2LST9ksG01v/Zhxzp
kCRgOxHa+zoZnYn8a1G0AbZb/ERbzr4U0y0zphPJkKUJG291H+0wqa9huFv05vSj738bBz4UsNwP
9lsDWYYFiI/Eg+Chvxl9YGwUaAzPLAnidVdL67k0uq95OUDNPAYPHlZ130H3zBeDHmSwX4MAvh3O
KOhJwKxpmM/TMMyDIKs6D2pKBLQANzHCPj3GtWMss0klS8Sc0mMUDiBpp542TMb3U+qaUhMBFCef
DnxAAq3QZZWlgULw2ILwOrTA4lMQgkHDyGVzb9hJtSwrKd7GXN14Dmq9Fr362ku//YGSqZ/Cd/xn
L+PgYfYH+yb1zBS6T1Ic8M1W53TkbC1t33tgiXyJw2g76fwRHVQ5BsDWCNSNUzvjSBenznCwKAP1
yeejW/hiPFCrNaE4347BtCVIUDlAp7xvENGbEUIaPgRKlr/bpAsGChKlJmfyGz7GEuqI5iO//zif
02CN7qftCfwbKE8xPWN1jbD0tvkIlnRgbnSQprABCiwdF1RlGh2tDzQohLbT+mqbkuBiGW81tt2H
2A8q7JJNY8B3GK3m5qBy92ZUeYLK3ThAuADESbE+UAeY7MIFdwqx/eSN1fKqGbP+fHV2PE3snVYP
n9wg5B6vBydvwAX+AoKY4CzLyuGLFvGAfcDDl4qx8DJK7FtWgN9vXA4GstkFNVfTIolDA0+XMV8B
TwRRg+vzaWBZBTLrNT2YWrLbY2dfiqzNV0o7U0+YIQO3MCUAgomcnf94+NHsOeMWyBZRlq7ZDl1N
jxixAnWZdGoS8eG1i4zKSmyg+oDN0ENIA++Tn+itUqzI0YktlAfxyuN7ZqvZNs/Ax2rXQKbNFou8
yiE3YVn2bZxO9c6J22xfcGe8mSAECY24pP4yQO7RMyLjh6/qnVsy76318mFJg3I3qXcqs8A8EnTj
DceU86DcdM/0RLCLdocYkTsPCoFruw2Scc2g0LfIdaWCqysV6FAN9RJBq+DMbWUBV6O39uDaEKC/
QukBCBnf/bBrAnOJrGrgzRHyWXwMNstYbaGPBnljpHNugBkebvJU1WfmQqFestyF+A4oUMy4GQ9l
YN5Ry9UmOgNvSbbrXF2eoIfSJNRRGFG6MSvA77ywKd5nCbKsXbEOkdTY8sN4XdjYaA4pAyHh9VLI
LeHTAEGzo9mGMdmFSSIvEqQKa99X8Zp+UaX+WZlx8QAlN3aiVhMG7bmoO/D+oY8OQW2qtQvExTop
g3cbKlfvwtLw598iqmqLczXxG/KnnyLI4+U6EqpeXydSobzlkC0+0zwIDoN+Y/QSBJlAqVJp/isr
jX9KlXi3Tg/xbhmCtZ7s0nW8pdVY7NhExfDEErFtR9/6kikLStZFM27JLUUKPbOwsW+mnh3+07QT
M6qFq0DDRdPmoSoOnGCBjdHxHaoGw3XuTO2GWMiomSC2/qkpdJMoy8ymDtfX3lAhKGEWPyO8Fp56
aAodZIq/kpq2QLS8dH0UIujexNEckaICLlE3zQTYQ6lp+qmJlEF8Tqs2nZvRqMxzVBk/5pmQ8bgk
UfGVWpF0nEvfms/eNE1PbSHbGwM6YtQnLC5umyy4UN8A5OJtM3JwBuCKYNSo77DA2oUgWHmKjckA
pmjcUF/eM+veBWEgjeucrnkY23hJfdUUxY9u/rPCnbdVCbDuXVj0DyovUtByZf3R1eROgA3zXcLs
Clo64IuaXVBNU3PHuaNWUmQMGMDY2lCzt4DhLtLgQi0aVGCBvkCAoD9Sk6b0/O7OS5PHUdOeZH2T
3hs6altUwt5igdFD7kZU+wG1+xdyQVJGXKBBsb8OaHNpblEIAASFnoQOXR7LeZIor/s9B3R5AYaJ
AKnsyl0kdQA0c2XbxoIZjoDIlgxWdjeFt1VWhreolsx2MeSNFib51AxldkXVXaiXDuQ8Hoogcm9n
p7TBw6XBPTDPmwZgSjKdNNpdB12vVejLWAkobIO0cFYouAKGJIhMdnTw5XysBXIVA61N7U9v/yEe
s3XnIQheteY26bJ+56Ja6CESzj8imfLvhRkgc+CVTzno0v7mkDbeUzCW1eyAF2+/q0ZsuvQMGTZL
9x54ZBaxC037woqqs5cZ/IXJzRTm8UtVD/VliCPgtLW5K5TYpgCOb5CM4i/XQe9NrNYTRLKmqTzO
b8aBBfiNxKJEeR/kkT4duhCAN9GPUPlFR6PfrXQGmXfvgg1PzIdgRZaAMaxz0rLchlkBNTzHDiDr
msm1I1nyJHMsBeM2av8pEasymG3/lEhjVd6YfHFaBDUy4LOx0+6wPcTy+2BVDYrt9PAQYjfz8Mk3
myekPPp1kmG132gshKvxEbKx8br0ugu1PBNsClObyqU1WsB36N7OV++9UYRy+dopgZjSQz/GB/5Q
bMwADKYxKKwRC0AhfK9rVDIOWhX8QB6Qt/fBFYW9QO8x861Tj9QfgtttxXgwHWlgpge2VNwyDY91
Fo8HT5dV1K1fXBx9Rs3IDfE7DfuTNUFrGywc4GesS3UiN/KYjKjcth3IYvcAH3VL38lrZDxHY64N
CLOkXMSWqW6t3q8uwL4YQLMideqqqsT9WWlx0l8jeJQGdyAEBId5Zn/3pC+P9HLqmji4QAZt2wq8
6ZcNi/oNmPSa1XWppwe4KmuPZFKg6duYPgdIGuFRmbjDW5hVexDvGD8sxzpBuHT6IsEssPRQ738D
3ixj53Rmv0N5KVCbepDnoG4xMev9NIjyZgrtYpGOhThnuio1jQGPVpAEmlsfdkc6hVzlKj8UHFyK
V5IZwEKh62N0HthVzeJAHRlur3WZ2cjxsxBKrp05nmswpL10PytldS8RGyJw5IIVLagD/iLB/7VJ
LDVsyAmsre9jmFvbL9Z3O8p2qi7iu67m4oHlHMD4zAR9VZPED5ksmxOeOF+ocxKiOoOi+lwMbnbi
Y5qtoIwLgUXdDDq8ARd0SofQSPAI0z3jkKLHg3CnFupx12TsnW+AxGV39ujVlwz40UXbB+araAZj
Vdas2FMzRcYC6pjqKbX0Fgw424UAM8xrmNQDsBWmv/eEnxxRdeousRxadKmUz1MeibNpjAEIdAED
gJBsuzJKPzqUuqndpHYzo1qcEa+EJlrUIBkGFNYKVDbiQM0PN0vPBrAYuNEIVDA131DZAYatqvwa
uIip64h5YjYKSKvOvwxBUZ5QEeeuPjyQkkAJQKLU0tUeYQtKefKAJlH5Narf5yAPA4pz4CICRzIe
SOZ9i2TaeqpRAzKUtXWPUnrrPpPBpkGU8oY88jjhQBwEwwLRKfDseok7LfC0GffkbHPUZMuxAeYK
Q2lEo+dEOLJZ26Wa8mXlGpuhd74waGrtU9AxLVrNDONMYXWkJkRq+JPTyfdmNIzxJkap8mqopbur
CgiG0V7dxV+9k6WKV7SRp15q0m796my3KjwiqJMsKKvV2i2ogpOi38SNbwCknHcHaXP/aAK1NWfH
0hCUXAMyrDSA7JQ6a8Yh3o7AAM0zXQf8OSciRVAlXKUCyx6WAegm8j69DVK80YbJu6vDAiZgCI4D
89+upj5xIYlg52oZtVmXLD2Ry1VitOlmblfRpDnLY76f21aIl29dFheaoszd9HYcOuwP9WDg7eb5
M5TYgqRuOGTxMY9UesJq5/0w+QnAPn+2RVn1x7w5kp1GtGHAQaNqEtUMv3gabD71IQSDPdRS8tBg
C7I5ugP//nJZABS1vtKA0BnC6EijAmkn4vxhckbncZCAyYzxTScN55Es3Jj2oI/obqU29dysF0nV
eUfyKJCRWDUSSmiN0bhYUaFUUtbgkKKhAlKyBxRjBQtqoiTWuvyXK3m87m5jQFwaZOGDLnNQKT3V
+bHVh3jgaHejyIEZmvIjnVF3aXcDyIn5AN7GjzERuVM/eVZTBT6fP0+p32j6eg0prXhrZ1G6It3w
fa6rwyrcJyvWmOrcAYB/drIsXWUm48fBLX/IMO1OlureD1FidyeyuT749Rw7O1LnpD06sDUgjvbh
Qj0DKuhA6Qxetdy4u6appt4TR3Osv8iPynIbaQYyUZqKDkYLikrtRS1ypYGTaOeBc0br11zX6X+f
i+wfV7zOxX5dkWZmRcGPqMXG4xMPozpF5S0heP2PJrY77Clp8Vi59mI58blJvUiIi4w1Z9sx1Hlg
Mtzj1XZoWQLEDtnmUx8AlX1iWQey0aFwK9Qz6wPKDEBS+iJa7CDA2yW98ckA/N5PjJeqrctvBfdf
fNwI30AFPZ8ATzqf/NZlhoP3DKmMg+4u9Mj/MsX/uw8kwFDlBf7utdM5zqkeXHtBRA+5yMSmgU7t
zA7BPSi7VJXpXFr8yc/Mf4wnxl/+Nij0WTOzQ/x70JBU/CXidnxSBYovu9wYbunQxl4Grczl1TIh
EHfrxnpBngot+mpqNsuisrZWjD2qq6zx09CsWxphXYbzlL0Frg5z0EEJfQUd07utQ2Ft0xBEsGSz
kaFcNK1XgBq0qNY9aur3oSez59GYtkXNAGrVdpOnwdWuovLd7oGxbV8DX/fslNhDftiv/r/byxr1
a5S9mhNfOnsFyktoMo9zsqwGbe2pC5rHa/4s61m97R1/WF7zZwopTERhY39zTYp1dvQli+zhSKbZ
LpZliIoyyrlNRpieBK8er5fu8MDZ1rUYl9dpmrD/PDV1jFY2T00TmaByvu1ctpwsVAhKd0JgMAMk
5ZJVrrs0GpmjDmAIL3MPnlDjHnUtT7m2kV/DQigoAkGypRnmsTTBxywK7D4oaNKTfhywPJ1nupqu
c9ZxusX7xjtSJ3Bg94mTdaceZfyrIfew4tYLmXnlgRdfNdpIzWqTD57pXZmNoOrSTVquOEWEXJsK
0yPZXB8EBwCF31Dn7KbndZEK31xtBft5ndYY/c/T0qDAQDArUTLFPgrLIJq2B6M1ddKh/Zg2lNgq
jBVWVUNrOPuqxcqO1jN+BBwENWk9Q03X7xUKkZCauDapF7Vs+L2kJz/CrqdHBfE2HKavQYstUeSZ
/QmE4ljjUdvTRjqjQxwWkIhNmy0NDcGyjteGHkLt6wxhCYJ/3jf3f9jnmT9dZMyCeOH5hdogxNHv
By96YHZvvnkQYg1CJ/6ed0m/bIbEv0Dwtz2BxgPlhGMZfLXqMzk4UCVelh445euhqs4FdERW1OFu
OTSmvkHZuV65tYrPgYjyi5iAPUBqK/7usse+sqavHEXpK+jYFnrZHG6RIkbsQUK4E+/c8S03bbmI
Ux7dFoVrX6gDWwDUVugOAyV2c0dlgH85ZKijGOqDZwlQKzoaAjVIdU821TpA2Y39eF8jMrjhkaFu
wkywG6sx76Re1CZIJVFLtYbYGGDMhyIwRB4jz2MHRFX2VNRyLXShJtSdnQPIz+dO8ic7HUaklg5O
7O7+tOtpwQ5tHEqr3X3y13a6QDoZ4oiCnLnzj+Go3kX+2FTzx7vW25AbIJHFcaqy7XVaBkz9OfHV
sjbkcHZdJHQGYPJv+hCvaxSaxfcyDQD7LaHYMDRBsbRsq3rxZIMyPtVkb74PFIBSxfcgBXlS4XY/
O7tYpWnuQT/0HsmgBLuUTC6rgIc/kToDjDtLvw3xP6jRq5/srhvXAo/GU20W5dFCdnUz+TYWlSAf
WES5337nLFoaU5b/BAf3c+eM9ktgDAjuI/J+cQ3T3Jc2Svc97MnuksLvl6o1rbfR7vfKtbKfpjcd
ujGo3wDahEAX2A+9Ti6E6qcHkxXJNrTr9FB7Mr2xfRGtrKBXb0DSb8cqzX6Yo3jtsmR87tUwYvdp
FafA6uwTftnl2uu98sXrEA7Urryd9rHni2PdxM6yipIOFNiOPMa+NT200noAT4fzBo1mqDmFdnuC
flh1D5q2b2THH4OoTF+rcwHaurtGCgCpY39lBCiuAwFmdDHyIj7XlsBmn/P+W+Os3SQuvgNcA5ks
7cCkO25RQynWCUuLWxS/FLdliAIvBBwqxOud/NaC9pq/qHJ84im7IRNquAxkplXAxWIwyl1ktMlG
adAH/tXGHfOzeIGwsTpw/d6bO0JUC0xheUst4YblOWfifB2UlXjrjyIGiefHRAUSxiv8mJKNQRAR
LKjfJyYfT1hykfvNdyJ7mzQfZ5V247HNF4WjKd9m4rf5SD50+NSuhmg6SmBdO8s/QMJm4bhg8Sgz
fpkxCxOkMRAcSDaEcYgKJs8o0HimTjK5wjoz3r/7SyDckSaLnKPR+M6S6CjssnktY9u6Zwianf5i
7+visz1h7auTyXf/GgCgJbFX4L55DcKE3Q8RqqnmSFYR9vKd3xVJkJPnghuUMAlUqpaDf6FtWnBP
hPYtvpjyqYck065FCfemHbn1OuHBG3We+IZXGOhTZGqcxs6ZbqBS7YMoAwXJeiRyuuXToEfKEoGh
yK3mkeTghCgCo5EciIqbLoHouPdrJF3T9ABRpJGO8M1XCfAROWClh9qLaJ1HjX0PhHiywT8jOKk0
Bt8wxKt3XPIKeQHBoRbemdCj5qBX5Sz9DumizVh5U4SaRLEGR5f1PbFRWQjEbPLsTKZaBUyxm1JF
xraf+vbg1u14Qp4d4uNeWd/XeMyjPK8vvmAZ8RimAPcuxP3UNWAMq7xKq4rYX6RhFsu/fbap4//6
bFFlfvpssWFAZFfXflHplhhkvpRctIe5OEs3gZpvD1T2JZlxjzoSuf8fyr5sOW5c2/JXbpznZjQ4
ACBv9O2HnGcpNdiWXxhyyeYMjuD09b24qaqUXT51oh0OBLGxATIpEgT2sFbRJUm3gGUVEHJkrnMr
Wa7tCIgBs1DAbbt2+9BYwI2tsGtt5KYHmdky7H3cdRLWeYRvdMBP48Ti1U+F0kxu6gBk57Lot3Yv
1cFASMi5E7o/0xEVOs6BUOYLsbo1lKX/LaqZv8gq2W/sOLD3rizCB3eYUtoGQP0i8uSEFM/iM2kM
jm3Bv2k/I/unW4KPPTj0mErsm1v/g41/PiSlEUrkApBxxDddH2LbDzS6AcZdLl3koPjpupzCimu7
bhZmg8jAFmFBT4IjRNpJxi+k5jPAnPKigAWuxV4jiprm0kxqbYBcvqn779R6vPlbhVBE0FhJ/Vxl
2Rap3PDr4c3bWDwct9lU7dJiGYM35HOiSnZILAHacWNkL4z334fYc+/haO7vgKaNjPVJ3zY9say1
hOdqGjbTakv6Qyzfh81hN96NGTLbAa0NhN2Ni5ixJbyL0Z62tlQtWBzv543v1IqMjehDFbbMaB+X
DJ7oEtmlLgWuBhFvF6bZ8rWnPHbiFO2Kj0QrNkjPuH8/I9hpjkEDO006Ws0JSSaAl8gAVH0CQadv
bYICSeW57LsNtVNhyOg1FoW17ZWlkcOCIlJBe87rMkcqf8qBIOOKfkHCKK/fdWyh9bKoa3h/J21q
0DLogX8JpoWkgPMWXOv6rDsfwYTgl1o2OSgauwTR/HDd4xArr2YDxLdm4cI02S9IWE0tdOQiUmaf
l/LuJi9MC9Afc6u2V2aBQMMeKwOOz/ixphcNr1B4bhIH7xwdhu5jYacxGM5gN6cCPqq0g0n3z3oD
fCEFXH+SfOhJ9TGJTHCWL2msWx8QCcEUPxVWJu2106civQAerNkwYIFfCtO3z0w/m1O4FxUkpqMx
7OyliAe1jrBSkdiD+O5pDLIlqSQkGzxVgb8ndNa3EaqIPWN3EgKmz9VqYYCV7OBNBR0FCW8UkBQE
hNjPeWuSNmPlIHx30uLSAdN5PexIh0QOz//sTUPe6qRD1TzPuLO8tQhT5itTgFCy6uAw6lT0XsSw
RlbIl0c97d0SgEPB91mWUgup80rmmzYzfpAF8oORMokisPyEAE9vEM1+wt7xozXzF+MmdXZ58GxE
xidEQdtnywA+YGeHA5jih/hcDqkC9pI2rkhCs5ZlE1qw8aTBAoiR6q0PkjWCFBViPyIQ13A//K7j
8lseiOZLNcBvb4iQPWDB4wJ7smb4O+bJHh+tFig4FbL5ZbIW+LjifeAK9yLuhtN8aNjaOJgV1lQq
KZFJNLVQITpEZg2AxeuxG2wiC0l7gMN4QeDlFWSd1aM7Ft4JyYLVkuSGBvhiXoXlXeLb473He6xf
pg4hsALgMcr50UF+8ZObg063Y+o5yMdq0QOR70TF0BnZiU3FTUZV3el6yVNrk48ICO9Ufa5FkD97
iIJ9qF1/yawqRFzLqhIqfeZ9kz/D8orwxkI/kGKQpxdESbl3VKvi6q1X5TAPAr46wKqmId7Dacx8
2tBiIur2VE1HPq4QC+Rsqdq4BdyDMHBvqDpEfo3dWOWu7OmkwAqN9vBu2EtqhSfeOJQ54C2o1RVt
dG4arFCplfVWdQeTwZUasXSNFgUf2C4zDHsE2nJSISGjOjRYHMCUlCX+Gc+Wf6Yjoyu+AC+721lm
zseFVfotDPADkODNDBvDDMzM0xEVAVgBDn6E4lb9nd6tG/UgFep2q/7/D3U75S9D/XIFt3P8okcN
su70vjUf/RAkywZYQvIFHd4KAH/wVW4X/QJECenx1iAjQNKXefZnF6rfmt1pxFuVjn49QdrAI2lK
oBz+8zBh+deF0VnoSmbh7awkFFXp5AvhmNdRR9i7TRdx60LVWYUOqUtRxJ/BvFnuDTvK7xtQQ3K4
gk5qQuykohg4okAMv1gOlv0u6+goTjYGSI3Ow/QGIDZa15tKJ8iV+Ksv9chjRMv10jrf5CND7vaY
Yiais94aBsDrdKJLLsoNsTLXYSvWSRF5y/mMfw0MKxUSt4Hh3dG5U62wSy7NeDUPRZ1D/ZLKLryb
h0q1WazDyChnFc/wLjZAiLZAmNAHoZk+zEcybd+PfiMjld51ZIoXG/2oUH8d3WRiGuY2KjXcZCVQ
Qpexgzce8G7eQ9FKYFOFQFKnqs8T70FboNDuEusunDRK0Kvtwoa3S2osHdd7yGFvycqOnedOnQZT
IJJ4YPlCiKjStbpzbfsCmJTyrRj5xRCseHO0vIQSBwoS14/rk4xSYDN5zN/Lqn+mgHQKQw+mWHRY
Amb5TUQaJM/K8Q5Z5gs2YEOQ8vgeAHrONY5iecGEtKYaFcYINOfUbt7aIUjg6WsQkVd4Zb10hQ8U
A5kFxyp1pv18KV6av46S2HyX0VGbOuIlDId0wfJMvsytwZaZ3mOidXLlnCdX4F6LU92MRxKBHCK5
NgjEv/Mxl4E1rw+WpNa21xBgTPekRUVT1bvEzrsz1fooTq6Vyj/nUgFJYxqZRH0NzAphWMH+Jmtz
u1q6MUu2pEINqc6QdJEjiYdkNGZYgk40aJxkdTtrILW9TXogUN/GC+zU2kuzR7yW6eKC43x0j45o
rtSNfhLiIkowlRYfRjdLwPDG8yXcfkKCHWUH9K/LTaT86r73ZHi6XZmWfrQwAZOInFTcMNKtReUv
DEPID7+qtHyEkVqAqyIVKrwRGCC1WZvzr6JBZeuBdC/L9PJ2WtYod2eUiFu//dK2ao0Dc7svtxsH
Aylw/3W6v11dr7h3lwcvNNb8N/T6YrK6DndzdSycAxA2uimZpttLCyQJRp71r3HdPFlpljzFoGw8
SMYQoTvJwWdnG3lzGbEOR/CnW28aQBnt3axwnjWA7kiJCctcNoJV58jmxsrgebbQIOB7bHvzU9cM
6txNNVF44waxIkBOLj3zsRJ9de8C9KpxE/ORRK0JaK8gC6Ijyfo2KHZZlLPl3IFbwWNvbnytTSBx
IkQP6+o23tPgwMRNDrCKmAuqUgcPD4shzP5KonaEKTHt22pLgyPbJDvFtvpOjXS5RmQe4cIN7uaz
N3aHaLNIrGkwVybdhTnFhfSp8OL4NU+keaJaj+Xh1pdWCzgR/KDR6IMrIlVW1EiiHBSZC6fy+wNV
k7GwdzKCsY5U6BI6ZMax8ZEEhgTHi1eObEcXAFgPdgh0j60k9lRd9JlFdnsdHanvi7F78zvP+wJq
92ENRsBhF/SohtpYAXQLMZqx552KKgMDHzKovwCn0AEkbtYcizZC6Jp1ncUtGPh0WQIvBDaa5fuO
GxBquzlO7xabn8D1cWxVsfgQqGfHNcjETfvBwGUXgf+Z/NcBU990rfOnAk62na5B8QMrrfc0KZBr
G2vAb0791YCR81vMEQCZdM6PxE7vmnSwXnTcDOADtdRV2FG7dUurP/ilSGCnSBhQA53+KRnAjKtA
0PnH1B0cpc6PCN1lBmMwHlF/49spHo2UISVhyiOPXAPIFmaC5LM07D+BowJYzpDf1Lop+zz1JNyI
MKjNagK596SG7Ij30YZJ7TZaFP/hE9ABKI8HwHwjvcNYZMNbJkNEl3rWZ9AOlwhKNLNd3TfJp7J1
TrIww2/I50mXBcKjL1pa7JybA1xr9hB9+6tnl4KMgnrmIkDYtm2zlRHHcBAFKv1ERyoQyXzU/Ub2
O72AmQzzZpF+8LMZwh6OQAbbffDqzT42PjwafBR7cq/NrRJesjU3SqSZ/OWjI2UaJS3rHcn7OF2o
EY7dS9EWxVYAfuCzlRUznpVIXXOd2G61RxQSyHnTfMazwloa8rgBgLblGZ8mfRd2MmSpIUyBDzlw
lK2is9ZT7PwyFB5wsMsw+Tf1bhnrhR9p/+gloB1BqEySX7KRw+FiditqgJ8wv0TgELRX8divEEPl
H29q/sDDzRCkctk7yObsEKhx1FnbPoWdpdZAKes3c3UEEJsjKlySJdsn3ZkjAFzTEzVS0UkAhiGp
60o1Gq1PzPfRHLN7Hy2wjWDTatXA4uVayYIws0A/dOpcs7pQrWZpvYu9rFpSlQoYeQHMGdQXp/QQ
sDlp1AAQWzoTlQjJfjPGrDF1+HmM353FLsH9WrTAngwHp3g0EvNI2Aw+2El3CXKt1v30UoCjL5ps
0d1dCdLuR6cbjwzkr2tMjvIY1kG4bNzROdVJbn9igEufYeu0yg9AoSxWAaLmvpCan5bOyWTB1rXy
Fkn14hu9MXUN4ooSNotrw1hzbILWXbEgib7p7JyXtve1TQC7OjZjdGBZqh6njtReJTk4dCyEC9lR
IvZJinFEbYm3AAafMGy6b/CWdsvW8cL7xDVNkLmOQBm18xEkysm7LgcjiwYdo1qZcJ62QOgF9ofD
Vj0d2diqdkq7MBfgaG6djuzwlTc9WNxdpAlNBUAxdbCtEdC75Y0Dp6zGTNRgGQF8fzluPcwz11LC
tT7hpc1/jLAZVrWA0ZX+lmnYxlcwy00cXPfcY/xrCqxdkCl2X62xZ0udxB249IJu14jW2DF4Ou86
pIQv4ZcbX8q+PxGGtqeA3hnl3VdWpqCDRP6F0cXZk0LqPVK3cRRUBWhDMSU/GbF+l91a6UgxVq87
VQEZyMFEiRSN7ECX7Is0PYmyep2vePopogDYF2lkod6BsSB+9rLilOeG9xQD8OmAGWV6C7vh6yRP
Gb4WVhg6ByEBlfKzfIQjY5GbdbnD9NefseDvzyMXHfihnXybWEW0KFkPEgJqkWE0LpqSh9u8G8Br
ZoAHwfUmo9ZUvclkkg47xLZV13YqagDrw3sBGVWp4SbLa1lvSt9qlxTlRvFu2ANfpSP8PcW33eSG
jMctQ+zwIiWY1huzlWdXV/jW6rXSmD0Cw7TuVMKNdTQdBWJ4PyLZ71oRWAr4HMRKbmM8PQcXroNN
PcriuarUmw0r41tU1hsY4rqvZuYnK8RPDRfturDsmXm9UakUS0uNxsJ3M/PkEiICGYqpzmGRwzon
OJCICjlZkekIbgpwuRYjiGgRvLqJpUa28pRwR0FcJAMAAPhvbHGGISe/eNP0q7T1Yo0N28UOx5Rc
GH2yd5iBr0SZgAO9rQMHZDpm/ObjrXAtwV8LL4xXJufZxUuYewzHvF73WmnkeiNfHGyeb06d/Rjy
tnlyw6jZ+n6e7YOMgyltGow0RhuM61HNX2Haj1e+HNVKMnfYAUKQYtSp8JQq177k1pqqHZL3HsS7
gmPzrcgyhIsPzeOofKT2J1G2h08DCYZgeLiCGeRdVsqz4cd7FYr17zgrfBuf2qlxnFzxUoVshZDF
zniEdQ13oYuCYkW5/wlcVzv4ei18wsDyBCDF6hrCGDPLqEoNiG5vdvbSkABAaJ3WekYaeHtwrGLC
pnZhPqxADXGrCgAo4r7a59gOECHtCm+ZTAjjoGr9JOoqeJS8SU/tkPhLQvQWf8p1bqen3J7omWCB
XwPLNwUpYbHAa2t+A96GRsy/ld5LLQZgveAPkfKofWRuBcChaaodwnfdNgSisW3p8CE0AV6tfTiy
sDccvzoMzDy9Hj6DLuZdToEYwMic5aQ/qthfB8aIHIOmSXZOF4UbODng13NHzIvwlQPdBkkhSZru
zCRrvpBG2ETONgY53wKLrWw5Q883Buu3v60T8Dz8ZciS4a63swSg4UJRg/2MbqmuPlapFRb/bk/3
v4y6v7X+0vem3E5Dla6ht2MwHroBTldQoZfHHhaAjapM+1EhJAw0x2p8y/27ou/87/ZY/rC56z7r
1MTOMuj9E6LAq7mPzgpjrQZkKtH7xgan2sZGmMP2NK2B9LTg6aYi9UZ7ydjrLWf6llddAExin5Ug
93GQed2JrAZB8aDfM7FveuBkwNq8zZ4dVjM8p10FbJrM3qQcwcVRUhZnJMGrNcKeyk+VNP+g1EZD
/IFpK3m79WHRGK4Mn79ogT8mZa0hwrjc3Kpe3Zcb0COHm1QGwYkPSL3i/WeKfs/zFtR0oT9cXMft
TpbGRiYqffO1TmYFu39kvbmAt6BEhAheiRwrTJiFneJENDTZVOVTlVrtFrmd1Iq9ovVMrb/rm4gQ
notMAUDVUBcsE7CuBAGtVfbusdQMS81J3lUCgAFD81JqN7d/6ES6D+CjXQHhNsiuYTAlMOjoBKRu
7vyhkEO8AqyGc2cUYP0bDJk8B2lercEkNZ6R8pUeRJGI7Vjk9r0dF3zZchG+tJZ6yNLc+YHEfsQ3
evotLP/sLkON8I02sQDkj28F8BE8mGK87MSb1kf0QP+JXn+SW44SW1lUM/uQN1jZPXK7j0qBGOlG
SJQVYbPlOgQY7ghColuDWTgg/DDugWADJKoCUfswrixKHnVHqjZD/l6l1EN8HT62Dj9XqTVmSA/7
t33zETE6pcpWgLY98VqqvTctsBCNCEY2t8zCM9WpmFT8fFT7OJHRycTik/AMYt1993ke3ouudx7Y
mFwIDMFWnb1F2Gi8Ia0hG78jSy+4x9p21iKxNdjQ6lNoTSvXv8YCfsWspepCbLRb22tYKBEg3Ffs
c2QDGw7vtX9VYQ08bkz+Z+TIwAfltyGMLp19HhEqDnLE2n5o8rpZ5qbqv8Se/dp6MvlulQ26T34o
npbYKrHkTXggWu0DzkDIFuCdDmpgo3QD3CStGZ1903hNDd+ZF5RtYmanPA5faZlGGwQXWa4L126T
Ay3WPAfPIJLhizWheRGul+799GxU+FRMyF8kb3qN1I5J7nTu8qZKctB0pvgweOUCgL3jFkkz2WcJ
enFluuG3zEcatAQW2yVOw+7iIoEaoQZN+C0GNQBnwN6wZORvf+6ZmNF4rzL7s8LK5gwIJnXGqled
sQOJd7w3Prl2FB3tONoEVlY+pmnc3otEIqClAzNoD5vLsvIZ21Gr0fLmFATu17mVDeKtRvLHEYsj
7FqEY4DyEhYy0qUCwHUb3injjmpR6YnVv/7rf//f//NH/9/B9/weYaRBrv5L6ew+j1RT/8+/BPvX
fxWzeP/2P/9yPNd2OXeAYcE9oI8I4aL9j9cHOMGhbf6vsAHeGNiIrEenzuvHxlqBgCB7i5UfIDct
KGG69Zyd7U2oCsikf2iSAWm4Wss3uM7hPld/tMZq3scGXZgckbGyTWiF1XHe7hBqxtOLGMNs6xKu
HOhSnUU4lNF2ZhlMouanOvKILyECYW7LjDjh8QremAwEIUAmoiJI/I8yUi6zdMXwjB9AT4zo2ang
KuvP9lT0cVNtckx6QGT6szWt9BeA6Wc73jKs2HkmKsQjue2sQn1JmQYAmwJb/POtd6y/33ohHIEn
i3P4oIXz860HPF5udLUUj00XDTs4gQNETZnjOnOM8qVK4DSZlhPdiDzo0nWqe9IQyHlCqjZDmNjv
tSrlG4csdD+M07EJZsPuNciKjQPndfiSRpW1iu2kO0tQYh7LAjgZA3xTn0aAPuP2irdJFfjTiPGe
VJkPppEgHU70mpnVcKfD2D44joU5FykN8j88l579681xGKy+uDsOQkMEF/znm9O5SekidF49zot0
UXDk5efOJ3go8isYZdsrUvWfaTqMamVsaMqj6qSFcC11HQpwFVuh9wobsF4LnimgpmFiClUNsgbO
my+Wrs5yWiPio/igYpZ/5kYByqCig+qQO8da3odGXt0j0H4Dhz1/zCc0/RLYtoA7SPwjyQAZlmyb
AviP1Eodqqjf8AmXH1YzsNZWkYO8PTtbwjgV70epgNrvK6Q89j4wM+wuqZa1jyzCsHkEdz1//EXX
Me9rYe1dMHf8srQnhjlLc+8wNRL93NgGyE7qYPTA8pedTCf6XnVe9tRMBSyFRcVjAIChkkWiXbRI
PTxkXqGeLG1WG8Mc8zW1Uu+uS+feOcB772Z7o1NYbG05TfIBXL5t5DQrm82GGkqLhf/hiXC8n54I
zphr4j8HY7ZEGrK0p9fpw0yFmcUaACUTPHJ8okAfx/pLZwJemfIMo/KT6dXWKy3CHKPtTwH3+4sR
eliiGRWoIOPkTKyyM0sskcfO9LB0WHlFUSyaie0tQhAguHfKGOQySXmkTtRA1X8rmwcLWOJv69pF
lM1gu+lOdqN5ZI5rHunI6RO7XKhoQLQVHEVs57jx/tb8N51Z4FR6+x/mnp+n/elmAgBKOEy4ngUg
Ok/8fDOTsGJmmjH/Qfb1AFds5i1M5C/cW5HhIeg7M9dt6qmXnPE1rXVJo6pCZOl1TgeEWwDPwo1Y
uMg9botdDT/DNM9W0+z6oUCS0bnVIG+DAonB8QGjkxnCnBaMalklJuBdLZZdTS+JFmRsoQaWGe8N
8M5EsBIA1t1wtFrGRQEsG99LrwJxLv98Vzz5t0fMdiTj0rQAucsc+5e7ghWVE6gmFQ8MdLlneyLM
ALRJghC2ieWWMFEDEcervrhGYkxXH6CXcxAaEFwyyYCfh8RYF1DyBK3sywFxcL1oVnUVG8Dizuol
hQLmHPAcoEIOjnyKGIyDrdSF/HzTqgWi0yQDdWM3mYYKPwYoRmQEO6rqSda5yFAKB/tvMtIrJlPT
rDzpkWyoXSy1HeOlmuC9FzIYnUdMw+AVsYIYSF2i3FNLVIJjy69Aw0WtH7Q9p65BkOt4p1Bb0yMw
fMXjVGxiqx53iiNQZZKzvBeYI2BUBGoKdvwA7HcRjM/dRVt7/aM1JZAUSESG6xY7pak2tXUDGJTS
BmY5UISFgQK8c2f6e5B7FxfdRICZHxv/6GbyS6p080CiHJ+uVQofxoaq1GCmSKFi5us/PyMW/9ur
44FvwzNBLuBxB7vwqf3DPDR4DJ+7wS4fwtCcrM7qc1xX0TfVIejQ7wW7h+cnQngeAoCBrxd+K4CI
Af++/1LArbQBbypQMqSInn7u6VUtwwZmOHmZESHHFVgsoosr2KQAV0tVNxrXYaHHxzaUQBUJ1Caa
GPGK3MjPgIlFqOlUxQ6j2blyQrmZqlkF8NHS5f2Oqkg0eh+SqqBCXkcINVu7Np5yygiKfKteR6No
PqReI1scK6OqmhOHYKga96mDVLc59ZpnAJIAE5g5p16DbS6/823+IfW6CPp6rbtMz6eg8wxIzEHc
t5XIF8uS+iosL7hLWuS/9kjiebG1BaZwxrITIhTkkxmUez8szBegijQbzKn+ltTiGPjnBXxdXeMi
3qnFDoLkwmleb8PawQgL8NSdhi10HsAUX5xq7YyIGwV141C24RMw1x3E58BaV8l6P9TwCCCtQC6B
fhG9YfmkFtlY+s9JO1or3+jTO4XY0J3OW2tPI/EGHsDbSB3Lggev6JGcDJ6s1u+XFkjjYJxGbrI7
FSTnVTOsa27rpSnGdxk1kF6PXjZj9jyGG21BYlXfuQEsKMrR2VcAwB+IGbKJmyPvR+8FQYxiGcsh
RP4E6FNlU5m7PoLB3rRsG1fgZl/dqD7UvnpGMkNyxzAdXgdsjMB5AYJrnrdP8HMFoLML8qc8G2vQ
BBTtlqqiTPW+bhE4TlWQMNv3dc02sbbzKyzs5ipnqXywyjy9Y6XcmkMvH0jUR36z8i1/3NiTzHLK
Gswds7rfpepiFWpPxlqQBgHdMBV7MhiF5CGbZE0vERvdMiSEY7HkArrtxVDmNao4jHp5vbf9qvzR
WsmrHY8ucl5rf4ltunNfmna9ddLaQDzQCLgGZHFuikjnD78bJ032fVaUWxgs2nXZghJPRcVDMWWj
IAwSLMlTIooycpA21qnCKwUZFRzEAaQrRsxSblTCJ98PX9w8X41DPjzHCRI03FKY8LVgx47VrYME
jRwf0gnckKfFColF/aGrmgoeuK7tknMd5+WyNpl3BT5puLXdIgLjTD6cEgvWeYQkykdhwVEg8tD9
hpyqdZoFzo9Ae8e2gUeGuiMcwLs6QRhtEdA0bv55JrR//Vpi1eAwm+HDIEzTxJzy80QIM1TZWL3R
gjDehIm18+FeopQBwE3de6E2d4AKg0WEZC24o8KmfRobUYLwBij5QhbmNW4V1gNdmf2R46lEcJnz
+aaBGP4Ajmo/2skJYoVwVjRAVrH/ab01garoicCWjkDhCGLcZVDX2byOsBF9vNTOkFx02Fj31MDg
Abn/59tg/rounW4DZ1g3TP+EoB32h++B7HvEebtMX95j2qU3ZZLilWdgPgaIF8wAtjUCL/P20qeB
vXJ6u/x1MqAeRYogf3r7wwJ4dvCUxct/vmTH/GWdI03XdF385VxMHs7fdp7INDVBNBjFl3lBP/qy
AhJ6EH2FTTidjPJA20m2peez7Z9i+sZXJkKp/i4OgNs4i5mto6+g2rhp13EjVzwqFTCa1mTmzKQX
PVscWC55uh7CGsDBcHmsVGKGD0ZQvh+BCMFZdRppHiowndUwHd30FCjy/sN2nPYPN0sIxzcd22AH
GwtbeA5D/efHuRvGPqpGnuwGH6lefGmDlKUdQbUtsdCEAUk+dGMHQt0p4aTTyT2C3qpPNw3fcEb4
h6x+0QU+WBstpDJEfQ8qpxAA0ym+OcgCzcNHzrLy0E2tVKUigCN4EH1wCh0Grqq/+quOJ8gTNs1v
rDv+8zNgTdaFn38uXl5XAiXEsaRETtbPPxepFtkAT1awm3O47GI5W2Rg2/fOVqDguASGSjUVyRjU
wAGHvB0UctoAUL1IBFAcA90CmI9JmK0Dy94OwHIOsV9A6u6H+q2dcsLc6j88zfgj2ZM14MOP4czC
L/E824KFx3HdX61YDKy+uYzCepvqxDlo0IUvESmECLaOB1+izAMEHgLPXVkhU9LpowXJEQEkN8Bi
hAM6UuEXj+UpyI64uJjwOTxn8IuSmsq5OgYhzC5UzTlgqeu4YwB1jLBa7pviAI/ZNwRbxT+y4oJF
I75IKrDhkfLdlwlqeAnLoH5w/LTZZKwsT03aygOcyN22qZzxHrnZwQpTufV5Gqdt/OjHOL6PYxlA
ehRwJhbFxQxCfECAINleEGh/doMkP1h4u83JPKSBQBXo82g8V8DduJAWiak66HLcIfv5leQkokYq
hrb0VyaW/cv5DCSspyFrs28XWqlgS7IPJ3Nls9VDXB8/yLJWZaeGlSveleCbpC50Ko7kr62VVtlH
GekYvMonDrQWBou/XzWoqLEndJm3xUqr3AcMKIgpMsfA4mgiP9NN1QrZfhY/xYUFc31i+oDJ00Z7
pHru5sGyCcwIq9thnfq1AKvamAxLACjjiyKa7FHqUJ5Hx78TTojaJNKpby7qhnFwhfAM/pvAORpO
9uOm0XH2AyDYElO7k2C9iJ5wxMl9I0GzTGN400AATgdogeZn0nDSMtnBNg4D9NRIMjtx1jBdhffz
mTJv2GTDMK7mMSKseOMxvpPVNqoTIMVN/azaVWvTM+V6HiH3y6sNfsvboNIcoxUSPYstjeqMhX+J
0uDgcsbzJdIBwUhR+MMuZfN5msB3TqBu+UzqNE4Pt/6iAZDmgap+6DpT1g7iOqdLoKIMgKeRCutE
vQI3MHZVgb8JXRXJbAvpCPB1X0g/ciKAc/hmuKJ7M/T+Vzuvo5MLbDjMMe3GCh3nAUCPzoM9AgoL
fBLeuhE8VMveSBZgbMmupIIYAxspbGAjjSwrX1ux02y9FmjCdfqadmm66Ucn2juGVXxKRx8LEJm+
IgKyXokmt45gHe0fjLb9ZpZ+8oq4KCwlVGNe3MBL7rA6FQtqUKL/0ZbSuEZ+npzGuklXdAJYxo/u
FM6Yt8MFUH2Ase/xp6CTpP5TXng20Ff7dJsWnbetHaP4Aurt5cAqf2OlNVJLPbhxjObYxSV8DxrG
wCVml3hvJpIhxxq3DJZHtij6iJVLH5OYbwbqSq2miNqVwM5/S9XQ8BDPBOLVeagKz3AJG83F9TR7
BCFGtPEtGPKoWqqK3SGlcTfrNj3ys0EVkG/82v6DRpOFNLYg2eVL7MLNR8vonYfMPlLbLFHIhMgQ
8TZfqms06oA9C6hWpiu3U+yvACKCtKEaH03YY9+vebKJxnDWbek6dM6ck+2o92vuhHuHcGI1X/P0
OGyAbZCv6awpRwT7KCU86dMJpoKuG/bmbr6uf7pm6tTXxt+uOUgqAPbD73bXqH7TGQnf6srbF/DN
IQdNFwjsMFosLehwSHWFsFX4RIpI8p1HLa6RI1tRpaB1mzUbJHXE3A3A2jbFhUxjdIio3viR+zmx
QxBJk4wBXjQ80eEsLVqLLRBq5ysjWYURPgB28hjXJfI5KqC8YQmSPiLvMn0sMzBSdt6VFBA0YK8Z
UqnWVC1YYj2gMylSFzCAuasu7NSGZLULZ7GOlqBCHfZ5my7fu2HcOmwQl6NL4G5bbfrIAt7cDabY
3jSyctD4mTrf0Vh6bLwz7ohql2VRHEmPulZBDzo21td7kqmedafBiV/GctR71y7TFSy78dZpen5g
icrOQV9hpd6vfFXs3SQHvRVT2SINi+F7OG5SJesfQzr+gR209cnN4VyIK18hJhzAd2PtYGNpNcG1
94Ejo1or+2qZLnzF6ISAWex0Gus15jaA+Jsxe6Az90POD3Hciz2gAbeFKwAvZI3y2MThd7uzSrhJ
DYBbCvf/UXYWS5Ij0Zp+IpmJYavgyIBkqI2sUC5mfPr7yaO6s6am7drMRiZHBcpd5/xgnSNWja1Z
hhpsOiyzp6TyVmoA5kFpNpWJMEcKyuKrG6oXJLSX9CdRG3fkQ44BCohIL34oXfi9wtn13R7VZGUO
U/DUoE+5xoZBhfYx/742LP7y+Nd1oy50H+BDQJsTYngFJQzBWQNR8H9cD4tu+HxFU269qUTBHPXz
bY0GyDpIsdDJe40N99RrXyHm+UGvNx9eA9VeoBq3V4llvHqmfayyZdba01bujNGRMfbaNY8Scjly
JLHIQFTTU+Bp5dHBTHojB2T5btZj9wvUkhSDnKE5ANN3n2fPvpftsx0T09Wq4SJKwvOwG/E7X66U
eSFCX6bzzN+uPYyqSLaVXgdfgnp7G2i4/Ubv5uKoqUS4MPl7v70QULO+kvPBJTwQnHXyN6timRDg
0rGIuvx1dsW016GCb7O26z6ScvJlB8WAn4d3X3aH+FL16LmYT8lLNRbk7YZdw30IBuJko4C5lg2K
1Ww97ppvnWuYOxep0p1IRuWtMPnml2sicVetZ+GmpHBB/OCRXN0+rgJjdR+8S/hoKzjUBIuJsBxR
xyB+CCR9tLMd7sa5rPe4kEyvc4HPyvJBJxm6CghgZmd7VjwgeLHuzyxJLySrXqoJB48IPMG+CBNs
w26Jb7LfFtoJxLNsUpeLEIxs0ELnSRkx51xW01qJrcdyObgpe7vKiJWNXD4jr6fB/S7ssbktqGUW
zbsC3Z+VHCR79aB3J7aTZ1myx87DdWNgGS4Kfcc2VzvCoPIdUDEvqakoD0lY3mlBH76NTsGHA9nz
Fousaw2Yk5qNG9lqZ2G6VkjdHWTwESTpr7R01YssLTPqoChe8mVG5OkQVid+aVVc9x+yeCrwm4QU
cgJ76p46q2d32lejvh+c7qovDXDdIJH90ayM5Z6bvn2YyxgPO3BZ7imw9H9OJ2HjsjOPP0Lty2CG
iH13fUYQzDOSlXBEu3JZI3eVoZrJCjvGnd67xqWBb/I416o4G5l6/d05V0j4jV22vpV14oUwNKsW
p5tlsibHh1SNH9LISx9JjRPwF97Pzk5p0zs32+htw89MXqgxi+9d2WobkOjqBryzgRKXHb+loWJv
MsUrMLahWA1IsgciKU+yOBr6Hgwau6gisJ7yudwUU568haImk7GYerGRTt5wS3B3tRr8bo3TMVmj
2DQdZGuvOl/NQtRXOVQJN7OhwlhIq/Ke4MuLvE6Wm9VRvqhsmR/K+H+/KNmaEX2UL0pB4ZPNQlLt
gmlWTxLlecN7LsWcBLgf8CRzEwuQXW4yAn8gQ0MlIMC+dHKkmMDnRLdOcs5o6WRl2byu2nDDI/0K
WFL8BA5kfjFAuyct7GBZUoeCLRpq7LLkasbBmNXkVkrL6WSExXAv24LWu6LX5V5lSQ/VpwppyVsJ
VOVbNzraRbblYfZNE1Z0Uw1XcZgnN2IO59sl1Dr1+W8EJ6kNjsBq7efeBCBkeXFBV6BZoKXunWzN
Wed9LTPJ08hW/N/5T6UgbbtQfbEdL11l6rm16+RAaqx4nm0n3iWKqq1lMUzV9uzWwbuj2hG/YnxK
wwm1MdmotlyqMBrvmDdK8TwmfbHNY0L0snUIjOzUTNzRbmNbdFLc9Fl2zXKkygnUs3FfLiq6od/g
+JCSfWciDwWGI+j/tB6aS2pgLZAmmbYmv95crAqfX0A5nMYCjMWEY8P2VlkJj6aq0e7jrDcPhB4m
LOGWOVSAIJmRvdeDOIwzGHXEEfMnzRuySxWJi6poSgFYdOaBTTOwE1parahp74IJxFmQVcWTrMPo
6ouV6QCxlqrIGzCNXx6EJjnBpMFa0IuGuy/jRw3oVCAwd5RFOUIvtyLp1UdZown2epOVJlvZJqZk
uCcMcusuewwjhtddSSRJFl3Cngj394+zM35BKqc9yepWAdbID7Q/ymLYVCZMI+gCsigPQ60/G22a
nuWVvBl6RcTqBWWJFyoPqrXGe2PNDyW9H8xR3Rhq12+401TbvC2ctRzYF5ryOPy8vdum8ub1BNkc
WB6zzLGhX5M03uliyp9kdysnMaurs/775buhyTOQ9eYl+E2t4IvCxw9XODuh7O0Yxn3iLMhsxT1+
VsmzZHS2IPnGsyzdqjDcIG04jjsItb+Ho/NvAB2f+hVKBwdRjs4mNeE5TKBg7/vYzW6HoHEXw4Xg
6HUFMjNZg9zdOOa/+xleN2w7B2M/T5TRekhC7Uw+uz2DBMzWyZiK78FBhpk/21Wz/1/b5XiW5oyH
v7TYkuVy1hUporuuhZsv3dE/i1JE57MIdQj5maUzNEU6s/1++WyVYxtgmevaU8eDSwbr2hjaL5kS
tl2BRFtd2zuZEmbXdp4wInhs2YXKXkHsvEwDesVhNnjbm4eSrr30XdQ+eKZXPaRG+iqRMGUculun
LL1tx9JJStafbGiVkIyL3afOVqrU2Unw2JIkkShBAf3TRWpsJaOo1kjhjJtpKJLJd7z8Ht3D+CAB
Urc6CZOyx7ZZ38zd8PwGIFKOKKDbqsuHhpCymE0guznEGXT/jBfZisUYBsf4OqTJEG7HkDhdqQyo
aWp6oZ5F4m00smP3xnKYUL+4D7Py26TXyVGWZL3b6b+Hyjp5UG1lXE88tF0tA63jCHHqu8lp+mcr
6ZpNW4lmOyxFU9Gcgx2H0Uq2FmbsXavaPMpGWVX2/dozVO1BlvDLQZ53yoo7PNj/nE3VtlFY2w84
ZbePSnLu9Hx40Bb78yEjhe4FrerLNllnhwo2VtFAQGjpL+u85NzWnX7q4+zyOdCeRtWXxb8GGrlF
WpxB8MEGwhTz7yvJAXGWB/tCd930krNPQHRBI4QVOntFyfW7PBjs/+uMHf5WcwLQXy3RIyJpRCkW
FgLwgKHqrZMsdaNi3WGM8VWW5AHI/7SKcTrfGdmAUHfvho898dRlsJwmiFpl+XdH675JUN1eZmyF
ZZ2GQRGPtgAkleZ4QM6vunxLMbLWa1PYLhKofHzyENf1XWoYylmWpgEe7Thor7JUO0N/qgt33qVk
zk5RKHCUXA7Jv2dW5HW7Nqk+ZI9Uq373kMUpTVeWWcbYEpotErSQgGYsa30PtezLUKXeVV0asqWh
MAGzIggLTb8YvCtk498jYLv+mksduo6VHvoFomBos/lgon45681jtsAUHG7t+6YkjCI7yLphEQNS
wMLeBjWFYj443jZ3zrY1ruxEjwBL5+ZFHgZvxIYND91tj6ESD/Q0CHcBOk9Liwl/cTQIqcl+shVw
4XOPK9teKmvlno0liu3eSWEtT0Nj35cNsry0KkH4Hcwn/HuBl1DuDfrT51moTGJdLnVKSKuZeH+2
fvYbC+uE2c03MQzVB8FZ0iF8/RfyrvpjRTZS1td40BM2a8q9OkbVh+AxKRtL+7Xv2PAgwckj91L/
OTzHpeauBpp93+oo1sz4OL3xIIEA+nJWL3XyTNbJVtlv6Gvxd6vrDb/HFnVQr7xB6DtlNiDJtQKR
JJT4jwBQNrLqs16eFXYbnjvXbHaelczPZhqcFUw6fiwnQCYHeYIp/K3GqXHyvVmRB3wTXdyJo1Jr
92nAM0Qkvzl52ngzZj3uNBAg4Tu1l4NsMGZdHL1/Rri808uNCuRg3ALGw5jXejG2u8GttGe+SmU3
pGG+lsW0AWlsEbbxZbEZEx7T2CmEdaR3K0PRt8MQx2CHGOqBcPQr/nl3Smtoz3LiOq4IrC5FYTOx
lxNrD4jwohM8ufcIjG1KoY8XbyEHJSMWoaoVrntYT6Syg9Y03lAMQ9IwycqV5qXmm2LnRGuVvILn
Vhlvddl8TJaR3ofEP5//Y5CiTeo6L3T7nGOrrShxwl5pHYagLvnHrCN5MsxrVix7bxu2tc0UPd9N
YLyJj7P4yqLRmDxZLYuvLLb4qa7mTFQP05SaRz31lBUyUNO7imjSqu+s7ETIpX8Dk5abeCbIXqI0
Fehm3vjuuYj2IviUnYxekb3k4P/qZShwQXLNFkRDkv7NVM5yhrLtfl9WFv+6LL2adCi2lTJoa/KH
2eXzEBvowZXq+bMm01jHfTBZq7q2ypNswF0kv0B+704qwr7vecZ/mXXmBZcwe59NlbVNyHy+93Wz
ThfMUuxgYhCWrXuKUYK9jj2W5zcwEyODOk5e0qr9PVILsttI2SH9d2SlZ8ZtpEQ7YTH5MBXtPsKr
4muT70YEq37VOFH6VdnbLxYqHZuiH6JzXSnJXa2M+taz7OKJSAu5Lac3v3dz58tRSTF9dGKO3lqC
8WtQZeIiTFKrmkX8DhJs8hg3gViFWVp9iwYXlQcyZ0nAiqqUzfsceRWaLY24IhfZH9y6+GDTn62r
0SQWhfESek+T+4UNJ5jaLvq1GJ0ksN4+8kxzVkFhRfdaG+h7103sfWFoJInA32PTO4wfpl1gY8Pa
qinBR8eC0GmWdwkqrXjuoRCsSjxC9ppXFM8qqSront68Kk1RPg/ToF5b3BL53xXPsoc1uvtwntJ7
WWXXXrOKXVccZP857K1dlWnpWrYSxG8vyKM9yEvJKleMa6x2ugdZaoXhwTfCx0TOHUW1srXxVEYa
lhdjh0YBCLb8IvuORVZfssiC8R0pBmY6UfZM6OrSp3nxxYjASJtI+hxr1wVbO0PqaLTiyxRMqHl2
Jj8KvDzeS/Wb7K5oYJNGl429LKLL4BTt8FEYXbXHWa/Zymp8TNetGWdwKTL9UOii2shJe8U6FvwZ
n+28hZJnmAcwZMljUpj49piAuxunx5+q6AOWwoq1mmjyY9mCMhJTD8krH5KVHdbdHhUvhQTpUv5/
HHybarnaf06ghbiAxm2B+sqi2NDC7EfP4iXWECPrtNLyZX2ujfO6DAfj1q3Oxz+6tW76ZzebzdJB
ZZ98niJpCU4S8UeUtJ7fOBp+Ce1svqk47+boQb+qqieutl0Jf15uouwP+p0HN2Mji3ZlkYcnUHCS
xcB46UO7fRVGbV7GLExIYzJZb1uQiTskDuPet8n5f4fNvlb1nOAEwKa7WPO8L6aBmxzWieojYi39
dkxa5S7wqu4Ocre7NaJSeYgnBN8EHO8vVt9ddDl+TpCBGqL6R5ljUTE67YBCK97DZeDlF6ecugMy
1tM+Dpr2mk0KqsJYkbySIPqZxb34Fap7Szd4HZWmv7ipO+JGw39PWUhmcVxpO5gB3bEVM26tfW5t
IrQ/n9XlRsHT+/hNsRu0rImJ4RfZ7xNDDfaTUofrttGNlzxq3X1ZEYSQxQlI2T5RkvhWxOTU2Ote
k9yKQ8i/NMP6bK0WsfmSqiPZciPPWV8ptlY8UrSLW2eHdPW+wkjx1mrXYbt3iAjdxorCYZ+XCqwG
l7GlTfakmTTsH5dXBb0nwzZO6W+tmQWRtHNVVCiXVs8ro32oKdOtNfUCZRf2mnprndM42JFih4yx
zFw7JEKwBDdurZaG07OlIzgupxKRauzUFh1VWWRt03Zz1yBbsIzNx2He6VaAacpyXa3Xxx32bVC1
pubQuGW7D6b8Be+hcfRhWTZneeDr/X0WG1enmcfT3z1kNwHl1SeRl+5ksSkxGc6FhWnSYh+Zmbp7
9uYWnFEZXFl8DQdxFDvaViHip7JS9pOHsIi/ORHIUlmSjbaC/mSXDdt4Gf/ZNU6JRaUxubDPOnnW
6uqznmNp+jl3gzPrnSusYxMFrHiyWxDDua3QylnLibWMm48fwR7PYFnffV4sKLAfqZTiPuGB/I/r
Q+FoEDnK443s+3kxR08OltuUp8/6LlSyI9rVr/LKn3NHue6uCIxptzmcp8DRoIoudivyoEQ4rQgP
l+xpYZX9U52mwmp9Wdaxyvj31CKVhn4LkgOGkq1VABan26ns2pap4osWPz7Z8r9M16bRTg9CUgvL
JadlHjvseCqSZXNSXCRGPH2jxS57M3RwvUHzDlXIr1wWbStxeG4SxVm1vPC1xsNN1mujaxyqWmUb
C/jqXWuggtkNcGdQzuZLRjRA1ieZNx5mMUIOlJNjy0OOBFwhMRA2tBqpAHko29g71ctBFtvWqrZq
AFFc1g1VRZKaHH/pq7pqEpmKnXPstM45SZt15xnzHYuwSWxsabADp98Q+GJdSXL22bKjbNEibBuX
3mIZ+1kvz7xA+z1MFm9j69A6mgWaq9+qtNlNk66cgDSkrpmd5WEyIwSrloM8k3URCaM1OOh69VcD
UuMQEJexsnOs9LtJLYvjX/WyhxxKmjzY1myXb1f8r4vJsVrtfSOAuETmCP2mQzBt1cUecVoO4Lp+
H0ppoJhCKznYobqpZfGzz2CE6kr1lGGnN07sW5oVYShdhwenzNLdIML0NQqSB0kpmZsg5mfR/tnD
A4z+v/cIlKpdT3OLPKyHgqjXtQSv2jA/6aqzMQ28dj+rnDRGHOGz/Dmi1pNubxTVGXpMdpL1t87O
pDrrPsPRzuq69h6teZgtJo4dI7ETj3Rf7eyxpSr8arLa+1tlmTc7AH2LkCt1xXJo6jTa8IytruU0
twbNwT8mQU17Vhcbp8XbaVQmdZWmQbf6rItd4Ti3ciG9mz6bNA05VV+OlJV/tMty06CF8dd0/9lx
XF6BbJEHOaOtub/rPov861jYZR83r3CE2SYQ0NYeGZfRL8OpPI+4MZLZKSr1roKbohqComzpgkbv
1mFbw63kW97KSru2F1OQyYjXSY32qTE0j1Wkci/RI+fgegnhkqFOHnT3XbbJGhCn8d4h8rj6rLMt
fDyiHDadllj1owAr8Fg8yu7ykBoe23bVdW7XkHWmUGNEQ0Sz1wt32GuZCgYmy9Izwbj03BD72AtU
IKqg0AZ+uy5H2SL7gOVswWP36DgvvWUD3EltW/QGkmFZqh8LK+mb5yDD8NeqsMLz3PAps6LxQ8vA
rNdW1pKHrjClS0MAEnkzHacKUj0bx/AeIU0MGhUYmAmPzv6QmdMPiPYrSChD6KfdANbI8MAsmQgK
pFH3rAQk8XqjRrrDQXpbTZP4oCz7LrhLxcYYp/G5bACTRzbK+pqbHG4zYXRKcCVA8LHj75dm+SWY
M0RU2/LOsHTyuM6UlmSH/inLM3looqbYm42B2FMYnu1/D4TW4L6P3NayyNV3qtt8yMbP+r/6zmMl
Fmzbf87xOVQkbn/Ek28j5/6sl2efdXPpRqcI2ezlFfx1pc86+WKSGellFxfCf7u6uRntKjtHaCu0
mjPCsBjVO6GxHd2s2dTxDH4/e/AciJxK0brPZa7fl9gvXVUSqc9Np83+7LTpXT9k3vMcdM2auIvD
Z0Cr2Qz21mD7v9GXord46c4KEBw5U9zXGr4x4qtstJAKegz4u7DnPtWJVWLDFvJXx3udY7DI2ZKB
Assgy/IUmfThCKJ14X2M3ksW4POdjsNFlqByPmW5OlxvJWES2HLH+1vJdvbZXKgPsuQlREhsdANy
w3kDfw5teGjnqzzoAGE3eWCoQBSoyyvzd0MNohLLFdfdtKrV2TD8lxZEVfyQO9T+c4YKnYBrHIpd
nkaY0f87M+R4b5MboC89TDihO2XmBu0x+74FdHNvFk68n0wHZllfAi1ZDgZRkXOG9bwe8DTCrpS6
zgh3Rj2PbE8pyb5xZOp+bUfQ1bH3ue8wTYqV8aRG07DOiGx9Q4Wn0uxvNUp7azXJ9JOhlM5l6kmr
yYYKtjm+nepHP1hwOOf2J4Qsdzc1bXHMMGtABPDzNAaefSSt28yrONSLY6vZeHeNSnDA0oGYM4RK
26rLZ9EDA2eFrw8E98rnjA3OrsYKey1bM8iF53rIXglGp+2qG2bf7aLmsVySqqjMzL7l4OLYhx6m
ADCksBXpcvXYaMF8OyT58GfxmzLbGUK/SnhHVAheynIWzIX4oygb/qpLl36lm2NBK4doc7vh3mLt
a+BAoxBkPKZMbByh1rBio/hBs2qYMFVTfWt6+9kbVeM56UZznzhmsE3LPnhToBGMQGm+VTOSo3k/
tZdYzYzzSLZzVdVjfh0joTa7MISJloPyQg9jCA5ak+AV2ejBvb4ceGqqLsNCZIsJ92/AwLJJbwZc
Y2iU3ViifxK+jo9yDnkQdgQIPNxCSwWXJswZb3OkDE1j+mKUJUqbJNJxheriXdSDCA96S1xidBwu
RSXQfG0Cm0gExc8GsRQzswX6ZGDC9Nmg2FZ1VgBuOlWOcm7eOO9GGKC1LGrnzoZY/DZ03+ylOsAD
6tAtwUGyBJUPgjnca3BdUcAaFNxRbeUEedjcDGFG4mdpkHWy1dJ4zEWsnT7AYasVGoS+ks3O1WtB
iLuOGX1Tp/SxqSrluQTatW9mU9+mVa6855aykh0mHLbXXZWYJzkyyIHqSOsVbEYeM00lv/vbCqK1
Ula7xLjGtqVfiUgO2zBTcBD5t06e1bGoVks4Yzt5Uw+HkCejfhpdfpiMlQerTvWLVzzLglFwg/Az
QH+HsXB+OPXUJRv23enGhMG3/hxVLeNDo+z9ZgqcnWyQLyUA+4CFT4jI/OKK7UDFV7pGvE54vl/7
Ugt9EvoEnOt52jlV42xkNzcgRWCbHuvu0vr/Pcrqo+qlw3xJMfT+HnGi/h42AlIfBj7JZJJOn/Vd
lJMonmeXx0G6yYYkVdUTIdaDHCTreb+IPrTDEuJyjCvZbiLsg2u/qZb6LkV1Ym+H7oDzUwkb5Ps1
t3x1GsVe9x74OiMU7aHBMWoPMsu4WmXzezSf6Dvo4V9G2P1kuvB80/mTCoDOIk0jLFycogBDz09p
QNnQ9uM1TxN1racaYODGPU8aqmpSkSru9V2oRu5ZlmT9UiV7ebMIdrfEr54XAP5MWzyVkx48KNkj
IGEoL8thxpJpHVdjtJVF4KKLjXI17ap4RtjS7U6N1k5Xa84QsiTrvoJSNR9kY+SM0xYX5nwjW/G7
He+yHB8e2VpnKHpN4Lhko6yCaQHU1pyusmQFxBiC5hTweJPr68VvOl3sNHoApesUQPpKFj/9qm9G
N7I8Ln2aSmlX0tNaddwRbrQ2Pbkusp26gpEpW975SYHVw8PE+DItJVml6vorMrHpWfZv+MnusIln
1Vl6uMCIHnphEsBnMg8yBSIbIMV0bHT06II9FlvAkbtPmT5Mqs3u0YzO5KXUNS9oeEDWTmdj63Pf
fBjrvgRcqSerKZvw21N6XAK697C1vPvkaHOzeXDgdqfTRLY1zZydSXR96zqevTWL9L2MSwWQvq2s
BOnJPenYA0LA0YMXcHPX4Ch+cQl0my0KzZpuGmhcmONFnikWcKOqRMBRt/laY2XIsG8vF9Fjb0X8
iVWaUCyRM5bkQQ1wO24Cc+0WOlHcZEGS753xYfKWHZGHtG/I9ZHAmIqjodfz6kWPYHkjn3Hk/z/6
wNi+F0jsPZaqER5CN/vw+vCriENvF0Sat08ChdgWj8OskhG/ovnFiqZ0Zy9oBrcZD3Fd8l7Rz3Ej
bIpNy5+Qk7ovYSJuBbIHSQD6vNKeO0P74mm666sgwtZmFxDtVBy/NkgQqRPAnyHsVv3Av4coQY7n
VIttF5oh6r3nqcifkyf09VlAACIRsQH07EA8LcdmTaZjMwwd67KaxncjsEVfFO25IxwfErH/kVg5
ErOV0W7CQqu2Zatk/mACMNXTfoWuJECn6EOzu/lrW3U7/AsPzWxdjbJW77wGbCuLU7/xojr3tWj6
FXRf6xz1ZZ59fyKFzWfRfKAyuIu9/K3PAJPoZQcVt3jUQav5Q425vK68hXmysuqKZaVqsR8T5tc0
f0f3a2vwyeQepnmj0/xU2SasLfMVNkB1BHLM0wlmL74Z94QMFGVY6XOeArCyvuiRPgP4Zk/pRYVY
0eEDMummzFlgpwyzqapMLpENsnoOydtZCR4FY9HtQIt+VYY8f+6CXxUSujtIaC8K0VH2CfOlHAkg
ZdEiODWmLB6zs1Y1/QIek3cyV6gyEV4AIjn8TOOwvmiTgRla+tz1vfZiOMceBOVKCcSzBi9kXaBs
sB65BxDxNA/Yi1/MeTwWQsWJK8kuQ4vnkwZFZjMnfBkkevtdBJ70GIUHr2o3jo55YlDUWOSYw0On
RTWbz7baRTaig33f3QP9WJv1NIBCNo9a4Sq+GkUZSLvuyZkLEpZTMa+7IK+PIh4OdQc2F6klUrPA
15VO3Q8DHLPCzAG+gutCtp5sf+RgoVKSJmo73OJ6XBmiwL64DjBnXHNEV9m7tovQzozUlQ0CUiC9
sJ9neAwmFkC+FuTakcdydzV0Clv3oD4Qw/bNqp1AcajH2BPww6sq0jfVVDXHLkE4/SpPK3hvqf9H
26yrVOSF3e8atTsUJYEu0JGMkrNosvk2QYhHUBzofjbOww6yRw7b2ax9rN5HdDTm5ii8SN9anXpV
9bI6AiSf+YdFLnYpPB+vmwmQSadPP1mrbGgys/fQiEVNnp2Bz+oXHm0dcYU8XAWlgwdV6v54xM/p
I3Z5gJucKvJz/ZtuO08i6HydnN4hhKu6ceL+e9nw9Qhvvi9NGwHfEu1mMvBFvohk9961TpMI/WCM
V23xnEdztUk7gMh19zNz0CwBqOsgm1qWm1mJ3GtfB4dsdpWnAIHfYIruNKN7ya222KJc8tHmqbJx
goYvD2FH1H/6s2qLnhQ+iWqtKZ6aqP8S1maLkmFk7xKbhEo5dNugr/MVrze5y7Jx50V8IFmJZoue
Wf25KviwtFQ8ZwN5fb3i0SUQuyTOtjMB5b0tmlOWFUj7JMXLUKorsXjD4FOJTRSeaWQ0k21bBKe6
RFUi4c+oav19GWjvke4QqmnqO5XnjVU39/0G5qJ1VHRFELNPzEMqELmo2+qX0IrCx5PaUOtfqPTE
/mjGWJM3KYap4UObG9oehd467Kw1CsiF0zypqXitTDXyPWPk0dfNLpFjh9vaGNAXDsGm1l520DU2
CYmbvLe1N/td4k4rpzmVbeq79mT7wssxfM9Kd1uQ7rl0QBbrsGkvudURzUWOBDE1eFitUNGkbLoX
YvqxL3rr3ShCGFmEnK5C9fZDiuaJ2xwLZfrpOehfWd6HNWTYfxrDISfz5EeCdDGL87iaLOB8he65
K8LQ454nr5TsGmo2aVbdxUPLPdgdzS3mGbrfLU6fRqq9Qugewa7WJ3NyvXVc9nhnJJBTxRDfyUMv
rPiO7OhdmtU21GE7A8bbP7kJBAsiS35mK37X1r9iw3q1hul7rbfkwCLzBBj7roSF6EzEEU3brdbo
ILw1mI1unDx9Rlbcuows935bp/W+DJvsPpvA4SlR9yC62Te7LN1kbOrWOsQsRLFiHL60ASxtZq86
DWflShcGgkBusq8zNzxhSxOg9mNEd7OXWYeAndpRRIl2jAcDhmaUz3dFnAz7HBHkE9BwY6cJMZ37
KAvZzEJrBR5TbfsBY0RyTdqmjBPnPmvDaBPW56qD1mMKm2QqBpBoZ7Alzit8DiPEf1cLCnLVJip5
cxNIvCWE9WwbHnaBs6hemmbfKzZ+A3nsvrQk7Ve1Y3Wo7UdoDHfAgIwJSyYk8tW3ueLJSav64l2p
yIl6STseSsu01lBeG7/ldvk+WjB9Ingt79CKW8DJYB/AqeL61wnjnQUMZ0WoWu+j3XV4+AoVb00L
/wziIu8hgig+t/XhnXg6D2xJ1b9rXtD7GSipd89CCsma3fo9LLhFoGNYvUMhGxHVRuItVIwjhoP6
Bf1Jj4CEE6xlMRazfskVWERj9D63SbmCl2SC6Q7bbWWOLLKmeYxsnomD0OwvLSKul4b3eje69RbA
Gc/KLEDr0sugWqaOdWavTUTJu1fmWnluEz6ywVz1Nq8SiaEEKe9xQCMZUZguNJYoKGo+QKOA/YY4
6Nmjqa1sIONbVVUajFOar26fkmJGGwSOf/FETmfa9uiJrEEK2SvcsAy/14z0WlmD408iMTYJIWDf
sPqdXiQenuTxsJ3LS59U075r4uAy816U2D6BWXxJo0DcE0jtfDSpWLJqRb0ihY6iXz7f2+bEgl3U
04pAAug6lLtJTPEkq/Zxt4LM0G6NxQS1y+MVjPjkag9dcfBmnFaRdsSDpZy/FF2Bz0gx7ypc+TZT
6b0CDl539RBDfOH/H8wgfqfKFbwVG2wIhsPtDFrbsTdBEoV+kBJobWp0cASn2ziGMiQCNL60Ib23
leSiL7fuMCVwZWddve7QDlXQYWPhFhAfCAigxRpYq87LHF/NChKRLA9tHNiPQ+kRVLeybdMZpT8U
BDUKL3TXCQZwfkNmedNEpb2e3Lo/ItRhn2OhxfzoZnALDeEyzeSGmrOFvjpFfMqNCpCucZqQptv0
1hTfwe2odmz8LV7ZFd20aq+hmCGUJrhr+asiDlV+N525w4hNWPseKZooiv+HrfNablzH1vATsYo5
3IrKkmXLst279w2r0waYc3z68xGeGU9NnRsUAVK0LInAwlp/IIU8e8au66LyUAqZhXby3rpG/SLm
ydyQUfub2ZsK8yjnc+FshnmoNnErtGe3avvb5E7apqBc/9TKUYZoNvOP68E5xnqjKEnzpF3zQrYb
cEMP8KdsUKAsHAy0PcNAmR7Nyw2itL5upDfojXt+EtOta6k2YqMYnEXk45ia+08IuR8GoWWbwdef
bRI6O8ud543RaecuKN+ldL1r0Wl/mokvanIM68mu6mLXzunv1gK/0yAqjnPOS9k3yTUbxmmjJbO3
mXAZ6Fj3UYVgWdHd/IyRd7SbI9yD5ABTuo8iTNeQ7pCe9see7PFiR8C3pioO435ywlbyO+krMz9r
coACapEYnafy5M8DziB+WV/RHLvpDVsqC6iIhSWiieUGYFkiMpm7l2YKcHSZCJ6MZmgPkGx38aRB
WavlcsydrAVaWb11bXnXdABvCGy3B69tvxsyM0OrMWyesIyHL7Cfl36CJbeIky9wLVpzov0Qpzvk
oInghTFvdXYfVRDLMxwlnerV8nfbWmDlCAu2PBRwKPBZD5dpwn2oD75nUWFvOm8g14FM05ShDd26
z5RKp9sEyBDNonaf+eLDQ6xmNwUmbqYy2y2TcNkMD3xAwyD3roj0nfSyDwyBpm1NymyH5Kq+y2LQ
hKUmEFoxq2sxoYfVRixRuWtbGw9JuL2WDF7Y5UkXyig+kIPLzinSu65uuhdi/Ctmlx0y5smLZRja
oeJB2kTzSwaAY8wTeW/ZzwqHQrPlUzeR8Eq6umXHqjcmkT47u8oS0yGvXGObALDZSB852eRZyMkh
vGmHMAchuXW89B4H8uI6frPrkMilbp3r+wE63nHx9ADGLyInzOFQaYY03/cIvy+9WyLnleDFgJ76
Ppr1Xev5zQa6craPAoeZJJJih8rTdwPdnV3dt+PDyEkL5bBvatPE6isI8Cy1EP6qo2TaYv744Kvy
ybH4P0h/Znup4XQxW1svAyMjSMqB1vcaHE0aBO3MKAfmM8mPmPwMPNdQAxsIqL1rwoGQYl87KJjX
KEGADi+71zqDwmVRCAyo+TcTCPpssueNTiRt91iDMf/8RGZhvMgku2tRvYSDbkRPsrW+uzZ1+GWo
zkmfylMxM13bGnCukmpG5V08dplQTy94724NXOjCujZQRCojqHMROKW0PXdmAchrytB0FPUmQmD1
oGvsWYbaaT4bZwEFYZc51kiuc4+CdNnD0cQMI4WQ2i8aO/UpTwACBPUJy8v+PI1yOKujr0a4dn/O
E6BTcGpYqT3S7eDbD3OR+Qe+3OpsZXp1dsl37bulvM2I/Z6RRFrOSc6mLYCXFKq7+R3FgD6bDjUF
RmRoLmQv/A2p/ps0guac1sVH4+ckUAp7bI5LnLNFDmA1+9mMLHE/n0erR8vca/HCdY083zgO6ixm
YZ8GbTXEqw7TvBRnVpGCTdAU7Zy+/HBjUAHdIEruT6qlxWc3t8tQi8uYvZQfnVVD+EocGqc3h7T7
PtL05rz0DXpZo3NomA7PjZ6CXYwJSzd1U74lafer7Yr+87NSR+pjihcH7fM5WnyUX3p5iFY3SrXP
UEf+2l2t+fi+t01VTLxpGneKxrMr3iE1VUx0OwOpf3YXVGUDL/mwClEYYavX6anrFgruy9YY07uh
BQlu9vxjFN8cZChRgiCCb9soCpmk1jdQPw9le0s1pgskdMM4naN8E+tRdFiy+ji2NcIKBa6ISXwa
O3iJGsEaMNjJOqt3gJgHdWFveadsV+FXYflLqA5bI67Y/kbWJu4AUSIVAv37rSwCtlajTb4GQ6oz
QAfzLOGYh5UHj63+6S/ZT/IuPp9shIbcYDo+u2P6eGBhgxrLk/quKnMqz83aqK5qbMQ8+JmvX+X/
dzrCiP6/rh69oN3PoyS5WByMagwxW/7O5qQPWxtVuJ2r2QiMFOlxqPOAog4XiAr/79JPEEufN03Q
gM+UXg3kjmYA8beff0s8JagATobWXaOsj0+ZliPn/txjE7jv4+FeRNU1ZR44o5KNQ1qV/0BOTpAo
b6Fp9XjMLuZzizY86XDN33lpo20ARlNOEMnyGtV5wdy95HtjFHePqliUP/Bdf2903zoMa5pAd5z8
PAlkIpvGvMwG1jYHiAjeo294hoPBBy+Zl2+BokFiP1AIiJTDeNJKN+XR8eebnBFkczytJWoizxgg
3lAP2TnSJbrcnUZYBRnrwkdzQgtGczYLVeeNNgHS8i1zkwbCfqB4VFRVeg7K5TdfNv40gFZP9ljg
rWkm3TamRGaOXXAb5WIdSCpXsMbChC3E1mna8lnPITUObKNCmVXJps9E+ewkVJwRskK0vzhAtF+2
VGECrkLw2ZpQtsXjxvSX9C9Q/80lKhI7xBK52LbaUl9ThDMso9Q+KqbZvTc1/inDl+iOdyY1aWfp
fk2pPHhLh/d8Zz88T5YHHoHiGJFH/yiLCMWERPvRR3YVIk87gBiV2U3T2fe0wbCrslj+EFX8TiYp
xIHb/j4IeUcQ1fuTS/JprAtmobnPWUT4Uoik3jQ6tm126/4kM++TC2CO8vSuP5IseaU0CMelryFa
kS3ZlqJNTyaK81svt5cjKqbLYaF0sAWlaW0XrWt3hI/bshqTg16v+Y6AjFRBprWTvXsD6I9doRxe
C/gkVlLG3yOtcmGCU0wwH2mllyt5Jd7plru8tqP+vWuNv4qxq1EnhzBJtZ86DF4tiZ8E6ACNxRbN
5fQukzSH3JrOTFK7bs6zS51X48VZs3czUN/RaupjMDTaO9bXOxlYpFRh7G2jPttNIhHvIAV/Soym
nuzG1N4s3dGwz9DHnd/nIBudMt5nzeR/b8hfN4EPtr6N5guJT7HNbOSUBirIRxT5tz5K7j/aYLRC
L/WMZ3YA1qmp4vbQwj17xHYH651K+J8G+WAnSH43GBITTxvWPSizavUesY+BNci7VUekNjRZ/Mqq
P8gKxNRI42qzNG7wAG0c7UXsQRiuFzy2lnR5JsXweza70zLL7jG2nX/vEbaIC/DMGE03B5TAmY5U
/TvjzZ5VzTullpZtvvqfp9WValD1VaMu/3r119j/ewt12l0iNc8jVqadBJlP2B+rqfHnYTlid6z6
6kitN0Osc5Hq/9fh1/mvy9WYav5nTN1Hjc1GV2wtvZo27O0ytN+KomJRXQ91jxCGdOq/R63BJiBY
z2cakN0dfmz/6n++9LOVM2VAzdH2IpX1WTXVusyOdon4mOrb7fzvPurVRJFDci1nU7w6hs7j4OdW
CIhIvKqxKneZ3RN7PKgx1ehw0/V4jK6fQ7mbvgimsa8XdTg3nmzU/D/H1ImiXRrqO6vW8Xrzz7FE
azeGMeinrzF2nCFi9tZzaWfGLvYrcXAqpMZLrXZuemXrtygPYpa+qfvR+MZHDhD5YeradF4ime9c
DIju5bywfRLzBom38nsM4uKQYAB5pDACaxl2IiZ7W8MMhu3QZORSouLJLYf2aifZwWeNveDkSYi0
pNkJ5tghZct/KZBsPSDu8l40mXeDfqjvNLZdTCvCfRq7KSHC15/SqTsjhpJfcO+VWOoA5AZFteys
wHAxPcnRjyuXH9JDdpIPOniQ0H8qukb/jt5asZWjW+z0xXih3NyzxeyRaSzTKWxRNzzYTUmlR0eQ
yTAhyhF6b9Nh0N9rbwQw2qUrm4JMUoY/FBZUwvorqX5bbd+yUwbQ2AvnYxntapvDnXvNYkQKqqn8
SS5/vqihRpj9Lcjyk+qpBqKw2LdQv7fqejXW9eZ74AzNVfWGuFyoME1PXTcH4NQ6uS3zdHwtZFRA
g43HnSbG8VWNxSXBLuCom+oFuHJe4jr/gwzNvy5YJqSqyUqCQVnvoZrc/CceHXlXtwmqJT7pWBdu
vi4YeuwebK3JTmqs5rm9dlp0C1pq+HO5RS9RvBhLrmPimc57zxdreoJpW40JJ77nBRVUNeSUA6jb
rPyl5nU1FI/LHOqVYR5UN5nb8nUmK/55hwILbBOgksK8KpArcNCXpEq8Y9IyvyLZ8m/Q7ecl7UJ8
bkTfvsb/9zpS/AVwSMvcq/t9XTgY8WOiGsfOJh9DFJzKJyQD7ZM1rfo5dTxt1JhqhlIvn7q1EYkG
nNOcl1XzCWrOf058XWyki3esTP3la0gdzVlUPn2N+Un+Rw8aop8mDjZ+0yZPpUnJWGLW+3n0NeZq
HSCCJjirKzQqTJ+XFaLOjpoJGKYzUR1PKhszFD3v3gWJoF1EzLBXXUOWOW4IPbxrz2nfZRStIJ81
V7heHI8yPyZSAqpeu6PsKxyDwZkg1cTeS7rvVpCBbyttMsxr16aofjRbkPvd2LvvU9GMR6kRsamz
2dSmx66p5q2w4coPneudo4agxE3JzumaIRFJy9w3byjYggXyQ/Wc3Egfa51A9WI/ct8s20Elqcvv
aqjsBdFEXi1X1QUxZYd4OH6v0XnYmlMdvDnxoCEJFms7Jwj8N4PQ6KgXBHWqWyL1gv4aQY662GK6
eIHBcFEnIxAdb99MftZDOM4Wz1VVvejrTdOOcLcLguKqLsSWmJhu7nFGwrhwo8ZGVp6dbFGhCtjf
B3E1QKJhyZvUwqbWJt/0ItKdaxmnG6CLhJZrLkcva/fSGzKwnyI+FKiFvInxXlVNvg80jKGzcdW9
HN0HSQKH4q/R70pQWe9aOpCdyvRvvUhZ3ecif3eMaSbOZ5bDNCYjFre8yxJDd0ZHNHsftIliSxB9
IAeNBceE+HPQ2wfVq6uxefOsE7NjvHPxsvRABZ090wygb6VIUReRfG8nMllZTUkKGo15NArhhZKa
wJrl88IBpMsuzux+TxprzY35hPP5Y+6tIrTNXBwDc4v4qP/irn4wqjGzo2Vrz1bRfOtNDSsev56f
edPIcJQT+eqMvYtmQYtMKB6Hwq2gGppoCKKaVf7oiuElimr9DSdDhbjZNHYQPXLyWmlNrK5rNZ/P
bIAuWht1JNcYwy3tJ1GI7HPImKL4rFnDa9JmvyrXt44tNhY36aAPNxPiXvI6/4vYu/3l2/I2TLnx
B5uNfRq0Dpul53ZeNgTkBTXsrgMu4aSbAHHlb2LFX8ui2Qi8Md7tpD3FAHl/GTnCcNpLho3Jq+mW
F5R5i31pkKcttKTY+WNSUfSOvxH01YfBh8ggu0CiT592L/ZQNiQC3PhXI3/oYnEPQWus6PzC3846
OcIikSXG2T5JWx1krLuY9yUZi7exT1Z2YSbPqpvV6I0CmrjCvHdfon6mDtWPNVwNa3qJG3vllyXt
HlRwcmxrNEIcrThi94SJQ+Y2R5J+zc5eaeXszK1XQn/+/EINkgLFFhDULtEo9FPUyjaJ2cUkb9yN
bd5xHXwVCzOQxVS7F5FZ4vZdgPrSjOrd9Do0a/Pi7rBbex8W37h3rblX55A+DS49Htqbyf3dMzm/
29ILHnmFPD8WGe+DY824aGPCvJ6bEIIj14yr6drT0Vt8rQcy92tvoFj8WuDEq3roAVevbZDuZVQ5
711ZY7Zb5Ad1rg8c/e5FzfGzV9n1vRuXk62nOrIW5jGts+WWr02nj5cl6UzSNfSqvh32g6+5aBmZ
7m0yDY8975xvyOigGaAGrfVM4rDGzHN+yc3Gvemjwdlo7padHccDgrVrX51SDQVMbJ6Gm+p83iqv
W4eiakkaNR/lcRxy0pKtxDDNdxoJYQjlMNUt1z9AEcDl1SvsmaoFcCK6U2dy9eLry6mX89tnV50x
mmo4x056y7PhL7tMylNOxus2DPW/GhQwvR2+cnX4PydGPZieTN7K17Wd5RnWpp2MegOAHGmR9S5x
RzJoMhMEA+xIPFupP+3lAJnSyHTxzJMEScAdlvm6ehipMXWdjzXQs+r6tf0C444sw/r6r/GlbpEv
alwNXUbREMpFxlbOkYRxSlMkXQHAGIrlmFUUkdex2Gb2RAhIAOdwu7fcKd6rqJY31QuCOVqhlTiS
ryfHLtEO2ugmbKSL/k13C/PJxfcDxEgH6IUramCpbI4fqiMbakzo1S9X1TU6oByQ8bKD6lZzkZyi
MQA5vL4SGc/8eRnjzz+shlxnDuMmE6+q5+QjKdYRTRTVjfF+37n2moheXy5dpzrDxXA3qpuZnvPS
QMFVPfX+OmEeMzdvXtR7z1ec1+QkGn6a6/tegUWzaVQ71a0wl+enWeB2o96bmyODlCAEtfbU3eJo
eMkqUrwUlimtOUahh1rdNmeXYgGJ5LlmrrbL9qi7VIYE5p/v3lTOm0QI7wcA4kvDEZ50PE+ts/xD
3uJjJhP6veqhi1CUlw98vlnqCQ03eHRWNxAc2bEq3ejcWYu8RJEWH6lDFscSEc9nM08+MuTZfnez
92rP+LV7fvW7yEsXy+V0OhsVpsZ+AvqG3E/8+0QhviWDz8bAEH5yy6YiAYkjxIUS6SGZljd3KawN
cpzAN6rMfeqWvlw2eW3w8+ZJHbL8WTWa62bPZEORyI5+eCg8hkMKA90fa+ppoh4AXAE9h0Ono7HZ
w2IJuukCWH45NW39E9tM7eQY+fzm9DU/u+nFwA/+A9+1X8XihxToUe6uor105Z+6z9PnOInRrc08
bQ9NX/+onMQgaO32hm+679I9UBLLvlnLMu4tLU52vpZdhBb8IlzXz3YT/7Hj8mc/SZvyTu0dDRCj
VNl8jLMQGpuaJEOBCfJDIK3075EiUTY7PlCkmmKlx4Od1lOwNSXlpRogwGtZHsjIJ5T8MD3vigTz
F9SJqRIY3+pFBEcnoPIJ8D3b1RJ5TNsDrDSChW/bIbo6f/uwvm9jYbxaenuGiF5vqEKJvV6SEXOQ
uyTxMpHv1YnNG896nqa/TRxPrHvZuf5xznvkDycAyk1InlE7Ghp1NThN9R7uvIk8SGSdfwH10G8Z
GbAt+krutnCL1Ud2ObE8IrHpiu917jePxWTRZsh89ijcA+72JBlTGs2e5HUKkl9zgeniNKKdi9Xi
Pws0mKozA9wARRs6g+zuFG+Ng1M78iycgqx8XPlbUejWB8jPn6OTVP/YqGBSC/oT930N+VuSrC8r
xCHGrt/oiNSdcO4bX/XSiF9qUCqqp5ra6Yw9xHmSY+sVqokqE6TLFFwiyCqvyKgYwP6SI9iIXYIX
w/Ng2PpjprS6C0xq3arrIKR4yxO04NeTA+jCx2hBxp7c4aqGLNgHBy92623rp8YjGKwOlCcAorWn
hgzLQfCty9KzesG6+pwsVmZil/hYGtGq9ln1jzkC0mrH1V318KQSu8yPsNBZT07sbKhXd2fVC0yj
f8RaBkLAQ5JejZl4hJyGoHBh0fAC1RCU7Hk0sBddXyB8bd6ldaqDRuAKourkpTepPqwntbWZRhJ/
GqSBk7qCVPd4jkpUoL5uKfzsjPhq+vme83gswziYH3NCumN2DPPRRlijFY08Z7lkpSu75B+3c9GV
JnZ69aT7mo2/Kzxx38hphrPlTFiTFNZbNVW/ZIrQhDpHilYPEacMjiBG7TfXwM9QG4Jxp64tLFOc
a2xqQnV21Kn0YL/uHCL7hfW+AgzTzPk5kEQQUNHiV9UgjlLu6jQqd+l/xsw5zjeiDhDvds34dRYT
KK8oQPvbPmQyth5+2VuPdNGY9MG0nFQ30YL+ZCzAQ9QlxuhaDxaw2cvjz+uLljLyhErr0V1fXotm
D9w9QhAdblut9d6ratKkZbZrx+nkicR77dBGv02JBs3cBIBW2gJ2NI40B3UxGUF5R0uOPU3UFSGo
33bHBzTtADb/635N/0+Za9EOZj/AKGxTXuHSmVjctf1nV411drNtDNYz1cPEtDwsNQC7z64Z8aol
P0QAN57V0GQtlPP6RMfWoxYPNTYv0dkoeDBUr+m04dg5TckV/FHVDO78XAEOefocggWJo9UYbCyv
iF88n8e8QzvLnU17Q22XSrE1ilfVBLo86KW13FRvivz2Fjf+oTSzOA2Xds0CN7W3UWfLmFU+c0xS
Z22a7L/GrCD9E+g6i95QtXcjhlX2x8NbdGr1V9XwO0LBY6Ba/TUW2eN7E+vTFUUf/XUQUXJtDPev
rwtS9ikob7Tt4WvMx66smz5v2g4jghXICIXO5M5XM05euinIb6yB+Y0S+nmABHFWPYwyXX2jDoNM
vhqd3Z3+a0y9zGnLn00Xia1R1Tkgn8K7q8ZvyBJ6EAJgqDNW6RogXWoxzbhN4ag+miSqHlFakV4L
kvigxvK4IFeZADGXRVmFcx3pG3770UldbFt4tJaoFFs28J9Kxw4rY5rdiT5uHs1SvXYkCp/Qe20e
ZYrIrS21KNShg+L1MF683h74ADgpgU9tKaSClDLc5qHPTfLcJv5JnVRD+IwZJO/b4GTMY3Wb7eni
NnLg+xyt99Yeq3MwNT2ooFnkT42odkW10/Sx2rat12wNRywAj6J2b2uW9zSkUDSSIUpX+7EdPm7f
Wisq4cMP16ganpxBoNguqUnBS/gZ9cnekQgepA47nZIIIKiM+jjF7u/FL0CwNSd9EDAnNAmmWx/M
bUcMErZEH0WAv5CZbxZQwuEUaxBJI1ZzVe0DHwO73gaDrmvjGcTEu9F48UGwIJDg1oGkA1IeBvOi
L2jNdYZmUVyAneRrh2wyP9h3MdmAXthWln7L++yEGbV2rfsKeuww+qd8gABnWe9JOyZs/3z2yaA9
80H6jyV3jPNMRZt8R0cy0So3eTF3cKY2+oSTLurElG9n3ACCakg33cIayWb4SR/uhmyDl1WEb4bE
4M61De9RWFe7TfS9hjHKpow/lmV5oyK0jTuj2pdu51+GHDcYEgEcfjXziAK8a9UXRMu+gbCYcKHr
hn3lSXxcTTO6DcVvbiPPyK1YG3Sfx9CzLSq3pWZcc2LV3Jn0u5Vx57HOl4uD4KyQgERyDcvF1IST
N6fH1hibc9NHzQ77yHHbep64Zn6zbPXO/CYm/ANATPU7sUDR0Jfq7gD/uNem/a4lcX3MUWu8IpMI
roQ1ZZe1XnetypIsiTnC31qiUNTzcAVIcOwbBBm7Jg2LpjoE+RScCmuutxlxA1srW24s3LTCZuiP
Tr0iAkVv7OzRTfcAhH8i1fRjNRM92lTJQz6tIQQO14eos5HB43fjthpwvbTrLgYtOgnAtdCSYMfe
W6z2lgvbRv9Zp+YMr85uLiNAg5O2Jjys9q4iamMNqwlR+Bn11EEyiTBLkSIZEY+d/m7mPwZXu2UZ
PF/EUcIsuYNe/mfxrfpM/U1nJUwbNNf081zWxqsNw8PmZ0+5123GFPyNV4dWIeNrX9TiLCYijNzg
+Z0lvjxZXyG3N66/3ionZeUNaFJ48TtGvQSYKTlUt26ag3Tnn76t+9fJT7uQVGAnSYV+gh3wVqO2
5HonMUgcIQRkGqPAtKxs1kzJN4gARTgm8e82r3DJju0ja/mQglhB3qrZ84H+02RYxEyk4ak+YMrR
1c4LiRFzk4Au20ZJ+wj8Fo6Z3+L+plvlSTbMg4lmh8s4tGHVkxNoihc0TfXrEMfGtVsbz8aw0oOE
mRUbaYpoZ/cg9aRhskPRvJ6512l3Ik39EFDWPi7Fb43KA0oMMYpCpDJ+Dc5YfXTImrNoH/sCGzvP
h9NkCmog+gQ9NSA8fhItQJ7lzo6kC6l71pV9w9Y83+AG8J4luuTPe84Kod7OkIufp4AEe2P2M1Vh
8YqwCstnV4NQivQeHL6dXCeQlxtss4gq2BT2qQ6Hx+5IXi+Z2LvBqj5bD7+FH+UIlFnAG30zA8Rg
FwAPo4NcsGo0IcxvegMqU/dnhDQYA/vdtQFwvsb1yDp7G7vo9BCh6XKnlz0I5V7DgMXQNeQj0YsR
IqKwUPmPuZ5fJ+m2V1KNebj0M6JoefcMe/mVTHO7cdCTPwWzCQrUjJyT5/pnLRqCs5ZG/tlZcTp1
0v9o/eBaxUyzdqsxjWV1fVxQWMJC9e8RIOqh7vu/8T6w4AS7YqdV6fw04lV09UgelyuBWGTmI/P8
C/iHmSh7ivgEx78ndu1kNwTwpSTZmVYfbdoSEkWe1CQqOmFTdaucY+3X5cZJ3e4AdL0EFBc4gG5Y
DPaQmc9eQVHKLNHcQjr2UTm9T5anNLZpkhyqubMPQ1MHf2XBG1ymXu+iX4vbbOG8s5YGK0RG+xVb
Q1g4uTibk8AfsdbbLTv14DgAPDs44EDBnVCS0iI2bz2Ee88pSXro9paY8SmYnPElG9Eo8ughJpPu
Olu8FbnmXr6aeiy9z65L5H9yGyhi2HzdnIjYMRgdcIx+DtCzDoJ9JKIglAHqawZTX8iWeWPqgkcx
sq3L0iSUTYk+fmeFuStEOp/1BfkmhKLuRiL+OKtDFFSdK7rF6sfI7oyFeG1W8Ry7mIyrbjfdfRy6
+dYl68xNL6hEd29iQt26yQ6V8HQZZh5fI5iwk9ax/+iHjMjDiT/SzETn0C5fHGty91MRs/9em8h/
WoIeHlpnJLu2v2dem54l24NzFnnx1iohAMDGji+Oa99NYcHeCCZ+Udg9jiCuyO8lu1Fr7gsGlST2
2Jz1q8CZkR8VBsxdK9JQhYEl2s7qdQUC8z+N1lMvGtA2LQPsMiyJpFZUgdSY8qAjzYJfg4fs+VoI
0BZzZ0bYumK4BUcCM9AAjrUYQGPNYpzZcUa8ltTIFUHpEz/U8tLa84sulwlqR+RuJ1RpwnntIlMw
h4PNl2VnPkAzT2bwSnqkJxcDdFFglxcQGcdxhpECXOnW2/1d6/B/Kuwk3ZqYaC6hwszJlcDvgD/b
eeNcwClY/NuUGQahYJ8/B5TmzklbfyzAjd7x2gBtWP6QY5y96wUuMUH32y8jftwqS+CtqYJmMdnp
ZPygvMA3nlQzs4QBsAq0baSuRgMce7VKtRpgzwikwNwU9lndBtfKt7gRxSlPKqbsqfe2GHYDD6Gk
AAiuXMISxbTYK12eCze0mfKeRgNKbwNQAP+1cZ+2/D0kR6KnhATrMV3kh0QKDvHR/Yy13NbzJgju
K94IgPY2Nfh20f/NtDAbmn/Y13SXbswPzdSwTIIKTD0srfUUklAHj7NpTp78XhaV9Q0JeRQ5p1cz
Fc4xG7XXhSTASm/VD7W9Gg8kf+u9dUyCSVKt3wbJEpxk7NwSSmlhZiKr1OkFwn8WiHH34tvmfDWy
5G3S2aXKWiCjKKEMryZNdYSuTdry94ACfXwqQIi86fcuBW+wXJX7KRyRzf/0o2c8gO36SGNrMxsB
m3naWHH1RTa02zJzgxdYAN6zPr8tIPheLMAIbiHafZ2k3yoCA+QrY6CVFcVU1V0yMyfmq3IAmpp2
SHtfEj9ZGfAXZ1uI3grrqhyOsCPKt95u2uMEWyRUXTP1WvDGjYNfqNY+ES7z/3S9uzUr8Xt2tflQ
JtlyQfjjZVgAe9u+mz4LpFyeRWs0VIaRwvQGL9s5jVsfKmjgloCdoaVIzOW8vZWp4Y9IBXuSImMp
Nt4y5Tt20c8WeQ5m8W2eP/cSsNiPwn3DtKw75StmplpxdRKExcn2nuMVN9pYs34CGCFXJKlqZjP+
0DQr2iX/GVLj6vJ8feyacyX4XIMOOt0mLzNaBfRsTZDTRlOLbbSfcYQ8OvItaUEKRI+pFdleQOd1
Owtu0Tg9ECpH3RDPu09dDYURUrih3GbD4CceSt6r4IY60UcZJMnp5+y34gwuy1l2BKu8E3Wonmin
hkt2VIfpQgYJFhb/3tiUoH39zkRBqNIO8wopJJbNz+UA3Fq0eD1Em1Qz1jwCowIs1o6qyndPK7ap
LnDI/W0PIyjm9YNr1zuqoy98omuk+rJTUEU1OC35nB/VlbHX8ckgiyj+9fpuvYm6ypD6vHG9PNuq
d5miNU0BFuGz1dXvIFr9oBRGvCCE5D6ewHD+6tfvb7Jj71igRq1qwKpJ1eevDhO2yJS0ML5T3Tyv
D7LSTPxn1vdUgPsUeGcc1Z9UbwPnZRnXI+IkQ70Lquq3el02CTjm69f4+Q2rQYWXKiKqLs5KGv0a
myqzPyC1gicToI9P7K/6NUC7pUI9zdm0083mh8IDq2YERt038OvIpyI5ktejixlR7WXM8X67U0Xv
T5yX1MXfA8zFXdBKvlEXCdF9l7YP9d27qf88kvfZL43FtO6MMXp7hO6Ut8pz5rH96ySabV9fGthh
Ewh1K7bq61Lfhjqq8PhMN+pQ/QocaUbUlftNUA7FGV/HAPSZOlwbiAj8NrRD/X+MndeS3EjSrJ8I
ZtDitnR1tWQLihsYySGhtcbT/x+iOIvePjPH9iYtFYAqIJHIjAh3R+uduWVIZgIRCHNGahgh0HdZ
OdpBkYJIZNfIb67ZOe2JhrKjk1xvbBps1M0ubpPP86jfyJ273iWgpZvCSqed3Gu5K0lbsP9vNchX
lhgAeSZyhOSk7jocpCyJkaIY0nQhIZqQPg7dJ3nw16Ept2YdDdJSY/ncVMSw7+RWyI/U+5r70waF
vsWCzirXqn60i2wIdJfX+2vmTj8TeGUcMlYDjLpnrcpbkLbhIZ8BOrf69Elfpg75bGex7RznYCYS
GDm+jQqcEybcBj4hK8mL/+fC736DZJG9Auyuh/q15/XpwSaDQmlv6DuZAuT73kE3frIJyBo/pWB5
rzf3Gk7x7q15F1Tx8Q4auPGKCNTk3ByMMNfmfeyG35QuU/frHWYSvNEdF0j3Ormo/WOGiOVBfkvv
Vw+pPasHOBr7edtk4W076AphHss8tLzWcqTk/rXO68oZ4oAw2clI6OP0wBKGrcsyEPQRaicTjPU6
fJYOdjXTwdS3AxRsJxnBY2cNpym32JZU+9wZED5yl+DKf72uXaRnPyRW2MsNwhWWgJR17M3xnasv
AYxGYdcLvQ3T2zIty0iS4lpXYP1ZZiRLn52971QDMSvpoxMozJHSX5L1bX03RK9ZaZ8rbzh5jbmV
kXA9BFmBo/LWNjgIZC5kw94cYeg+r2/4OpalTorBMgrVvj80BOkdQyc6SJspg116rMd/HIJSlqcm
uesxUr5mP7RL8UPdddiWlW3/mXqQlcPBn5rnAKzcJiU8pkgJcuttIpyXD4fuATQNdDaqk35AhwI/
PesCeeKDrSMM6jzkc/vksDZgf3irY7GY1QKN7eQpJyhlqLuLtcSqzmP5lA9udzDNmaVEo6s7NSiw
3fQQzGxw8B4EdzDli1ykOQ/1LojKBwfx4vXBy1WleH2d1rJUrsPkwyHFkLanHvlBGYyS1Mt0LTk9
Ab5kxmCe5O7LSQriGSdiVhh2vQ+sfitvCah2aiX7rnZwjS+5BYmS7FsmVIP3gOq+2oKlCLlhXayk
Z+zgQEPiJb5hTPTXqCfcHRqTvdxjSeSxx8vyBKJc9shT+iOf9BsvNrKDOo+XxCwhKPO6k0wyGrN2
C2a3hD13FxbB9QtgtH8Bys/OckJ58pJjpm8XNIwdDX/Ng/eIWJx7jVn2E/vZR/PskMuIWCcDVVOd
M8etv09vR23XTwDv17tYZg4zabJ8ZjI3s3a+BVxIQCXgAr4Ql2ywEvegH5Uu+NaAnBjwooyatb/y
mMlii3jd6ji5znkiMAd/7hF4JBzFkb3NUAy7rq6uu6hICwp8brp2nYTBUt/XRmIc5Pzyu3w7Gs+t
/jAbeXtQTeNJnur6aCWXd93P2JiizVgUMP0DIf+zQVsnDkW+/VK+LuzYnpYo0rB9IMZ/r2V2Djq/
zYc7CNnNE6Fp1Y2gdoaoq24YC7/LMMuuz1eexDrHrA+GD/SvFHimOXn1zgIgDS2GY6BwUvASuMzg
OxgC9yW3TJ6MDOtAxfZoER7sF+iG/Gcylw7rjL4+yeuAXub79SasrZKTLv//U7FWG0Ev3a1TvfwY
KV7X4mtZctfKOUL2gwUtxAyy0FU6+6SisShd5LLXJZdkUdjkVbtm8Wv/Cau/fijld75bZVyPLXN3
S1jALQ5B5DH40Mv6FecIpmt5TeYCOphtMJnf4FrBnhz2yalowlDdS/dr1l++oBHBIF2QXtdxMlJl
Rbcma900Z7gcNJgiNcLElkWY/J01uUZJSvndWvb668t5BIlzNxbwuvXkG8LTDzZeqnkLX2+BE+qH
Kz/ErG90V1fPsiyTRZ3kJLmeelkWShFHEJzXAQCQtbN0WYuSW5P1Ma516zU+HBvlrx1EHcxhzJky
cXYEAuQnKcubxx1P2MYv7dcfP5dasYmUQX23jJRHeB158/cAoP1ZhmsEky5B08szCLsOyg0ZKf+c
laOvUxVBOc3JLdPdRyhIAFJk3cJ9wIQIwENa14Z1DygNkqz9pDj4Pwetzs/XX7+M5CvYY31nruuZ
62CWWk/PO/wn/3nvJHftJdmPZTnoetZ3vT5e4ONRioZjo7VftBmqWZlX1tWDHPtPdWsXab2usyW7
JvI81qLk5Lh/Peu77Yz0lo4fLvVPdR/O+uFKwTLhIzRXdyGIvuUVR8MZX0U1X/eq8sJLgikFcCYw
Ijbvi5ltTda6OUMTFPgdfarWIHvtJNOtnHzt+q5Fsr4ZECGEC/46ouVlkfdkfVnWl+pf69bD5L2T
fv9U97+eyp/zBdxfxET7jTsXhTaWtctaWD5ca3Ldya7ld7aKf+r+oe66n1hOe72CnOdDn+sVhsS7
1ZTht9p54VamBtmDSm79RsscshYlty7I1s4f6j4UpZ/fQxjQ/9RqKBGSwgbIx8uJ753lrQzha1Zq
pTxjymZbnVXZQfeK53V6J5gK2PhaVuYFRi5lmflZCwVYlKzMcq+mIz+w2nkr0wPWfyhZG5iB/8DV
rpOGrWJDkNmlKGdAmJC/7f5pul2HgiOb/rXPOgzWug/DRYrSOgZNisnCBek1qLO56xw9nbey/00I
MMBclIwvQTtEh+sbLzdlTa7T6lqW2/WvRWlYX10pBhhS/kzfUv5wBqmbs4TYCS3hNVon++vC+tou
z2c9skGrhM1bdrYwjBiLheTdznHtJsdKIguDtSi5D/1kEl3r3v1xaflwyOBVyn427ogKfKyBUqAa
ID2wlBsakRzLh6tEEa99lqnLz5IsO8mdKZM+z06z6myazLFO8rKvT/T67r8zZr5bKqxdJSePNyp6
LHrXTlcjV+5AemLEETQpOlzZw+yVuGNgc9Gme3lFr3ZKGQHjrMfNF3mR/1i1ajXYI52N66TBOZjn
2TmBIhiUOKA1SeoGb+VmLftWoMB/FlqbcuEddmYLATIm5NXyYelacDR1/yKYbQsHQKTCXSN3VZ5L
nQFl0qvipYzBmQieXF8e8NxCutNe7Zkfbr/c1HeP6Lp1vd512bNI9vqaRzgnZ8+c9nKX5bJrIj9g
LcqN/VB33dVJy0cw59pTmte/pIehvrWR1tsgY4hUXJD7b10Rj0cDIsC9DmKWItAzCEiLMzqTtFo6
vjPDgaZnafU8wjz1JEG7qQ6eIy07ass51KTO7sqgbjfSa+6y8aTMpblT+4wgvWEoNk3Eqy6Jl7nm
1vYI8NSIKbpNE/egRqGV76EMQnCZnf0eqyRRw5NzbvSgeQCTha8Z0liA55mDelGs3qb++LJEtH8K
oIH9BP6m3sEaN8LKQVHqMgiPsgT3RD3CAhHbVfop9hyYBc3uborhQnAIWzjo+PaPnuXPj2nV/ATv
eOpNrXwbcxNVrdT/lpcsyWt04G/8QCVSPGteem+2vntY6/Hs+gEOB62FHWcYNkFT15/rmZhetuTl
q66m9hZGHcKrImi71GKRBTAxJc+5VcHfpKq7CopgmKFK4rgRYqzux6UFUxJiAgOKAmGiHZvCLu/n
KanuJSdJVhQOvGd5DrEwRniriINdWUE/5E/DVxPn2bFVFyq/TK0M5Ehg4tgtBuCN67Nzi4sY1msV
wKfhIySqwmC4a7OCmCCvHdgPN4V7Q6QG7jUPY3sL69fUT9HjsCQAXaJHX02+QaupnKWqzBDphncR
Vq4C4jPDwlvjBI8NbNiPKp7Qx1TRtO00jgE7CBpi2yO0KrW5lzmSomjIbqZh6O61pPMe5iWpM8L2
bMYW6Gp6rA2hnqVbrXRQRRvwzpgTYnPjqMML4/+akmi+v5aI5oD512HMrcdXkeU9wDITbauw3cB7
auwdzTJ309TkcLwRTF8YmnljO4Q6E9aq7XRbT9oNUvDQYKAAXnpheVsBtbttlmQtMj6PSYENdYDa
yAabVuo3+WymxlYzDe1GkmIK/q4s+krZTh4ody9MMTZDavDS+wSMuvbYf02G/IuBK524cOD+vFsm
eGYiE4lWKCpYYvr5F+7Oz2Ge6F+nJiFaAUKcl2DMCLuGB+th1vAlW1NiXSo372/0Pm5PaRoX9zwC
Dch/q35qRoXBlaXmnWr0LzWsQXdulDwMdtUAfVXqT3GP48iB7HEvRWnAFfoK/Xq+r8dNj3DHZlq6
x1qKKF9MLNdyHB5sqhwF2C1zxu7dwVb+zUln8yKnqhtTu3e88AQ4DKXODFq0Ax+carf+gjZIfofh
nFzPWxtz+9B07T5XobXZ+kgs90H2jFDhjNG+aNgr2+YFoEXzCex5f4/p+CwlhHbbT4jWAYbKRsia
lh5S5xjlx4MS90V14eNCNZBAbWA/WCyWrAKC7hb+tP62HjArlylsJ9LgwGRxhgYzIZqNW6GbSnuE
bFPbSlFuT5aqy6fKISZsuT/2OBLoUi0Lvfhoj7+vfydNcv9oFzWYs+X+wTpNRF42eejTM2bGwYQ5
RbKSVMEMwn0ty2gbWygk31VKs7R0gDt2wwOBM0TgBcOGuC4kFcqKSUmvv9R1EJ56ewjgeA+rb2V5
kPZ4COtDqsPaVM2Kg8FacVELxx54boIouO2WZEjgPXEN//iuoe9T5GTeAt+O90AY4ks5ZmgYLonk
pM5kl41kgw2jWqxFDXqD/9JRDrn2Xo/uRsQB/5dDUncgvkLVjh9P03YFJLdP432pYg3cfvh10lsu
MhWl3tym7YKjwO1oWi0IWBgp76IlySGYuJPi5PswFkb+AHhdjTGuL82lCnP5Zu0kORT0Lnz4OvzI
HBy7WFXCsvLQxJgU5cZ5swjFh1lKWj8cKkW5cAvr6MmBCPx6qFzt3RGZbu67kgCNjw3Lr5rKGLDj
01zYX1LkSYlcmt300k5VenHHiIATDebNLsPPqOKt2CdFqD2rZTjcunr9Iw819XmwC/VZD+v7jgn2
Ht80SBdIB/n69Qb8X07d6heb0JI3N+NUOHPKuxQ2g7eoUj6DRw4epNEsgzu/iO1HaSNSeJ8CqPuU
Lz3H+i0ZNPNF86PiVUvO0oVvTvasNg3wy/uwTqfbPtDSu3FJIPfTh42Z1GTtZt4wZxONtxSlD0BT
HDm++0tNBtRLXWyXIJfSt8yr4dHWjHYrRaNvhpOBauquNC0Y8Te21fWfkLGCusga9X0EoPKt6ZFF
UMHrHRd85RuhYOXOznzzNCKZ+Vja4wshNN1Xq/w+u4372VLc9iYrI6iTbL372swEUqiOlT9CogOX
btj/Dhy7/UrIlr6bY1TE7cZ/0Qg+g8O2HYj3JBeH7X5GGha88N9VwCL/NH6o0y2HqNhsvi0Hr96j
11bCMOcUL5li2TdN2k1wbvfFiw5i+hPS7xtpVAhjeyEC4zNIXvVOqmy/wb/gDuVRiiNsEmfNm5Kt
FOvYNR9nvHRSkjN2g3qnwvWmg4i+BNNMXEJhhcalhisGWHTtw8Jm53cY3eNuRywetJ5Qy+4rf3Bu
pKVvfW9vaoPFuEPtZPaZeSCMid56teq3YHyiGyk6kWoTphD1FynaCBGhA6n7t1Kclem7yzf/XkpT
nz0yX+ePRkx8jz8GpzAalKc0a9W7yAdGHPrIVQ159Uigzx7aif6p9NrXJG7VC8EKw5Out7wqMazy
VeLeSgephxfxUCp1di9VkpiwHEU2AIa60xFcLVCPzezgSbrHwNEec/OpaYqD27kVgoX1Hhrz8mJP
TnGJOsByC1lweVFUkqarXGhm1WkXez2k43bUPISagxT4ZL3AEJZ+Va3K28ObWZ6kCEaHkHq9eCvN
EUpKoyeWYOmm9ZO/gdOPqJp8RF1ZbQkUr9KvRFFnR+D4zkHH9/HVtoxL7irWsxlmzl2ZWARYLN3a
Sf01ES155tOm3bGs01AjIucuyayl/hYLXkP87t91axfJWUr7q+p17fhPx+stATCdHT/U49zcj0pF
uHThQn1HVJfJl+hXrvqv5jjYb40zwg+U68VtFho2zMZVSkTcMH/uK/dJuo5GeltHhvelbnJ159ax
dZeWHgIsdQ1bCrywr8CRfiqQX+3jYusSNnSrlrxU7hh/7zQCxCzDbR48swtuFNtJjlEaqs+wqtQb
Ob0zf1FLr/nZ4TcijMiM4WGcjBM22xLW3dJ68mw4x3ndHYgttXyTZHUBMy4cVbclc+qtXYa73tfj
mxpy8j8N1z7SXK614EgIfobGf6fOgRrvpD0k7vFWzhY7LpV2BZywcszztSjNuqcl44FXO7r2DDT9
yTIT66jaA9jt9RSWY15swstvnNBS9qlW6MhSDc7JIt73jNZNc6sZpnOwk2x6nNBx2fWt2rzyNqqE
/rjON9bOT3DzKL8b78UdEpakY2Ednp7ttjB/gkmELNJknmf08dJmiQNIJZj3dVXV97He1ifTqIab
yG0t1H39ElmCzoEfi2BVJj6QmXoJLZbf+1/jYHxNIlP5pRBpeb1QlmtQxRXWX1M6fA8Vxfmi2U0G
27E2P4c23OAsUYIHINTuMVtIxVXFTy99GltHzAHpgwsUiBjnxsJ+xkRm+3P4lQn4G+BD5S89QAeZ
6CRW2CzCk8A1f2UwI+td/xIgzdG0n/qOmGV4ipsXr2VP2PWV9kDcRkd4DgpL4K6cHcY13z/puoEG
1egslAZqilqc1mUXyTlOjQsQCoS7LoHWBf2aT5ozeC956n3Rpli5M3vP4x5A31uHaX0jxc6AeS53
4u6sxz3EVBrrsnNXEupWNK73GgBI31RDqN71Vem/RvX8VbcC/V5K8xIB7ujWg3T1NOcSaZb/KKWw
D45tWqafzEL3X/0ZX2JhNc+l4Tiv/nH0M+drzKfy2I5qe3TaIfhW6Md6qO1vJRFZSOZU9WkIhuIL
Mnfb3orcT+wjbxF5KO5rX4E8PwC80fWhtrnWLQ1RgccZZd0FyTIeITuaeIkgXjMi45fIHVqQqYVO
0L2uHRqjNnaV3VmHAUnB+25JGBjTrkEbeSdFacBhW9w3M2pbSFZfCHbiykFXEd2A4OgG211xbyyJ
DRXvxVWMu9yp5k9YAb50ZTR9m6Il0KMFzwEPFJR7qf4lnofp21hH1nZc6qOl/r/7u1Aurf191+c8
hKdtm8CF8O3v86/1/3b+/+4v19WrAeS2Z+7N3Iq3Axv2p3KY6ifdMfWjvdRBl1E/SUPO5vdaJ10g
imyeyqXuw7F8OaGzUrxjrPNNlMRa0JZe1agHRkb2p05FPtrLzcPaTRrH2PM2dQ3eICgflKy1AEyC
+Rq1egj2Du/6rofHZpeNWvEgyWjyvIr+Td9oTbXXw0S9DSqAeExSUoChXb1tl0SKtqEAur+Ws2rX
s12D6/HvVqlfi3KE1MFtd8kjAtrWquuZ1nLKpDeP7kPJ7freI/8BI5n3NQHPxKAq87PngyXVR+fT
ZPfedwMCOqyF3vBguS6Cowl8K0WqRnhfQRMDPD43pXIwdG/+DCPDcOw4qxCevgHLOss1woxwvr5q
rTuUsL17v9NwdC3nRrziQeeuvRI3YqE6YBgHvWnHG70O4exeBHdEUecqrmOFBeBcNl/SIEkPV/fe
JcgKJHrvnM3ULCHXaf2nzEmUJwiiu51+8pARS+YZThcD7hhIyB1zwxIEXEw81kelyvojmz9o8Y3f
ldl+g2Jk+BzFKMEnXds/RE2vndS4zc7+mJr3YaCjiaGU81sapr8JOsx+c3CIHPyNYpqwYyH9+4Se
zNEYu+C+KprmqVgSQ2V5GBbQJS4dDH2BIjWEbFhtea+l4OKhTFb3g1d099JfuiHwtEc0ckIADXKa
ZNFkJ2QeLdk+eQog60BXrUkfIR1CIMJCGM3o1PGADlp9bwVdcqyA1twlGaAKYzTnW8clshh0vH1x
siE6F1AZXzwzss6YPYobb5qHm6wax7OiRuUlMwqEffw+uk0aH4qnwXFvk3JC67XGSBJ1iX+I21ZF
gUGtD65XjABdIV2GAKp/xD9R7tPY6Z582J7gDSZ2kBmHaKCq75/nDqkfxJ3Hl8iCHrkzN30XYpQK
CvW1wQe9DUfVeBtdFy5veE8/oz3Tb6poGu98dKigoM7TXTWFEUxY8MfxbQLw4afzj6Rx9z56ZF/w
Xjfw2kQL1n6Onokl/R3Z6vxDSYwfGH6Bl1sBhvLA1Q9Zy8fZH8xjv5zBjdHvIA6sROJhZENlT5B0
EmLyoyAuUe/M7x6xBmwBs+ECN+r4WCOkvrDxz5Cu1XeeNXVQIfMGsDMqT1mjQSQDed94H8PWwqJ8
POWmEr34iufcOxpoWhGCD80eyJ3lD6c+HaYvps3eSdOCF7fgTdGmvIA2QB2/RAQA7oNy6E9ylB4n
59oYtJvc0YYdtsTiBkRQzFZ1iQy2PAQ5/HZzrTInCBGli+TeVdpLi1R+bFm7j5nwE3KB9TxSV1Uu
ODQceNsMxcB7q2yRcmyV7q1DwPJm9NUM+gpuSQbfNnbLAaTHUoTRzttPbYHO5VLUzQnQkmkVZyn6
aa1tQCfGG0QeAMnZDpuCJdHzEL2n0pzKy+glFQoW5CRZ+0hO6lAap3ejE6I05ERj/Q/HzRBGlQDU
/+vcUnx3aQcdgTMroc27uvUQuf4YlfNNln5ppjB8Yc71N0XsWGfdB1vR58az6jn+0RhCZTvnPGbH
K+JHuypOUpKDTMN7brvMu7Ms5QR10XzvdQ2QwjZvP/ejU22MwQm+t4HyAqDI+8vUtEPuMh3AA74N
tFyP6AApb5fFvzFmPMAOEv+oojrms9O0Xxa5+21ideUddu6LCon7HUCB6i7XqvAAnem8SUy1ulsb
pJUF1p9+JpI8Rets1e6NEBmUm5czyCHScS329uhsnKHGZ/mfi3w4tTIm4IV0/y0lRhXCzOUi6wmk
mA7qCedXfLNzB8W57cYAASKkQ1F8UfoQCInuPJowOT6m9jL7agURBmboXutA+iKplLonB1PBnaMi
XBKrUP1fi0sdSt3DXbQkUkcIprZHFw0vyNK6Nkg/qatqNTuYA6oAUmxtI99H0MLsunjCvF/VPyKA
C16h1l+1YAL+1pfTm1Oyaa+nxn/O57zfESrWP+ldDBumM2YPrgGpSgyJ291k9cOpIKoWBseImH1k
q85W6sEJsszig6NG93mqVoeMve6jCtcuFgOs16lVKxjWi+yVXxdusXm7nxMbBhRrNs1vaIp+8ZvU
/lla/o2KITOACQdcU1InLKVfi7K1oe/DyIBDo/s9Tt6tn+fFT6OJvysmVmpmSwLoiRqyrB41LBOq
BQtKz2zOhle/Hho4zdlASOvohOUlzIACSmuOhOet38/NRlrjNMzQvIRTTlqn1k7va8X8lixnwuOR
P6R19Sxtselic4JoiTV59FC2qnIfoyREPrDm6EFykqhZ8HXW1eq8VkkONdRwF6Pjcz1qbVWdzDnG
OKI2Uuc0IXSTbgPuFHLQ7dpvvY46ZHeNWdg3/qzTd45RpQKJ9DwmXomLyMd5oqXaxXM77aKCowKz
HmnHdIYqRhokGV1Yg7bK0qdWlKk6rMdovvKznEuY7f5zmnddLCcGQyYnX8/WI9Ox7Z2p3F3PK81+
GnOJdz1nW1G2yGGZO8P2AIItp1eGGoggCNZ3B0rD9ZLyA8NM9Q+eab5d6wz5BevFJy9hCPpOp56b
sN39439ae/85r/ZXFsDbcP0Ny12Q3Lsfu/y462+SlutFuzJ7iCF2BSp+tFpXvRRLN+ngmzVmHslK
iyST3H7Jmm4HdcPww8MjdKd0w4HVBnJqY3PXJFG1rRGwCCKgZkGTf7eKZoJDj5jGXj3boT8fHa/7
RVjutEshVlSjn72eIB1p2uhRePCDeUN3DtP2rzrzvQNrposLhWlU6dFOs6eFytb7aStIZMfdRqmZ
yCGaNaHDdz1sjA3qVm6dvLHPPAHCezWb3tv0vHbwekwvtV8RXNy9asHIyYD5wYid3Pdqc+vE4C8r
op4w6OxTrFuFqX8Pi+FWwes5FUgiTlAwlIvDr1BwOiTgfU/giNmmesklUrSnuk2URzVmy1uiZ/RY
+ReTtQjyckvVMPbApNLk7lqnIeKymYshO69HBVjydlkN5RK6qcqjNIBB+97OIK6qtgfKOT831XOT
msPjwEKodWq40HO25MNMyAjkZTE/JHhVSkRWUMhB9qDqHJgd2nEzAjU1PeINrfS+10YUwJZkSv2n
egDHnxUXJxgsov5JCqzFWzBm40Ev4BqTuhwGhuOMyhoG07/rupmFBJSm+rFCRa9wLf8hWxLoKLzS
qR5bG7qmtIUXZ2QN8zgvSZQa5cmdnGkjRWYQ4zGGjQLAUHOtWusb2/wcWa1xI1WuUunwko0zcqFN
sZc6SQzd13ETwdkoXd41wJhnTM31wlJt6QX+3anIz3JhqfPDYWN7rbFrpxqP9fIjpTFK1Pxi2RAQ
LlUWZvV7x1F2QxDGT0W5LwAEP7aaFj3hM/89RpV/HjTjDiLy9HZErOpREneG6x9aK+uw1qVTnyPi
BjN/oiqxAqTRN9C87m4SK7EeMfZb12O7yN7PhY/6Udg2qGi5bNr8FI2h2Srd47WMQlJ1qIvU3BLn
S3tYWvplWTzHjfswe6wO+rnCV1R15qPnJcqDFV2CpWBE8Z9ktOqvHVbLm8lMl20heB/U/wjMWPuN
CSxH6czUKydy1MJGuyJ6RPCuuy+LaXcdUXMZBcQatxtYkZuHos6CJxMj2ZMeF8+lH4wX6SYJSzJ9
gyxQeZKi9NVgWd9ZFZHjcpTUgahIgSQkd+zhxq2nBt5jmhveI7zc841hdN8Cv4YlZKnXnaxHSSre
+LEL8l+6wYB5xnMf3kkPVn6PaqQZl2hm/BVT1J6UwLMfAYs6jyiIVXstdNEyGGfnURq0FnJPtcQ5
I0VpgDDFvK9SFowobygwx4YtrmTD2PYR82/SW7dr3xDbKWJmjXNM9So+uBMRE9BZhk8laIgd8izJ
3nBgRts6beUfDM+AORz+lieonqMns23AhhoJ9oMRe6hrpIgKLVomkrB2mVHLQs1Tn0dWG2WAHJ6C
WIi/MPX5EA//yS1F+PU+5y1afmhreMTfLdIqPuLQN5JDrjnDf33TLiihbglhlJwkgwRKLgmbWgIn
pRLq2u7o6Xi8xxjCl2J6Ca+BV0uct8qyu/6i6jNmlpZd7AJ8WBPWyEAdpJwJ6qE3s8/mAjzqFiRN
vfwEtIlAHtmCP7IqiN1gg8QoAO/ujSR61Y4zAkf1wr/xn6yeej+jRIcDo8mhfZTmvp9BiEo2hnYG
yv8kxs0BcT5OO1j2rnfMnZAgSeAZiV0bF6LcxWszZC+XxSpzhPsEuQMQZsAXzL0yGQoQu+7X1Jl/
+bBFpEV1HJH/2lnac4Cu403R9V8cbuslQg7s0Grmt3Ayvf24RNUmnKbwLsw42V7+73q3JSdPAB9W
uDcD7pWCStpF7fRdnQTmqUWo7cY2ivJss0lIqrjeKGp3HEz7NeVfW9YIQh9Qh8oTZghoNWtyF0L6
WbF2cQ2IeQGl5UvEtbM8LMllkDbsK2hB+O722k0Ds0VQ2Ti6jBImviQdb9/dGCDK3Dfba6BQdLSt
omQ+9n4MblVo/TSzUNkb1m0x1ONNE9rDNTHMaLzx9eXOZdO3TNOrGyC/1Y2XV5COSzZ3vV7bS1ak
VyUnSeL4FdFOHmwYS+x8scixlEYFQIdFxz8OrNJz8nOUQQSwYESXvymJ/OG12GUGzDIaupn+gmGa
lxhFuR2FYE4l284YvPLMmXbrk5FxuhYl52kD8lYAeJm8C3gCSYwl7G9NrM4Mj51pXZIl9l7GgSTR
UhxwcRzmqLmVqtK3EHcIXFYjImvQi6KBrfQ8374oPqVaU6M+auRgwBbU2DXrdPpwTiD5AiTPPV34
ISoTGQNJpBhHsBBrkfK7Zkk5XBCGbDdz4/SooijxeHHcYmcg09UW47QJMqR1Q/Spd6pbsYvRVf+I
7ecvLx1ftHIh1mU9gm5sgeAcUPoJ1/lez3pwo8ldVlThBo4yHKVzGd7axMLcBX63xd/ebIYpu880
PhG5V1k7D5bVi1q1W6aMEhc6lsWy6s7QDSxb21l9An2vn+YBBSHbRZPW+dzWbX4wccIQxd71aLE0
wSFqEaI0843SZ/hHCBPc8cFl0ogfTF2zt5M2KXtfaZGF6fUD3P/Q082vhpme87LEfockUdSYX6uh
QrNwSg/QL0V7C6Bf0Xa3YVCrGz6OIJPDotg1ADLC7hbiV+JJYly6iorrNYgxqoCl2kLKFh2GatGI
bg2icDFR4JzezqU+oG/sNrsSiorGxdbYj78bhxvj9h5SKRw/995tMCXxNkJgy89jFV5TJEojDXN1
r0J8a8Sw4yOaWfW/Yx9Etkok1XacLffow3WjlO2p1UNuAjx0kWlzp80QrHgzmMTFDG+eu5guEYJk
Pdb85fDpXuYWTYM7xrHPeXI0lAkgsEK8fzcoR1YU8xb/4zcWz+HencDvl4qdwE1EmI47s/Y0wea4
0KMRvskfD3JvOiXu0wgF0gmPp3pLMC3qGS4KDGrOgy5B6YKZ7wIIg93AVdHa6kw4p0A9hcrv1kdb
ph7vlhGkx3Z7l4bzL4vGbd7woazYZCuOf1/o3c8qgx1J5xXdakOPWNM04G8MHRRz1NjcYRC9LZIG
BVwbnBgI7l2KOcEwAYXPiZpu7XahFIFreTPq7Wef78UOltcNuszog2a4cFyuZVdeBCfE3G+Jyplg
9LLuuko5ZEHjP00wrs+V+6NMUdUL1OD71CuH1mUjOGj9blkA9rYRXoiVO1he+JcCD+umGNEm1sb5
i1dhsMAAqSm/HCQS4TUyorOhYcnzYvUJxgV3a0zpzg/7l0lzDwjhEj4SEoqlmCreVnZISvIzqbTu
MFdjt5vCtDwo7luo5PnGijN/X6c59pk+P1i2UtzOISccWiyDkaY9BGPcQk05nTv1Ozv/cOtNTr/v
6ucmQaq1Rq8Le/7e9sqvWttDzwJBkmsgetz2b0TkGpAdxeEWFc9sw2pQ287wr248BFM37TRmm9gJ
T5apqJseyi47Nt8gEqtMgiSh+UpZH1XqLo9RX3FhDFW17qQZgUXb9Dnw+u9+UNWQOhV/xfOXWU8g
X0vDnwTnZrtGf0VC8bUnXhKvC2ypw8WDMnXxbbRj5+6wtY1T52AyIwjY9vXfmG+gMLG/xoN1X4w4
7VPv1tTplmnDnaGy+mdOj/c9qsNt2dz68/9xdV7LqTPbFn4iVSm00i0CBDbBOd2oHJVz6Jae/nzw
773/qnOzahnLYIPUmj3nGN8YCZCt5pB4Xod02SrZzV8kZ9Ovfsqr8cMYCZTXh/lOZFT+43LB9dY0
AolGZ9AnWKErIJMjmmHAhjHnRNDVI0Cw7HPiTVp1DaHAmqXtG0WRlQijDYaQ915fFy4NfyIFbq1m
25V2dE+24bBhtJMFqnWfHVWurWpkIdDA0BbFGxn3xdrwGXj33ZCu+r58RS+KyXFgD63ylLwk1JtO
R5DwJScWZbTa9FrxAsz/HnSat+pfJwcCXZvm+O7l3kvNn1rLf8rU/O5bi7DADjK/zh6KDndYyXHe
eiXDgtRAy+4V6IiSOX4z6IKqEtifnOtHPWtP7aVRVc2XQeyv1btEL0h+4QSpbD+JFdy7bqM052J3
bs5Tkq3S2qFbchHqtrHa1wY3hRKNkAO8D9YLq6YTB5mx78r07CLEWDVFfSrz+q+03H3bOp99ysZL
ibvEK8q10IsdQhX6QdFAXouM8NV78mYgzSwGVb1uUaBvRiuDyCOnfO1opNGb2jCvNLtS68jSvj3I
Rkk0IURPrY0gVMocXCecVfdEzBtj6FKEdAFCe6GTmVTPldK3glTvrZc46IfRrKQ2p5lWv/l6nd1M
QZx4F4bYw2Ql0MaLl3kZijX8maekW75r5bya9Xw/OYFZOu3WidVxAc2ZO5DnevInDcc51mCsvbqH
M1ibTNREv8+jCJm2E8pUW3spWffvc9p8+HHx5DTjQTloGnX5kgzFrkeDkyvOiWzotyDZQNNMhwRw
III2wGhdYa/zhh241q2tjusTqrxd7Nq+ljRxZ5hx8KGBBpBdEdsf86A+yKYuV26hPfceIJshNd/7
Mv+W4PSsVr3jL/tFtosu1gqXKd2PonyasZEHhV4/NCPw8hQO05SjqOb9eBSEiIU1YwA0fxa9o34J
GUACU+v38Tjek2lEhqBHf1wO7m8vetAU3GHJ2CbqvRIgfwEorzQhibzUK7BNxcEcqvscNM/KWKS9
Eb4fKsffv5c9gD5oQ/ta2QO8/Ryx/Iw8IiFHkzT2W0Ix6hO+YSR8Lth0kyuyiejs0BUe7G+9HA65
Lt9Gfim2fq8pIgxIn8WL32m3rHyPiMua1Ti6vPXxySCZvrbNcMjkTtXRtt/1str2vC0sEuz8mR2q
FbO9lPpfggJ2m1NKl2o3kKem9wSLKf+Q17A+RytnnlJtZcrVK73otyiIUM7Rp1Wqe3XG4WD6w93o
FQF5DvfNEH/YJftGLGREN8ji3cVTD5+0ngJGM6Q8CKI/F84NJgJg4yvKhs6QVDRq41k6AuMxFOwz
9j675bo8ET3aUQekOr0qLpfx1RloKi+Fp1ZweM5FpvpV60IE1AWCI6uMn2qn+G0G1a3KoZDr1h9J
jMR02CX6ftL9B9eiiJwTyNlVPN1aPVV2M0Yf48B1t4zm1gHm7fbT0aJ7BzklX4O4c7SCaWgbgRJF
OwVy9xUGIUKnmBaaRe+wmyzeZJe3kciThQXdKNej6foY/j1vNWWyXJePfQkjaso1fWtaMBv6Ln0g
AH6IYNtzg6OSvPd/dDWOBwMQGbsxe+dFw5MmZrCb/vghBkjjs5aiexk/ut7fxhNI0T4lo9jP/XVB
i6BjwFEgjF9XusbFQxHWiixoYzoCo66XdKzzXblM3p6QyVc3Bd7DHXycmh9joDaeJZdnDV8nSw9C
q0mYkzAUM06XNn0wWH7WuJNQNZHfs6TtIU7rP0JGk5UwRsZK1nPUewSVVF8G5Dpv6XBJGCSCRalH
Pmd1HOP21qFYjIfqNPkMDckXAXV1xED0Qq394jG0COz4khVhqu/ZZgeQe5M6eT63Gmde5954SRjk
bu4QIJX1cFTb19xsuTpk4HSLfranUlGMF/lKeNRgToFuI07/JvrZw61dXwhZtoL3puSzXcuNYdqK
worQjNSF7eCMd5pUzT7V8jsrpiAnk7Yy7Sq06Ey17SIpaJMpxKRt9U65piH07CTxF3wr2Kk5mr3E
aLkCOGm0P5p+n2md7yPHUiQDD0wrT2UDxgzEvVgVqG13ix136x4ipi+zIFvsYzf6aFPHX1u7IWr5
kBLMWtGEBviI9i5vNlgZ77JJiK1ete9AFm7GaoH4XF8QzR+tILha+QZm/Tp5boRLJYQGyqNJsGr1
mLqzTsFMIkGvvBDRkk00pCuDzMHc48y4QuzPbAQBOcmZzHbH3AprfjJ159BmXIEJ73AuCJVgKvlr
u9G0LgaIw+UmMZwwddTHom5QzjwXKFJX5IK0m9LgfSJK/IQTA9nIwn7dwas0zJcWvP2qQea7aNsC
6CFvZn+rGVuHwKOVb2uPohbbCcDtZZGqV3BQsULNCKjDC12O9I+chU2zbkEHvk+J9WU62ryNzAlY
MhZSiIZsT4sCvB0Voe1z9tca3gEKE2ITE/wr1PhDmsBIyq0/yxmqlaNo99tQk1g3aSHa4AVN/T71
dBOqnLvOSTldaT5niWubnzRcfslQbm6nnKm1yeB+JqooN40HgH3lGqkMBkrLWOt5bV9+YJPSI16b
JoN9Lw+FDZfWUGrnGpNHHZA1Aai5HnrK8JYZLTjq4VZLOdvqTqz6onnOigo7knMDGHO91NTPcvBJ
9aVJsXKKJJQkjkPtXE4OEvZG/MyG/92US7ZGyNZwmo73biXf3V5+QxLdLfMcOKbxUavUhpYsQfRi
vohUZ8MnkVXAHERvxOOUu/dj72HLyMrj5I0MUFqdQbb/ntkDifal9RQND6PQQXXDECVBjMQd3Y3W
KqmOhS0OwnC4dOOBPCfmGJ3unht2HVNdyXWS6ncEjjybE6mY/lht42R+SCJ7Qgvo3jNQIcAli2A2
L2+e/+A5GiIR88LiKwcVDENGgU2BCb4uXmdmvZ6h2BJzvpq6kXlDEmpNdayKZ7B5PsPOaMc5GXRN
Ym1UZrATmwwONdNqo5mOFXg3fQywk6Yf2gWywf0RzUnlbmSrv2lFwahlNMNIwdxTEWF4BRi01h2D
eBq+kxbpvW3tqS/6qqDAkO7Kpqpk9yXPer6nkrahDhekVKV+YNSTw8uQh1D4WhChza1aywg8L/uZ
3eQtYU45z2MZaBNswMw35707v9YiLTaRGRaCgXSFDxUParxxyIGpxfiWV/GlQ83OP8r41HynC7gh
MCvpDDqt5NVpYYaJdHbyZ6W4e9ukem8bSckxOQNjwp7xcEJItO/6MJR/moiMjDxpTkOcbC2CRLb+
rG6b3PwqNAy7SQb5/cIbaodvFEnPDMTrrYZGZdVyxW98zWVv6HMpSdmfqnnrQwGeZ9rt6LnadZTH
0NlqbIEtToSCqVbW4/0rInohafpTR8VBdzWg5llDslBkM3pK+10CYGOFaMlddbX5Iy2wU8Wz4bhV
GNfGh2toO3dR9E981DxW81PXoE7hdf/Am/mkopbb1kxOC8hhyL55HpAGC4VgOXcJEa53irsplyKG
w+oTSQzS7+mPfMtT5BOxnLJGGQSdl5P74hvqdu6AkcCZI0ve6s5TJz4rPiyQKPdp7puhdolcTpr5
UNg61Pe0Grdpyj5Np/ZvGvnCNYoMBFH9ZTl0Nl08h/wcU/AxBnyb7IkVes4NU1uTgBW+YCSNVrKN
UA/9+Oq19axXettPbjlSbSJMtRcUZ0RXY524LXKfbSpLVGRR8HJtIrKl19t2yGvedcf8aA20VCWa
CRq2DzVv3qqS1r1W5LQMhfU2Mbc0YjmtSf+58FT8+JDY4ilenJ1RUKCLmFA+VicqAEh77GE9E3Zr
O1oIjSEJ07C685P4vvll4Y2Y/EiclSqZ7gvBTs3p8NNkklgUob8lHUENs1mTByWfAJAWWzRcd5k7
HRgrYPTTipMo4mHNJvAgL+TW2Xo0PuPK+3TH/qXXOTFz+4Xsi0fTqdYiJqeQCGAo4ATJzjd9x9WC
rQuF+K639LdxsL80d6KvjNKtt8iuy3SaMRn3f3dJLRwT074dT3kLB5wFABncBd5svEeXzaunxYcF
UiFI7UNuOguNu/67adW2dbWXgkjilZtYMpA1hbduo2aIOFuoYsaq9rGKC31li+KmjoavSmChSMYF
KCXyp258dAtxa5VOH5jaSE1VIb/XAVSrTNPW4pLPO/rGBis4UfRZ/Z2UyQ5wxU2XJls9t38Sr6NP
1TEFJEmVKMU0NOfmlDsEinZtsW8mIlNHvdmgCv/MjR65qElCt51uspzBczagf4sqwMH2hl/hdkzO
blohEpaHSjPgOzlGssL0GEnrIRqwUETR31JpTyZRQsqpkyct/4CZWNmLGWixjhpLmqcZ9tjaGoxv
dxz2pp8+1pLJOg7AnyG6vNlJ8TEb02te4asmbQH6Vc3fnMrTnMtjnSHPi+JPSohPglWTlVtPW7uZ
P8bm4svTuZFrpY8icKlhj5uo7ajNL51KFTLFS9bWTGtWT00C4E26CcmHb5NIkffVoSyIU6rth9KT
ggm69r7E8qC3IKT96miyhAvXC4e69oJSArmrhk0q07e06ETw19rNt20VX1HToLU06/sSWuPgliwu
Tkfakj2Ax7tdKrmJyI9H5YRX22hu8Rk9mtqEOB3nLy6L3SzBEiZkg2aZTlNvrCbORjTni7DWOjNV
GFwxXpBKBnowLCojKTHNt0vs3uKg/HRE+1Esy3mC88VYzTlyhbw6ObQ2bVz7VY0G04tDs8sCV44I
jjXSorLlhHnpBmrtEra2tbHBG3D/McijLALP5OqaFn3akekARR8ZuPJGIOv8UY3lPyiX5o1LP2Vl
UdFxFldHq3gZRb4mQPWuS4a3ZGIEfjkFl5mIKYQl+jZ2OFHwT5yWIgrpiL9F7nCic3uOAOWzS8CH
VrTGhhSi20KUj0NivpfKEWz0Espa/FSeD+VJDNwYq/TxKhWIdZoyNI+bHbuxR0K135oh+2b3+4QL
dNiDzSdTeYnW+F7e7ObQNdE75QF6jIQSJaJRf9AY5HQGYSvjbOcbrzR3qIxo62WzRcnQxuRDaofa
bbQTe81XVdLbXUZ3S152ta5tR7KnV/62XEDRLKLId1V3rGqNAQFPsPFy7Zt972rGCyHSyNupRcM3
WYKsJCQrVl58M6WSTSPkBGb7WtBkNrHFsx3OfWncaAUTrBYnApMIl42al+jYM4xwnv12jz0uXXUz
GUzKsMoHbe6Bxrt5H16//OcxMPQZ12VfRGsXCwcg/sbkXjUQNu6WNVkGl/Qn9eaJFBg3ARaOq+ag
9ed97WJJx+T04dBHNgT6U9catR1/z3YxKFRHEdHpA2LP1uZlKbo+nKjQO8k9bOpoQKbDI/nCn+NQ
XJxd3H0WTe6FMfmhG/25ZHYGc2F8oiPjXtMjd8t0EZNzXLxrI0DV2qK0d6TxG1UeFw0VdhlFX1Ym
xoAWkbcGGyB8C4izXvE3OSxLXnuTykvJlmi3iYuGL3K/E9/8nnrk2zOLcDRGe0jMANLpWA2++ern
QL/tbTNrx/bycullAmM5yKck5Hvfe4GfB/awIlliqYJpzg6L7jyUzbnJxLTKCvlYxUyfC8/bd42g
pemecxM3uev9dMoG4h+3d7Nd3GeX0YGvlbQNVXcr9FgGfWdxRfikwOMquyEfo1q3cauY4Q9rimvJ
ZW3tq0kQqGOze9tZcSKATaDs0B2IBIbbwETNLRdCY9xtMrs5d9n0pspL0KLKpjCyyj+ZLv1xgLQR
097WbXbKVuxzg50t5gOWtfET/S2d3aMf/5m9xUy2Iw/NY8PZpF7F8pg9lvIlslLoQh57tCS24hUW
65UaYDmoWgWen7F3dm25YqYaZqluvOY+qzXsWHa3tFhUST6Ukd6Kke6LM4kTe+wnRy9f+9IrNlon
UoQW8RuMESzsnhniZtIDhB4sgxfRoUvsEJ1DmlRjcGl7biYTs7rJZ2xepq2LRjCknechQab8lHlr
MQvb6p7zueDkLyWtymhiuAJCBYs7E3c5KPZwGrlLXlV4Qe44Bo6m6ckoAALqFsiXqW6QVdGwspuf
PGthv1RyV8z0mY3C9vem2A/lMK7mmMFUv9B8ct38c6TJx92m1lYVooe+qJN9nE2XAtp8t7G4rOhW
xuBOVHenlyWDFdP+qi+jp+ijpcMSGLlG7TocenqWyGS7mxhr4Egxch85nJVVTbNz1PGdTKcJf12A
RqXZ+JUNJX1m7OFcEmvGlo5fuoySeRknDGSEPOwSKBWUdyvV5eN9S2b6uife6ALkv6Uvf4ztNihG
+jYKooYhaWtSSzX7bGohfnBHSFoRBe2Y6sdB6tuSmnI1uzin04XEcqGf/UZYodDHdgshcr+0mbty
8mqTmAS2LDE3hzgW/a2k3557CNyzXL04FSJTfXhmasbnXy1If+jIRmmf3RQ1bXX2rXBqM4folWkL
iwGKRFulh8Flftp2NO0bS2mYYuFBFn65WQaLm7Hs30D0bCr7Un/WWOOWaW/nrKRFWr9UzmLtXLNG
zSzq+Ub0l5lQh5yG+A00fG7eUdcW5Inj3diIhNNCkwIDdk8jkAuNbZZjv5RFVwauUUUByJUKLSeu
1yYLiGyrAEBdLslzoXiJfOYStorODoQQlzyF9mCL7HVweG8jY3B2WZojYOKyx+bz0jn8xa3NS+In
ohMTOyxrjGQcb3q1fRthcV4eQH2q27i+12mhcEZVq4hPZZPkPbjvvmO7x2sbzbwlaGRi6kyV5TLr
2TheUwdZPO0EG3fihUsiVkdRhQyLLRgxW3861gnhLXhlP3VHDA+lGW2mbH61JK7LyZ2e+wivJzKg
LqwIomGJHs4qXThI+xOkBNHWib8ayxnXrjfexMxQaRz6JmCUeKZt7jQ/8Jt5i+bsbtJHjfBpDwfM
5BG7UWFMaBv0tCYdOpOwkZGEzYoz2Y7ArXEh4fpvjmIeWG5UZe4BldQLZYXNOSca40fF9qdu/k1q
+QE9Q7gFoHC7vVt6R4eME9GHjj6Bb/HTwnS2eoGDgpEh9Joekwl9D01OJ8mM2SHFJ0umTZ9o734n
vM1odASupXl9ZPLnborFIx1PMNNh7BXoBpUO+xzMvVSs7GtDwD4igImRr7lt7zMrmm+cSGe2wdZH
VEhy3LhWWw0WPDrkx0Er9G3n3cG4oDDU55dJGbul1+kKq+55mJiIOHIIzLjqAyV9g0KxWPjt42PS
D++Fw4jM+jOn9M5jt88mmLviNCmkRmwHRsUAOvE1avZdh2/8HJNHotWEWRPutJa99tPV07sVk+tV
RMd8RFspxh/p0dBvMlrwqCufBpoC5L35cH8rh+aH9TxFbA8z6A0bDDqf2sW9lrjzrXKJLiiz7F4T
DfR8e+aUW5p6VSNFWRsTez73wsTvm+pXt+TXMOlULI7cGaw94QW6LeviC+0G6ZXQT5n3sjM23e6B
vyjjrEoy2i92ESYgcBEbrnMt25U6gc5dZN21vZ/d1D3nttWuY97k1dz4yAMZghutb2+SQcpT420s
1LNrTwnSNsbPea7P3GEzqmBrJRrsc11doQNptnN2MewO7DsIbUMgvzQ/GSYrtgrZo6n7UZC0tF6T
2k75H42TIq7Hc+XgzNW+6bXLDy3eMX3VQTuJ09QzZltU9e26FzaLYGvU9QjrJj4VQ1/C2F/6c3r5
x6b7VqKkvbk+5BQtUUZ0Hprc4a/tLxE0kdqVyB/R5JqspQSre5oPxb+b5nXTsg5HjfGUjWnGeaC/
9uAl1oZpukFs7TzHsddi8V/jNBG43Ohp130pN13ERqaU+CCyVafqdt+q/mlymyU0MyvdTF1xUkjG
mB0znbO6og25eAg29sYcjrBiVsskjhKONRaXPpgKusMbq+vH09R4D0XFG1otxapsjO40+ENDhvfW
46bvNTBZBsYbUMfOXTTT5KfNOCTqS44GFHGXsXw2Gi+Wg7Kw6T+aFpILji5KoXLjd+65ZCK2bhbR
BxStmwjr4MSIFWbOJWhD/mbdvI6caSC+8CbvRrUF/I1yMTr5S3yMHfYqbMu2udkkgdRy+jGGvDHI
H6DIUb8sucCjXO/OsLr7dsxpwzjxSzEz/xTcl2II0p02/ynyg7PIMk6pbU3roSrjrVaQjNAa3p9r
o9Eshxc1TNFKgEEO3FkP3H5mfbaWH6G8XWcRk539uQ4n6FIW363CW6u7A7WfRohRNce30mqeuxwx
xcDJZfZP+Dhu/Q6FTxwlmyjtoHiM5sr1xffFcUIhDp2k900riEz3YKK8Lpi/bKbY2ftIfm4wKj4b
l5jxuNGYtte8Aa746QvMlviIapqvWxV5QG2y4sl3mFObLhlFsEBunHo+TxbTA1tE78kdChRWlSCS
y2Y0ke5P3XEe8yJElrGfp+hMXAjWF3oRuaGQ6rg8ZzzPr2Vl/3aLOgoxnqlSwRYnt3nEEZydGoKg
fpuLkbP7Up0xRzk7WSIoZ/uSzom1a+1hbyhy0Ev1qM2LcRzRApnogLd1uis7StzBt37N3BpXldO/
avWw0OfKuRnwvpk4M1tET52X3A7M0ui5fZpiGA4GYbFZ4s1bbRj8db/UgS8Szpb0voDMEMSs9XUX
glXao5nkVp7rJv7+5qNwiBOLlEXitPYb2+NnLvKvoUsWzn4zlC2fi0gJLyRvfess/Uds0YTMsoud
PmOCZpHxZNZeHAgQZXQYmNjavM1TN20RPrHC3mRD9szn/+B+dU3nr2P6BbRpafr3vr7SJNsqO/5V
vXroTfe3KYZXb+4fmUJEgZlpcPJdgrN8iFJtxHZAGBf1DnNUjdRgRyDJJvLAW43l0rLl15k6u5F1
Cyjty4ikF7QVOrHLNKsasOezUyvWxO7sJ+UAf7iZrTl0uYKquA5LFu7I0d6sMf0DblbReW5VWOvI
2rC/J91v5fav5EzRja7qcyu2RsSdkzUdurK/K8UE/bj6MnMPbbrajF6KpE4XDbkM+E6bS/yMNiOw
i4wf1/xloOltksU/KiRp68oAjYD0Om11NL1+cqPsxVhlaXJsao3USqs8OLjV8qotw2G29Q2yOZvq
QgZj5YSGVDG0saYlgqV9MHliCGtc/rm46diUxjg6SXdMMF777cAKH85N9pvU7QU6NeytSuPvJpVT
OHRxKG/ZhF0y0Gb5YiyJf0tnI1A92eOenRob5VZPSdPdWSNBEGCq+TXStSzRunp0y/F720cnZyvU
Mi4P0lknuMrKDzD17pF/A/1TDRMrxRBDEe6EcipsB63ZyOY8LLpxW5XTVlZavG5zirKm39WVQd1K
TzitUj49VW28ZDmmJQtQlLTVRm+Gm9gjuD3WiV1AcWT4Wr/xCw278vRWqG7TTT0lwBDfaQZFv6zq
n5iBXpsRRunHWrrWZvPTGdqz0Idd6RfzZjCod4shd+gHWZiFCogskbwbYuurEbexxapJTqDLOOzP
R+NQCxub++T/kpHySfNLtN4LE5RQEQOHp+XWYlOaxJQRKjbPGFbOidTPqRxRexj7Ji7KrUF7wCmd
O2X6FykP5WjTEqQ4o3VtOvO1V+kTCkvKUThU9jBh1KicU7VYj5GVPQjWlK3njmHeLaHfGDcRd3LM
osFYMyAjmnKTZXQjSezM0m5ltspaI6PkKy+m2GnQxfQlXXO83GmdhPNkbN1hoCqh2eiTWbBqtOIg
VPcTZdNP3jOryJaV0T4U7Thy0WD5i+o3M3F+UmX/jlMNr99cW3rRhMDvmZfNgBVadu1O8kVLloF9
U3U0z7SzVS9Pie2+ZK7a6aa1bxNKVW0wD+B3sHsINDojN0S798bV4c8Q2qbVG24YoCEmX2ztljus
Lr+6Cmxg/iUsQQ5bvqepe++4dOKKoX5dIn/dzYsIk8F49slhbVv/PRkvivg0OWgSIQVCO1IgSnWw
S3JPa5MGd+k961Dcxqg+AzyaUF5Nj+1EL2aIMcPWrnPEOEagXdQ8lBgZVv4yH6rRX6eLTYoShzAx
OVhwUhizelvb6x4su/zserLKNN2FtY8gTZ+efEF72fKxFdjeoxwMCjZ7zZLLBBpGAjJc8ZwT0Ind
BLyYbXWflT6uNVSqLamhKjXPjuGSGQo3MKPnPjbR7nLLYy7wulS5vRJJhTcdq0/U2vet1Z/sTnkB
s0a23YTWrbTWuitGp99UaHqkh/JRDbfmyDQ4ZpzSad+QHIh6pLe6kh0ESXSppstHK5mXF4XBvtTd
04JnbUyNhvvaEo7G+FLqtMCgIl0c6aGGsbv3HYoSCkWJW+UyBoQnlYKd0OOZ5gDVb9R/tJ6xHTtx
GF0XHkpDMmTOmg3Qwq1paI7DUTZiOBp1Oh5pQCyM9aS2Qz4iV73WqH3Zi+YhE1r+wLb68v/rA3WP
/xFOEbdNJ4IFGSWxEXS23of/+TYHamraEGvYnq8PIQdgDmGL93+fJJNxxjruqY299M0DfZj2AbnY
Y6MD77g+ZBHvemp9fffPAZejCgJMt/y2yfrfJ6KRjktfmtr+ehxia3WvWuLrL896/QdvyS7BUMnY
mt/s+ljv9EOAws4G4/Lfx4rUCwygPufrEbC7ZtQuGQ1tO5dnoab//MPe7t4Tlbz5f48LagNQOpKB
1n+PN1oHioU4MCc1T/8+XBCtdopRGF2f9Pp4Uc9ETyX2HXuRbWO20V1GpudTGyGcqhs53Fy/dPw6
v2TALZtUZeOT38XFrdnSS6xiOXLnGLx7MhCCAvvNEFSuOkqdxff6o3Pn90GMWG9//TIr/CzE2CDW
/zxxHMkDWYU0zS4v2xVQ53Ljn0OvL+X5zStTF3G8vpJMiWxcIi+mIcHhcmzLHdtpLbh+meI8PUrf
fC5bjd9D189Wa/SP1+cx+ElaGV17uD6RXSHqays/2l6/O2R2MKPpxVVT1PfXf+yi7bZ5x6UFKitJ
gtGpYV3Isg+u30bRXN/zgumuI4OZVfxyTJkuCaorhlr/Pk/ez4r9QBXSpDC3w2ClZ1rsybaWqrhj
BH9RDjTNPYg6d13H6fSQg9Rc91AVHueudYII980TtVcXxNIpXga6b1x3tnxNFnh2bmG7b5Wyq1Wh
jfWH6JpfQmWxS3bVqzdl5bdqKmyDmfVTLQjZC6/+GxQVRclMhQlHHUx6w8Kx6HeRoqJZdQe6VUhy
Syg0wsmQHxBNTLkzcfRShwmzkF8GEbfWsLQ/Refeuyj8v1KZvXtV0n3q7Amo3nr/3WR2u8qzYt6m
TUw0im+094TJw9UsXJagS+Dy9bE4b7BULhrFz9S299dvGLHhskhEzeb65fUbXUpzKIsLjXKHp/rn
uCZWGweJ2fr65XB5gto1vc2kPIh6/3sNsp5r5NPM0WzZ1kmwdK6+1SwDCvHlmOvz+8wEQ9Xa0z+/
6vUbVR+NYdUz07oecn1+peno/KeEeX/domfDkb5bppy4SEagZ9KCyt3Y2hmRoE1y5DLTNoOmskcg
BmnQGfbwURbaybQbGTMjvl+8KPlrS/sTgbf/Kh3TIwJ5wDYr3YKuit/ealVt3bqm9LZsXieu/9Jk
Lm5NbzKa3uwalEtib3AP8AEt+XJfuY3zrhyzDuJYLg++kdZb3ynB7ZT9dIO63wtJbY7OxJr2a6vN
9RcUhRnApOSu1fOHajHNk9WUgBYsRzKaYBY45kl74sRhUBTX+Sln6xRasBaOeS6KcGyhpBQVA64y
l/Mxt60htCpUBZVg+D8Kozwa42yGkG3io+GbTsiF4h7yHCNAzYLLVXZTIToJG6z9O8vOknuqEUo6
w3W+4+IGroTzM7APX/VDPD9cD03tRaMr899D1dT/v0MtbM4POhnf4TTYrL5j/oh6KjuQfRbKCLYp
tGXaGdfHaHiGU9vIZCOJC103nc7UL5L3pdmTrJxFy8ZMF3l//Yd4WTewwElsr18al+OMCSdubDV2
2LC0Edyd0cuG6hPvzbRV//xcktFU9syou2EI/rOQ5geoik4/Wv+7ofHB3uBTYjfo7WpSVNBYSszA
+BLuLajCa0Q7anN9TNZedE91j0Yf4iYzIY67PuZKay1n8EzXr2QSlScQZbvrV9cnwp/m7zLS85Az
8xzXf2xhRwQ3cw39+xh6zo5RrmPux/8dx/xjbYK2O18fanyvAunW7eqOCHVVFMNaNyXqChoow1bL
BJ8dcZDJBjcifkxtyf+PsTNbbhvZtu2v7PDzxTloEk2eOLUf2FMkJaq3/IKQLRl93+Pr7wDkXbJV
dcs3wsEgWpE0CWSuNeeY1LL06srmtoAQYFpJbTJavi1XRQmAjzru257zIuB8Sk3Tw/sp5g2Z6dVX
Fi11mNMOGJiuutLcQd3NhftUiXkRfDH/Hys901J3ikaJfz5w3nF+mDfgQ6UdPB08jjny8Uhae2+a
gBZ+aVy21H+uvKRA1gI18AtVw4omj5md9RxQhTnix8kaGo6Gnb6meiavAw/jjSyop8/rE1vegvtQ
b+U03C0KbDGK37B/mh2yHCqUOZA27Q5psZ7XNz4zoq7JH+ni2MCJeuJVQ1qXiUnkrOZ3yqGy+TYt
5qf1QHJp2regzE3lMK8qw4it8/Lb03nt+/ZWYlyLE+X7h/Xz4od1pu5o+6SI1p1DDZXcq+Hg68OP
B1WtroOG9zoK9OKJb5uftRDzgZpH+Readi+myK1nxU4fak2r98IyxNbRQn8tEwPqBwz4B5FptM9w
eKS6w/XU0+AylXHwSOIlocZcMFFlKOvKGA4OlC13CI0VqnCuf2l/ORRF8jrkQD2bSv/smZWKgjRz
mLF3ykX3uNO1FqyoSut+oXaGt3OTlKl1jbXL0ZPnXGpP5JMrNwCzs0OqgxkM7BFBQt9siiSPH1uV
JtqgxNpGwcL1xXKXnCBZN49t6eUXWlHGGxWD2D5rvOTBGYY9xcj0WeuMDNeT6x4Svw1vXOF9n//c
qDv8DxZ9dmVnSXvpenQZ+umA6XWgoKSnFaINTC1PbMFJfg1Bkp7mByPtm1MhGuS1pgPiQGGWXiCQ
PBl6IPrFvA9ezukpMm08cOLwY/HPU8y7J3n+mCRxtns/dWwgCxZKW6+bAmtA3497uC3ycl5KIwxo
dgv2fl4MS1QsyFP3nVNd2jQE631FBQR1mBoss0IpH4eWvmqYiuLJHulbB31cPWdx8ojMo/tGRPOp
YTz6WrUWlqzUI8E+GxeZg01goTCRn8rR0sPfkvQoZBxPTHb7BJ94jU95gstldgFhTtfyRUC09HZe
fN8QxUpCDjI6y5Zy91XwoLTEiBsAqY+O5RdyU+VIfLveqva+0VzMS/PDvIs57TcvFpO7SHQe9bLa
vg56VdmnDr6uBJc6s/QWiIKO+WoVTJvnfUrFVZdxTE20NE324bb6jSm9cvF2iK7Fy1L3zKu3nfl/
utRIljBL077GMMRJ/vwbb8d3blLyzeJvVEgKDn1ed5tljQ77xouS9MadphyBWqLV+XOdUzX1KqIE
hnQHJBzOFf1cqo5zLPSwPOJleWRObN6p2KrgjVnnvLJByoboyW2+iMd5ownVfoUOJN+pOTrBujXy
bWqjd41rw7sP3Mxe5y1wBD3s8VFh7yQ8p8Xq1ifW3RijspGZp7xu6K+5r2nLkNQoa/Mu4VxrBLLR
sTcNf5WHMQYilAK3VDPXPec6G6Zh3o6lS+HU1plhYrJjbg7U3RB1uJi32gadzqG23SPteQCjQRBf
5pVVXtoo1mihl8HXwk4uyjQ0H0ojt/FUeOBAxiR4zBUKCNMO9q9H0kutKKo7/lf0Im9HWlyxlvlQ
6Wd6S1Tc7SK+62IcSgA8g+vQdeFGaXVGiyS2t91g6YeQewRymKShox1mR65v9XZIVPtS8Pms7Sgy
rrOY+LtAVey7fkIWweNdFIVwtlXjjsMimTIYGnvQTrQ6YwqXULemVSkK/lM+PbztV5ciI9tC+XHE
vKUeBhKSO+ESQYi5nR73GkVic2MZjX+bWzArAkBv63lxfmAHYVvNDSP7yQUEeOh9h3kdO2iCciAV
kG7vykaQTNt6ByuNy1Pnd8k6SuL6QQ/Cb/N/tWZ8D8zOfwn5rlJMHwi6mI5xQBUdxHRMbFNTKENR
PYzG1D7o3FeRvh2Tylhb6E7y45jCQpcSxekBS5U8aPUgD7Q86W91Og2JIky9TcS9oSQNm03pvOnj
UwbBxkppgk3cF0lDSIHAx0eq7qLi3UN5Jkd98IAwLEzV4TGdVrw/1HFAADCq17sRI+266Ulcr4Le
OGapHq0DM1QeMclfdXwLX8ygPYuqMx7xLaS0xau/7OomzdU8dBV+f85l8GPXD2cVo0rGelZElBGf
9TI17lW3zO+89qeFoH3WWkt/26LJn7Z8PCaXebetShcRyli0JItXas89Fsc/DVFVrOenkQYQIJge
chlCmHSuVLhdhzKa5mvz0xQGrUKm6q9r52XI8OXFaFCyloNykZreAcuI2Ma0ii/oyisX83qM7xRP
55Va0jtwkae9afrJdDHv1VhaY+7mHap57fx0figck16Z3YSLHHLGj/3nLYPmfWlk6R8GrvNnj5/G
Lu4pzGlJkZ7dVEvP8zNGoQ81zdSL9/W962k7x6BxPx/6676oTX/sW8PuXcA4aMAOO95pfjABffI9
SsTaLhLYJXWD93t++r5PNdDu+LjPvNlSTWAtLcEyATJD704B/n5I01qlPj091RUUX/Oz+aHyuHch
T/IX7+ta3RmK0/tyZI3RJkzgmM0HY3GE1PThPJQradJUlcXlyqFH9tM5GDjZy3ToVfQ1OV4tcH2t
DM6ADNKzp/rpuYgHG4+4a6zkoCc/b9jVLQC/97W5YdgrOq3Gaj5wfgCtnJ6rXTntOa+oOvRhFkOO
LT6NhKSZx5F244kwhGIxL2JlyraVAWlpXtQFllEFr+ZxXgysYMUNUr/Lpa6fo0Tczau7AHZrLciQ
C4d0eKw0Wr1MIez9vFUx1SuSNMdrgrLFbZWOb6eWsWgOXdjk8JQ4iI7HsIYrxHx0ellaDE0wMxXj
siNX6VF3SSb566sV06tlGOZv6CT1j++vdj5lxKtNKgDNBS797UxCT7hdbOrMQxc9wdLf6OgTT/19
sah8nGgSCc28dd4w9jFX9nk5VtOnWIvT3bw0JMWBSyUWn1hby5CxLrbAIDjDdutXFfXsdV/ZA1Im
P1m6gAouM4ZCRCe5Ju2HEnzWvPfbgbbho50unCnXIzibShWc0Zt5TC2664j8iyMA+UOj9M6jqvPn
B9njOpLyXLTRfTWtTiU+mzKinV43kfPY10a4pBAfHOettRWSiTFED56GeroWROz0neI8lpjGNmkZ
9pv5KF3vKEc2YXgplVg+jOFx/pOO0qpHSK90AKc/5YYhjdwyVbbz4hANTyO5szCsqvyu8tz1/Cdl
TW9MG0m+btpYfxC4xqLAOdWxQcdDVTEXE2R1IinbPnWFSe8l1CwXXai4HYZYgBv6c3OvoGF4P2Qc
x4GLKIh9k1urYeI68dtbz2/aW4KWKB3GiENdj0WQNwTIdMPz+x5a4953oRGf5v1JPam2RovRcl4s
pxNOXdzpXPMxXZmYS5gicisNc1s3Q3nVp/jtGQAgtS8Vfq0qkMzGsLwX/7rx2+yFDKcEnaA3ZQ0I
3LZj7WD078J706q+SkNJXyJXR/5iFZ8N3SzWNWTCI9VI65SPWkEGkrS/hEqxmnctHPp8eqc6N2NM
NtygBtxJzLK7GXPZLua/Z2FSjFureHZzpIpK0TMYUyLzUGGqXGeB5TwiHDjNu9ah/tQ6Kh5E3dJ4
UVR05veQuV2xtJlH/ec9RMyh3t5DljCmmt9DiWvoPkiLr8h3241bRGITq9G4QxyQrHTAHvfzYltG
6Ur3Vf1e1NWPraP0jJ8W1UgvdjSNkg1uZ/okhhI+qOSkr9RBLS8Rw3f7QouqHdhkOKJKEK9suHmf
h6F9RAItvjvVoYqV8bUuuEwAIQ8xlHP0KN3ysqKemTUAFzojfe6Swt/Cy0rA38VdfqQyR2TU9OzD
YgPkmZhhUS+ZB7B3UXQD7ghioN06sS5jzVi7vRIcaRs5y5i663peXzg6WiCMzunRMLN1VndERngN
RxgyIPhF9s7bCbq9YQtStbQpXs+21aMQaEGnpSL0UPFk5fC2sS19bV2WLUSCacO8y7xVtnp2oIEA
RT+kQQUJbBOXnnkS1DdP1vQwL/pxZx1GwiXnpXn9vIeW0D+i6WNDpk5DrO/TsV1GxpFvJhuf1Jvl
DGDH6XqfA/q/DTwEk5WGzmIGodtjdW9JJ7qlne6/rc9je9loevUF2gZu8/YF2jj3MOQv114u3J0H
Omjr+HF6G3U0OWpFbV+MTl0CgG6eVahNKzCO2iXoVBLQmjjY9IVSPZSqdu+VUQdSh6CsIZWPZkiG
SqjZ0bHJi44MEGOA2j94Z+YYmLFT7xpbeXc09Nq6NqcHoaNbNLPrIQysiSjWnJBgHvD/obUsRVTu
9ZFhxfv+TVUFG7Vmyjavmw9rfVT4Q9Ak23lx3qAG5SvYevPifTcbJZVdZckV5k3rOi7c6sppleX7
DpBlGJqFw7f301SGXWzrEVPffNC8oWmCfhXFvovlghPN67Q67Qm7DpL9vNhmrrVJgxw1hEo2jvTM
R4cp3aGTiADmxWoY/DWkGnU3L9pRdl/T7jpjpnJvcahvqroxH/PBw8Amb7Q+FCdaFyD4PfU7Mix1
G5Y5U5p53fwQBGl1xHOFbZl91TEzNu5Y5vu6TZ/QAmM9l66+0lQnvOmG1DwL/WtDbQHjDHEVezBm
WF6njVmZRTeqCNSVSndoPa972+DmT8aga4d5CZSieZbp13n3eU1gauqeQevP5wnjTEUVUSvr0m5b
jKR19eThoXo7B5ML5NrF+IT5xVmWks50SOtfmy5AAbzX2/cl131bmq9VPZSL923tL0t/Hjdf5P7c
cz6OnlN3q3f0qqcL4J97vv29adsE3Pmb42TvoX70ur3XDdEJZ2N0MiP3pkmGdgeOJTq9r5+fva0r
ehpmHcoGdn9fnZZc6RfzcjW232IPYT75DCc3MbPT/Gx+qIoBpooeNwSI/WeDq6lB/9OysINdpnrJ
RdiRQ/l2mvcztJUyrLVwYvdN558f5nMxKGgXn/713//+32/9/3iv2TmLBy9L/4Vb8ZzB06r++GRp
n/6Vv63ev/zxyUbdKC0pHN1QVUykpmax/dvzTZB67K39n1StfTfsc/lNDXXT+tK7PX6FaerVrsqi
Vu9NdN33AwY0ns+TNepisr/SrQinONKLJ3caMvvTMDqZBtTYzO4kpb+LaB5rp3rbcoNBXjvvMj84
SeEs0xK9b7FQgk4yUCEkIN54YSQuy9E03h6SUbsUXFov6A3zWUNLEpeo8vOtonnN4n2/eQM9NwI0
swBkch5QFDXTXZE63clMk/40PzP+fDbtATklZRiH7tRnanJydW1fB012nQdIaV0x/LQkU3Vv+nLY
/PMnb8qPn7wtDMsSjjQNx9YNx/n1kw/MAR2fF9gvJTGuJ0tPssuuUeNL0i2m57i3K/ob05pibQ4k
kyHb6EGHTA8/VoelBBtYVO5Jobm5SoRqArzpq2sZ2CUIBdb1rmUiJ1VbH1fff5bzpvxWxGVD+oz/
UCDXvwrohj+o+kMc1c29gWnqJkLLPa91mjo8aS4Ww3kx1miq9IYCPH86xsR7sPbiqsS835gPaC3i
5Win8WHemmbRT+fv85/OrxjqvmtKjJauRuqp69bAOqr2RPX5nz9oafzlg7Y0le+5LRwNy5cQv37Q
jZM6DFi99JWKSAcvhs9v/oS9RPKhmqAsMPZBy5s/4/fNXQYWtUrTi7f9/KrBKQxH9MIXY3mkrIMf
NuILl1hDQ2jmtLJ1Jv3w/NR1xfTU1n/slZvWa1sw7iq8XO5hVhnr1qnH57peDBX18JGAmI2a6M2+
SYRzZ7raed6eMMuhYq7nODld67IEb7ysWmd8dqvorqfGfMc14MMJY+QHN6o0EBou+xhu6Wj259a2
/WPT5ad5CUjgcP6xvj2T8wyBr81Td9EakB+RuRgrV7zvwqG1SN8O1RVRrkbGJ7ssROXhgw4BYR/0
N6pb3A29phHw1lJLcurpvXjKZ9teD42pPqnQ/3eIhay3RWsILlM8rLeGQ0hQkJkJgakc/XdnnQ4v
DVgI81fjv3+5/FXz5fBblg9l4Pn1h8V/b1+zy+fktfrf6ag/9/r3r4sc9OOkq+f6+ZeFdVoH9XDd
vJbDzWvVxPV/rr7Tnv+/G//1Op/lbshf//j0DPaK6iiZqsG3+tOPTdPVmk6xw5f7z+v79Bd+bJ7e
wh+fjlkTVMFz+vw3R70+V/UfnxTH+S+HTqaUwsAPZ5kWJ+xe501S/BfZCzr/pKZqpqWbn/6VQi7z
//hkGP+l0oTlDgHx0Ja6tD/9q8JkwyadE3IDIdhA10llNaT26T+fwI/7z9sn/vf3I03Vf/m1mgy1
DaEbQjNtUxPwMz78WoOh7BqKBeU+NdtqFfiMxZ1yuCsoAUUDVEpLtxRSWiNSaMp+afZJtyFBIF9i
Y1aR/Z/8SN8MNj9saUVHRzOHbVqceoZk16Wb3GthjLGg01aZcBTElXW1qmsHcUNeGAtEgvtEg3Mp
gDI1WXNh6eVTLAiir0qdAjw2tlVTkjdTPjpXlV9EW7sECVExk8mzz0iPR/LXMNakyCHDVpHL3pws
Xq59HCUqyR5im5Mn1SoqYMc5DbA0LOULlONkgibPaAqanSXKu7Ko6kU5ETgztZbLVjg5LVgdY6CJ
Bq50Vqgsm9eaHtW+8fJd7AcYhBtjETOspExmc9lJ4+c84QRlPlz0BXCtocDqN/RFf9Ac6LMwTKXT
XZFZsFO1TF32zILXQdvtQqt/qZwnX8OFDjx8EkIzN6GxYmyiDNFjEgBo6jRMeR7tKgkyfZNoU3kt
0CNwLs64Q6S2BppEr9gRX2gyGr+5nGt//YIIYZGozbeE75xhfhixhINDqa3NCR8y5J1ag8OYH2IH
mTNz/3zhDY1cjnFzpdKuWYhYhY5g//gwf/p1/c3o6ddb+PRdFUIaqiHAWDk2Y+Vf7yy6oqk97Il8
3ymlsaBA9wT1Q6ASUJqzpyf3ikxfAxH/7hOYfgLvY7b5z9qGrtnczkyp6caHT2CklDyCt433FXNl
tYjoj9xr7uhhYS4houolwOAwWIWT8ykvAagqYMG2Lro23oa1L7Lx4Z8/B/3XUeTbK+IGq2pYe7kW
qFw5fh5Fhig7uySt4r1AOUAzVCEWTNYQIbp622eZAUYYzbclYgvASXToUsxSUCou/HDEIWyAoPM6
+doyDl1a1qhtZRZv51NZ8Md7Q9chYoS3//yijelFffwYTW43jtAcYdkfB2Aev4AgTUJeNKDyTVAN
uzp0EE0TQrUoQwvEj20GK6MrnhhfwNny+B0GLkAzAW9vXeovBU6mLVgU7IlKdk0wKpC34j4mZrvo
6cBk/srVI7mMi/ArlDEqg3oVUVEDLdMrw1fZ4Dcypw9CD14YtVEEgVkFtUW/0Z2C3nQs737zjqcv
xod3LG2Td2obKjda8eH72kceGR2RGuzTmlKJEotFWQTJ1uvuAY/roDocnKoI4VSdMqJGowbAsuYu
CLvAy0kszQZD56Js24SGK5RdFa4QIQsrZLAdcnh51xZWsAzdy8aN2rWVcxGQOSFpRMo/y1xrqFoU
0YUZaSqYiea5gJCJYwf4UqamRJ3Yy4D2t2jd3/1euDl9eNumivXdFqotebQ//F4o9NtDgiV5X5fy
jrJIx0cOKMaNvyoNYrfiezpkq1QHpEBLEZ5uZqK1X9uVN27QjHjgMQ51Nen5NFNc/ua/5O9eG/Uw
HR2E4wihq7/+cspCxkZdWuG+GHZUa+yLMc4+Z07JLaGy7nLFnmxcjOCn2wEkXnNh5QIBKo5XgOzt
smvXRAjxM2/0L5XtfxUjUPfas675WlarpmWmhcc2JLu0/I4jE0qHfjfK4cJMUZaY54Lu4k6h8LnO
wjJZgbU8Qw8UK8Uj5kLLk4sgDL4EwrVO//y2tb9ewkzVtjRNQpWUtqV+uMtHXtgFnpWH+xHS98qM
Q1qLI6JL7AtLEC7X8JNWkH1xwBoH6bIwMrpDf+/fhIlIdmlAs+w3L+nDfUVIk5chGfowlKHg8XGa
MOVuI2uTwZ6c3KmKP16pviW2ZZLuUzL19j5Y+J3XqgddOuaK8AvS0TplWcFb+M0rmX6GP/1M51di
EkNE3dpWxV/m5GFSW0pJThuTUIS4WMF8tAcwTzC8hR3mJa5D0eB7F6PuL71cXWWZn+/qJO8B6sfW
0qjt+xjh3Ro0DaIT3Vxnlv6b12hM38u/vEaIbtLizsfVZPo0f6obNBZTPgvOGJ5q81LWmgSeH0HJ
zx4UqNhfMHyS6ZocbIIpdrn/1W5HgFSdrl6aQQLwT2DYr2DxYNw3ZXjbayRwl4BAQyc560oM9SrQ
vWUmaUo7Y9IeQl25bxq/WGaDXp3odbdT8u1KsfPffvofbgvTp69Jh3s6uCTdUj/+IttBI0HGrIO9
KgbCqGC7+pDQD4HjeKsaGNjCIM8kxS+9qDVY9Rmm/LVrDMkFjlmgynZ30aU7OwqV3/xmPhQMzOmF
6VO5xjIcg7G48+E3g1+wzUbXDvZdCJUDBdyiCrOQe/1wZ6ogBvsQdjGW9RsH9+P0AcL85XEjCEDR
m4RBqMeNzYaHXfUu+n0IAxkJqHuhD3ibsfkRUkbibxfTHZ8Ama3lrdrAIZFWsXZBHDR3Rq8SYzyG
yjNcoD32ygq4a/3SRwJ8+qhBcRTNsROT3tJMiJHI/M2QBd2iziLCfHQfch5s/qPv1C9um4yHqGku
ERpoV2nL/2Md7YDz1M/OGJ56/YKPmlK/H+8kHp9GenKrRDRU6wxZ7MzMd3kh1//807P/5iJg8mWW
YNEkt3Hrw+WY4SruSSySO2LGiHxtIRPTA18Q/60t4sa0zkbSXrsSVZzjAromJS/eIG3NN5ZGBI2G
/gabP4XBqDf30yTa9JPwPDhI9IBV7HEyv2aGAL4rvEc3ltWO37Oz9GRprnSGmYtOArRyatAqBMrJ
DcLJq7wtxVPu3oHfq5g5HTN4zJtylJ+R4VirkFxxgDmui8ETUCRtQIYdOnxzIjkZO03Xh/5AcjEW
le57V9kknHQ4Fj1hE0Ks0sPvMP/p/Jaf/Wq4olpOqc9hvmBgYPEq6e3qyAC1ovhA1t3S3xlFvdMc
FGy5pQAcj+UXcCD6dYoRlVdMR6fMNqMCjVgAjHRyUy7/+T9I+3C/5EfgqHz/VWZujFWtj/9ByCPq
jK5SsFeCulnWaXUVuSml+L6RwEiHbYiUAiEk8hkHHZXap3fQQqMF8QLXPsTqdWzrp0jJ4qURiWqR
VlW9/s0r/DDIml8h93HGG7rD48dJQaDofIloLL+NhYuuvU1cz1tnKvd2B+d/x88M3Piw6VwMVHHJ
+Mcrsi9DwDDZHqBiZrm3EyMRMfbIBOw3r47p/YfrtqPatgOi3sS0JZ0PX/DBqcwKyTffslIXWwzp
cuk13RfyPCMYm7m3JCB7OCiiHpAJBRPNGZxsqC/ebnp+4a3++QUZbzP6X28ljmGotkohVDV4aR9G
pTHtEL0tyMvqjVhfmQSn3gBZ8FaaA1MnVT6zaVP7QQqONvC3Sf4qsfQ8G9mTFnZgK4FefGucaajq
J7tuxEkssleGM83BtTvqLK4Vb/zAOAP5R/TtFzjZuCzSy+VX0WojyTnxg4dH7qL163Ub9d6ZPCim
VPyq9/xXnvAKvGR5Fp6sEC5KVY9nVycduvJa9wJ6T7DxPc9ZjhKZvYXiDiqpj+oP416UlS16BUbB
KB0ujNA+N4wwYJTxOtsSDIVwvqF40NsUKzphMkYvKVp7hybmVKHMqo0pwDOFqncjrZEWt8/Nn/S9
GMdeEmAbd7sl3kNCW9vqO//dWBrDlojdwXkxyjxdx3HJmyJKrnYws6VYZ3aqoUL/dswDphttZfsi
vNMdULOefzLS7oZocndjd/4IwhekosUEmpucox2tvDbXhD9BGLLjDZ08sZe4H4Ot5eGWBWpx4Ib6
RQERdm0geKe/4WE0G+AEAZS5iKfKhUd7batlsKI1pT8EMY7yLkgYzyYwzcZWPCVgthnrIX6R9irH
MXgae8qSiYOIouDuu4NFyh2rAX8jsajTcHatz6O+jQSiR7+lZJ/o34cx0m+aOHy2x6GjDjQoW6cC
Rt0Ts9BQ3cJfYojVZy6C5IAo8qSFBBx3tXsJPgQjVNqSPNZ3/E86SMuRjOwMFwJe6bv1Ordlt+4x
Ei1hifvnXCe22RDpztWFtmV2A4Zb51c9oq7e4ybCqYpCduVnNmIQ1VoNOdSrrleAFiAZKdS+gvJk
PVEDjkG/pNnFEJBnbHU421GjblK7i44M+ukKUqlfJCG4CqbNycZqIuI5zcmNqmT0vVu+y36a1Xur
7F46OERbT7FgjyJIYwQ90P7N8iuKFydhVniP7epgTLmccujuxVjgt5x+09bYrIhOoH9PzWPd0phY
xbl1ELKiLNRV1qokRArlz0kl5fEUWRhP9TDaNFaqrDTI0kv8BMyL86QnC1Zc60Zbb+wUflPUQOIe
UQqsyLeDZekm3kWfgH9ppj9h2UebPuO1WmgHn9QHt9bXb4PuMiW7STbjqtASuBOWjUot1bZMcfR9
FufJyiXK00M0RYHDZIxI/gyNSqOHVhY5G2ouj3QV7HVVESJAehj6kRiGGuSyemc4D1lLwFWpgVwA
j6Bt3ExtT5CV4Vq4/CB9/Z4kkv5BrwCBiQqNP7onF/MCztG+9QAbWNU2cj0X1Q5esdyxNrGBBTLq
b9t0sNAKHHPiMHZSMcet1Ysr0MLeSU2+tWoHQkm44G0iwq/t6UUHlbzSYttZ+oQfLipbYwjGLHkT
GaO/xHGFQMUXGOD7LVJ171IfvgF4W+EB0E5RO0JgDjPYlgLhOahT86im4DbyRvOIKYZgBxzPz8Lw
2PaGWKsKt3Kp+ru6Ql2RWuqR8LOTC8dmTeCteq0Q6qFNbxwpR7eFX1yuRdj0D0CNojVm6QliemT8
qOz8JC2vIA7Ce/EC99GvxwdlVCVyWKkRKgCoBl/wvtHhiQExMR5yG1SzkvntAWCEWnI3DHziOPlZ
bfLKTI+WQUQGeETxmOqetTKMEE2sDp0gUyr1qXAFjIbIOldTn5mpO58TkbEU56pdEGH81TToAVrv
fMs6iB+pJ5DThbW6pOhzU3qavLUUQaljCPUDBqovUBm8LSO1mqHk5QDeloEGU/9i/CxKLj1FA/w6
1ihNuK9JS9WAWeMLvrdqU5hGszcqhdjwseQjTOR1G0H9dWzki0yzmeGk3o72qLZKB5QnPgoy279L
ur68QkVar0QA5CerkZiDx7RdUCQ4RLWu/GrLHteMquX7uOE61ALWuKRM8lljIJOYdXXR+QAUEtpq
caBvx7i4piMZLbLSUFaGNHuu9RURtGFVXcRdD/i/2Rpl95xm4gEaWHqKwlxftZjgNrkAvEcybE5l
/HI+K+I58tphP6yJ7iiJ8zX8jdC+iL7kWtWZ6dKP1a0+AHtvUzU/jZW+N4xErKB5LcAsJxe5Li/m
vHa1ReftaEQQ5P5hDEMoLYOTEb9KhKIGBbFG7lUmVrihdw74Q4KxHbSwh3tt3dC90a58yuF24zTQ
LEGsdiOokMAo1b0mM3XneW2F75wY4A7immMB/ImteNJOQ26g6OpmgoSftBgQ3JSAynPG0FgG4+a5
TijeMGMxFqUTXQKxbsDS8x8cJOqyS+A/UYMqYRfYeNhi3Gx1GhIfaB5TywqPnZ9M6TCdvnENwWki
n7saN8EiyYxb/zvDSO0A7mct1aLch0pGJHXiHKt2l2qGvRMFETV8Y/exr38epU3gB/GFy8i/AClD
4F/CENCQ3KNzmaEBNpp6J9PokDt30mf2IIf6IlEqDWgJt1tVtYjbCMEIMAW1123e6ksjacqDaqVL
KyjJmfJ1MMtDbuw0pHH0J21tI0fnPurli43B6gRFhThLilxNmIPpg/XvRe5wGDsauFhH1mqEY78F
B8w8huRIQkKuYjHJ8rpqmbTfq1oNz9Go3MSCNiFcQGU94JRcARxe5nYLy7Yy9UXSj3BLw3EPcTjb
2vRwFnRT4DMkkPs0tcsJfigfwMR+6RQAnVbvgZykRAzJ0nHN22hqeHAd3/MrAEYpGRmapXsPob7U
Vkpq27vKYF/dE3Ruk7XjBLdBQ5mRnxz2Ti7J2eARhFA7I9blfGtF9bMakHrGnbgfkiuY8zjvLZWy
U7khS7XYkKxqUYWmQVJZDzhIszUtdZOamXttA5WNEtJzrBrtltuDyhp6b9PU+aUBExc4U+ltSky1
oTBvGVKv9MDqjg1aGC9InM3Qjg1lmPjrsHbT5mvulTZ8burilfHk2QilyJffOSK6KymNAH5rPjed
AJHObWDfxbiV25rkZtMguZ64jgo2LsM2PTqUao7sdrThdo75Uh3DgstbKoEvNpMsNDB3ho4/ydbW
SIFg/k9SpsduEmCi+AtWecytmey3O5CukBKwOHhNsBIG9EMtEsaytxNcBMXwkndGT/nWetFE/hB2
JdS3voIFrYSQwBhOuE29GdDCxo76FPjGpiD8aj3BRcMAJi0V1hw4Z0YiT39UZU8oeqd8FnXGf/fw
zNyexKvC2foV0+243zuIRRZ+FMWrJiUiyzWqe58JHMMKGwSds2lb6C4kFXzVLNzBFqq0gZscBRif
6HVKdqG1DXHPLKvCnwwY8iKVoAnJJAlGtMj4d67gHcoR85aCEdm2k2AZ2VBl1SYyl31CSK4rF3WL
lymcUkWiEYQcLLB2wd3ryvC2KOXdocS2wMSpwc4bT8UgmZMD0eSnAsvcso6yY6nE3/R0OMDaHixi
4f4vdWe2GzfTZdlXqRdggcGZNw1UkjkPmiXbN4TlgfPMIIN8+l5M/9X1lYFuoC77wglLSqVyIIMn
ztl77Wp214OesDYqN/Dr3cDlGnJdEn3mXvHsuCW2le7gjM3bQL8B2TJNDuhoMKKrW5eTpleV+sGP
Wfh82jJEsHK6TG32Ix+MsJwqehPyLUH6AgjZEqFJdEcfa/7RyWMRfkM0Vz2Vnn9IWApCJ69Z+tZu
oD4a4x5mykvTwQibkUpfGQFySrRKC+el+0ZxxCV7tBGZJ/4b2SxcOkWFEpmEzH69IZakOnlVNMNX
qyhV1i/vP7jf5f7ln5s1vRP58XpZu/8XD/d28Ozv9/s55cR17H5HEDb/eZ/713Orp+sqtAagVKc/
dxS+7u98pV/+fPmPP7U+9JR7MeiyJIrIOEO2W08Au8jQ/PuRjaExADv+42GxP4U04qs/z+T+PP/x
nP78sX88SuwbRL1nxa4G8bcE96cBKhwaapzFoGd5Lvdf/+v5/eMh/7rPX2/c32/Nn8dZHzaW1Zvf
04ya4aXZbNetQS+Pdt+PD0yFD2OGOmBy1Xe/kAdqVblXWgwiFtLQSetA68wjnf1FJ2XJZkXbZYQ2
BbEYp0c0SrDlyulLmUi8yikJYmQ9wEs/9o2tB+WAFhs2GGqB92kAyz/kK5sJXi2BGgRBCDV+gFn1
r25ZhK0+RWvCccWlzSJ7pSSipMJCvxHmCLYv7yitNKKno+TUe011qZm9O25zcbyyfDT9o3K8fFuZ
bMHYgJD/lwC5cwz9d5/48XOmf3YTkbgGKnfYzSQrRb6ldt6R9DQKErV879ICdyFe7AnGpt6ojZPW
QUu3LzQ9VlPyAwixyKZjIep50036OevMp25e5xBRTf6VugwJQvgUhWc9Lm4AoIytFHKWveN2+8Ry
XiOOFaKWoceRprPtrTHZe9qjNGQb8qrDyiTHdWowV/skkNuYbeNtx44tiIm2DloNQUwb8ab1kcZ0
UwKAsgoE7i8pre6wW9wf3iiNYDB9YM2AppwJyBnNctf4WVCzGSbvxpBMO1TWIJHgejNyG64IJ8zA
NbQUXJPsYHGl1D1jFNalditV6z9o3hEY4ZW+xnddjPsaCE+cE7FU9uyDkgmMtTu8wcUkGM4njavj
3TP9+SuBJ48206R9lxHhNJQQ/aYBXdnUddsIHi092vypMclrdWNyKVQ0P0LVtnlJMZ7pejdiWJwq
m7jLiJiszvwgGaRY8cLJiUynmmdLO93MelDfRvng1dMubm+uHqUXazaJL+Co36jaa/dRaalT3Oeh
WuaM3/WP8MkKSBsqCsyZiAWjnANv0dLDUta7pGqZ5DgWsdYF8Un0HiIxEVvdNcHizN3Rk7Q8EiaZ
M2Ydt8qcTYk6OCRpd6UqE092rxcdDYueNos+JJI9Cu0lTg+NSH/mqqp2pW7+xJoNQWOexAFgrHdL
zDwQI88YnQl0DBfQ1yybR15aT/gSyGHmymRS6DQ0SBkrELho0cSxjJ08yGxbHmRC+vtELJBvhJEm
eWfa9ihSda6I2gq9Ns5eXPXT0nsd0gItlEGVeVjKejvXzrdxhLHQuZ/Z8tItC9lq5LuNqdlfZwgb
Y9ptF5KZNpaxfLctKskqnR6KKnol2PcnUySrc5cgcedjbmunKBl4kmURHUbX04KErJJNE4OI9CPb
JFXGJ60or78osr32ngnKZ6iciK5R+2Bmhlw7Rzia8/wSiXqbdEwEIOJyIe58Vq62OxsY4LfZ8unp
tM4qkndLRAydkVcgVN0Po+/LVbjGp69br32fP63jgVlOiqu2k+7MtH/N+/hi25+6mUR0TYmrX9C1
JGWcBK5ZQVicCcjE/QL5Px4fuoKgwMIoQRrqjTi0rf2tki6LhhXD0LRjYuZSNCPGVMqt2QxfRL7i
CIXaS6CQOgpdSuYXA6Nh+lviqwuUck6j9Put44rfHICIGFVBDZFZ78KddhF1/j7CqwUy0iUsxTQk
uY/zITINDkCkKAnxRZVJg59tMgC3WdCeM4pyW3xSY6ghTs9Eqp8WB0tiCv5QrcPn2Oie/SqDDy3n
98KGt5qn776+xudUzanXMcSmmbjWrtqPi3EyLJ8uqgVbeU5fSRzqAmaKcQgGZU3jsMp9h6Fz2jo1
fDVkSguRYPBTNJIOt7IcXzPaFmab/S4172lVT26GyFLBsljb9Jk4zXaHv49zZC6eypz4J9vQtwwL
TFf8HEyTtAYQjmXcfvhzCcI8Rg0gp/K1wfm5z8rMC7WJHrgfEQyglmY3uRq8r3qhnjGLTWfRTBAQ
ggR/Jp/7+hHFWnzV9FuqZ+9wgZlOmNP3CNkEgDKRB7OcGV0v8Tv64V9GO0P1XltPy+IgHaak6AvD
fTaHZOeaga6IrrJb17z0nAFJp332SIchS3/RuooNC5km13EYSNC1310hT3r7bdYBiptGNLL4zce4
1x71Nm0hOuinZSVOUIa3QeQyO0uiTu61ikjUWKXnVi+/OhR6KKcNCHmkyfbkaYZ48V+XBcBuZEIJ
5gzNMdXw4RBjlZKDkfgT+9mSOSnK8IOejaFTDIRdyeh7QnLnJjeH8SCLNSDC/iZp4O4wgDH6cPc0
Rb+MhCedyaz55SjuK02wPzWbxDTyg74BcLlM9IW9lCMz8e15i68Gjp0gjKEkFK9a6UhwDneT7OEJ
uJBz2ipAl1qHlPmth5c0T/OZ/JZlgkBex9uoHZ4NZwUXW8VrL3eaQ5yTyerJVjVd7VLdscjwHXTJ
usXre+M01MMrfAasgTIn8bOxV4T/qO9Ti4qfS9VJ731oCunMfrAj7jOr3BBHS3Gwh/h35C5HhCru
nlKEZRky+3bpOzYRGO0CnW7iZu1Q4Q0vd37NhVNP4Ahk5aGOx2NTQVEmKZaF04EWF1Y5Qjw7T98i
GplBZYCUM1L1aFjza4WP/9ib6bSDO3i1WL4nZww0LICBG5snrU9Iwlb1Ac/BsLVLwIn5mIT4EJlh
+yuwCQNZlMGGXLkOPom1FugugoBK3liyISWh32QaG+lWFzFZLTYdEJoVHWMYSNpyurTxryotrBBi
k7fNjCZFS5s/Z5JcNwk8PHQVfD+z+klfvGgT0tCFaE5kFKUfcR5/SOI2aBL0FEcCkpJijA4jNFps
aqCu2NuRvzwUoKJbR3PPnEQ/7Tr2mIsQ7D5XgHxb07hpUwnINm5ZGkYQIwI48CleSuvAbodGXd98
K3ultkZNnqRvZ7fWdY4d/PIN1fy06129OjqtufOyw9CM2Slk4wbgGUTA2Tey65yUPha7+RkAEuo5
OCddtyene2Q7k3CR+GakOD3KbUqsBjFzck0BYCQ0+FgSTKysRWO9t/70PNf9e5swzm4T50M2ythp
ywM5F2v+z3DVE0oSqxyuSPjOemw+avAWWwIvNtOQPDic/gED9xv0kZKTvY1Cb+139v1HJJ012cEN
LQUTlZUE6DD7MY4RQUKZWrYAoSVb62o8CWL31PDKnCALYD6XgCSy50U8Dh0ebUugeGoHKG/WHIWE
ntUb2biHRQNNoUlrO6oVZQZzkVK8vUV6k1ztcnqWYqT3WdOPZPIutAc1+C8YbIdTlWbyROuWpnQF
+HibNXRT/nxTYoZqO8RBhlszWCrUtCk1reES25hvscGMSsaaBpM8I5hjwnM3EDUXSquu2cCymT84
ibutF18/3W/cWFPI7yidsmH6c+NAgQwTd2XpS12e3PWmN+qTu+jmoa80TOtSfkHpF22ayjVOU6FR
LA6NCIepT8+T8waokjmBVixfUeduc1O6B4Fz79SoDgWaWV8iTQf/vN5ouv+v/3G5gnZLQyi4fw8c
o63a7JTD9zgNiUsrc/1fNEwMUcUUk/Aq7KO1ps+DaG1P0/0V/tfXpizdkGx7Jq6la8qzLeGaj81g
0vkZ6pOzMAWsUvYPEA6HDIGHF38YeRFtaQnNWRMd73+zIpiQn/2fP5/SfetJtjtgUZ9OtKyzcuNX
S7eTC1mHUk2n/iuD5u6UrD+/30kpFG8KC/tmMUm9gHOieQHyDUIdKjtwGvYfAGbgv6/MAiBzFVdF
uhHdCKVUA2EILrMKqhbgc0WMRFDpIyH0FWUFR8DY0FvkBkBzcVpu3vqiSngZxWYhiSFtovToR+68
px10+PPDdf/OB8mgUH0uMAOYgdmwuVoIKLzOklfCsPtJrfvP+03GpSJUtK02RkeyB/699gRiPkTt
e8ucEg1qM2QhVZzYjDHwBLXewEpHMsO4HPt0toTlMBunlJidDf5o4yt4y4FU6PyAlts+uXn8vXVI
+DChQ8TDQJjvnBO8st7Qzw6FdCmVpxZybRF5dDSGf/3w/r9i/bLzsPA58IdRYzP0TDTQv+baW3NH
9U7wIqMckpvF2sExEiAJ8q12zJlW2vCVa9xXVsAfFfBPB0t0MsJhYdqPXACiJx7t33HNt8kEfCo8
SNn6u1VA2KKvQZdXfwfqAlXLMB4NZX4IQ7zbYwo/MSJwoXSeo3TczYsCd4DVg5r4Vx1TN3+Lbfml
LRmHmmQGMUaoHlxtekKB+d6P0wa5zptyqEDc8bs++vxtAf1Yaz9dy/qO+PJJdQ6bzUZXRDggFfMq
QiZz1qSJlrlhmOXZHBCwU5oB8+oZ9ZWUjKxK8Nfc+ZInC5u69Vv/ddPTj2LoIJNjRbzP/fuF27Z7
LWPPvv7sr7umxXrw3R/y/mNdDu62U9bHX/cb/RF9/f2b9/stve3t9Na61jnhh8hxq0M8w8Fm1EBS
13SF70ur3U+/RAzxQohkQUkA0JtLBbBxS38gN1MPPe1cZpF37nBMb51Cv6qodECkVk/w+R+iztkg
siCbrDVhtsZ8IOWEoXmMnskgZYxja6Q1+exhdVY3EjWYLjHaGNOWsfHQuC+cckL/DRF4eGggoFdq
2tp1B+Eviy6Oe7ImnNNenoSzD/nKLEkWaWeKG7xP2clR2Vn1pbrZq9O1W3t35LQzx2iGzxaZ575G
8tka5YFGgnHQ6vaVbb9LTdfubZu0aXsAu4dGOcQysmwdKV4wBqoDpB+KbgIXXY8aY+ZyvTdxQ3c4
s5K2f1QLMOqeqKIkMo6dnbghCK1un3nqkLBloVREcZ1YLoEwnc5efxC/XVdxjlpz2OdMkjIz+0Ic
FC0aa9m6XPPn6UMX3ngiSOC7SIthZzjOj77wrq7TP5HV9egM8U8Ls+BZT7Qwji+wBce3KYePm/f2
MfPMYNIpfud+P9jeeGQ7+1Z2HpFvNYM6wl1+1r333hpmvGvXQUBfuzfOjrfUT9AbiHgAGuTtvCH5
zPrpC6s9L7E+WqbBXiJJXi1fPbo2Iifm/UuhiGfOOc+GqSF+oIUR6y5yj+Trl/aTfdZ0yTznVTjx
tEWE6oZ4J15xnAwn25oX4g8KUnpi93dTT9G+X64RER8gl80Tc8zS19AFd9HOzpcXi81KaRtiL8oP
07F+uBXR1zZ9wYC52rxdtdAD01jl8nzMKF21VA0h3AyR5Bg1+7QrH2n1UuWyOTeTLeHgB9nLS6WW
emdrFUuENQaWnj5C7fwGuOJxikk2QAxgF2woJyvxwyiKoQX5La1rElfgiWrWutPcgj3Hq+Y8LCbD
qxwliWFDUHUN9RoLhsDQbn5q5gJ0sdXOAH4QJsmrKtVXK6dcTczpMa/dJxJvbtpgP+vT+JEU45cq
Sa6urQ4ZPXs7I3opm8tvnov+bCHy09Q4LaypBh0E3Y16EndI/OQUyQ9qLWItq+QI1ejCQo833fnp
9PVFOtMvJaxfkpE8C/R3VSBo621Mtql8XKqyC8TQDwH2gItbzp9l7/1uEJo3CAn8rtM5O8Wj2f9E
A/M5Cueb8TrIPqO9w0K5tPWPWXd495Nf5PLSPIvsKYhVdktK82u+rK0Ag5lFP77PvqHYE2WIBUDx
d/gc8b4TjtQmXzkuSVfUYftRcN/mWH8foKqFGTph+vD6rl0fB71IR1FP6N6sYKR73YvwcD1AFEF1
Bp3Njnp9g1ZnlQFCPXf0wNcrg9ktfoHCWC6mazKk54nnvd6EujW9Zu0AhGypGPW350QOXweAKIz+
P1Ivz7eSyypBbjT7xsg/d8oIckLHB81+SJTZ7kVFLKQG516hIRfV5IeTUDdzdOiCwUonEGI/AgR2
FIMNNtcPSWxwVX9oVtuQ1ZJrYYZObF+Gmd4VgSNBZ9gENUfJUSfTzGEmRWvN+jHpyHBAJISzJ5LQ
AMYQLrp89Xo86v20WdONVMP4BKP6ptJo/eLkYbXiAMwEBSwv7KB13oGzdNUJH7Opf5Km9j3yPTKB
0Yky3wzm8XGOWXrKBoK/E8okOmlyeJB5dKpj+1AbdL4mY1uX0zsNJtPVfyN+hl/OhMDNn0nWeBmH
5aOZiBT0RUFuX3npCgYgGh/PaKN/FDSwBB48NnCF+WTmWFTcwf8UsLWDdJRJkEzmrk91FDX2GDRV
2u/JxUXl2iMl+R6jpdv4Y/RtmfRxK3geeL6nRHu0IyDA+oKghnmlND9pTZwXG5+SFTU/hoEUIPo6
WdPDaJ1/NRIZGuBEZleuvdeG/j1JnTemFjTRJB3klNSUoW65ZgrvSU9j2LNfIz1SAbusm15q10ws
P7zUf1cxo1AmhQjioGZAC4fS9a51XG1rv/kRJxmtQLJQNQxBu9GLwBTQ2F/TdTeW1X9hmASnPPOa
A1YFbF7jiK7N0Kke1Hw0jPFnNLB/yeXy2Dk6iRdJqYfIZmiWV7912qJcXMenGJ8xyx353Fm7Y5v8
uvQ/MHhTm+UkXhjDcBZjxEGEoB8Q50vZCYxjLaK2OikkVgZK4HL8PscudlC/+4grsuOcXvcfYrqp
G2bJn4KhwAH3U7pNy7o8JqwllsYgAmFCGWo43cJF4/3MIjLmZ0ELdDFgmS30WXUX2PyY6Dd/ldHr
TUTWgn3zlAN2b34xxxylXo28QqDGs6MhY07hbHmV6H7W9pIEzBtR1JzbpectnvCKyGjaE/HbHkw2
YmDvyMgozFiQ9oN8vXbYX2K5F4yf+9+5IJfOR/aU5kQuJIbRhC5axs3SIa3CvT+c0sGzdsprCJoX
/msEie9lyHJaKFY/kofskcEsoeLaQ56eiU57apnnXXzwTxcnbcEqelSNorXriyj9JoyFcfWN4jMe
3eUS4aM4KmZik++2F7neeHU6bJXg48W755yM1Xcyq+JcK1rkhJdW59RkgwivmM4SaslTV0h/t9ow
56IUB/pnhMCgnrvfeDCFNKMMy9b297ntzqe0N9EE0daPnQmCoeQiKixZIkfo6Y9xKbndb8SMck/z
UZpby6PH4N7Z+NPqSkT0uRGDf4G3jFbEUTgLM7JyR1S/RltbF8XFMIBvDUOpVnOgZK+/UKuOL+6x
SfTlxQOChYHDJhhO1qRoD0y/xnLqXgcBVBZXBFVilhl7L+OQiwHIPpn1Wyxr9/H+hROLeSfWGX6t
1ZvRsieL0wBJgWWg6M578qCSJeG66lDNNDrh2yDS/J0DDPuSjNWv3hrSvWl0zqVYcFaJLj04TOgC
p+0XAl4Q/5DqcvNdhWxORhowb2wRxerQt9zJ2i6TMewNg+3ekBG5N42dRWmpMVwvBx4NV7m11Ez5
Z52ey+DflLefzGZ+4VFCIxsOMxf1B+IQRWiNokaGN6rAmRwecx+lqbjEM5e43sgRMxpaw4esyOyw
SHXTEjios9QP0WgeNR+LUUI5UWQiO0s1csEiEc9vn4cFYEOeCnA29Mwx0THEWLQrdEsZegm1uyNR
3iGPgZHccLq7Q3SABr5wkLYzgtHt0HJlSnt+2dRXKvpY7RuHRrzW0Ffs+8ELpxH1BeIBTJTWKUoR
VPZmT61IBldhPdZjdhQ0/qigiGLUjHdPZ+9xN/TKxkoDPe6DCX96MJkSfx4X0C0pIlsBm/uI/eAa
q9a9Jpki1n3oHgiruix9CYTO7b7mo/aT9Po1OLLcyHiVt9QFG4KSNwK9DlvXKD8XFeZjisByQ9LW
gfH7pzXPt2WsXupqzJl5KuLA+9gDLcFGsOayWWFqSV1yers43XoluPhitH7n0dQdBrp5SJzUzc2i
8/pvsbn6Zu4URK3ffiSIxBhrJkCzz14EE25O5wdvIoR1ZP03iXdRc/IVfv9z3WsbJeIIIUuOwmsu
+IwoUyxmZ+SOsVRbADdCBFABuJ+FubG0wtGLP4usR1AL/GCTzvVyzdIfRWX7Rzb7NFCdHvRPNzd7
q0KGSR5uGmiOfc2rlh1xhyU79mmCdfmJxmuPVisb1l4zUIVIZ0bmfKypgsTNTF/aiPIjkfJQxWzY
lim7+FlfbsfSOs9KrpZpX2E4Jm4IeNwhzs2YamZIDqZiZ52V5K6DEtgZ7RSdTKfgrNSL4dkUxiGz
fka5n1CDo7hWjFbPUZY8SnvUjhEzafCZpKmTuHOsEnHuM+WFxDshwCrGclvSI1yPcX0rQV7QHsnb
8wx1rK24YMzKOyay6Y465qvMthj2jMsTVLrHpC2dQ+WTo8K8I71UdqNtwCg+cD1801XzlVNIPyYa
Wk9v6fyjK2JC6ejkGUb9bjCF2juS7PAsm07STp9RFa9uE3WZgf84MiUOGkvVpq+md/gkm8UhP45s
4Z1yaM46hIcl9TACXGdCsizf2rGTtBXtS69jH7AadlQGjALwKG6ElTI7cXyl9PKaR7tbAtVKzD9u
g/u8so5yQUoTP1XNCOlR2mdvjR9DtMxUwv4oUESY9ujhMAF3y90/xSK0XZV79NCZSGxT1YSRP3ze
rfH3d6ysCOXM04cEY1IEuyRd3hr7oBPysGk899zz1oZgX0iCAyO6Ia0r3uRUVijMcX+iEKEPTJPC
s7JL79tPoyRz+O4Bvpv99ImoUIcDPIhsEDWubS8HG0X/rbGe7/fqhg6Fpo+nFUwBYu+KGmRMehRQ
CdAyuO4pm2mECIZHkrXj77FhUBVkHljiHihZS0CcVWVXV2duAhFt3+SeCHzEcdfa701+F7zA0O7u
1kw91j7juXxlr8/MbEkOzF7OucgpNnHT1PlnMsX6QTg0g/tFbHM7/QRSt24sgOHevfZitHbTxAC3
KpEwRZwBTYq6ylmGap9sWR3I1VhRAhjAMWki09MswpCKbyYZCkGCbHRbg4ilDhz4bDDPxe7XgmZc
wA7zNbN4yMJcie5tdCzIBQjRRZ1KjFabHgesdNDMpsWr1UIVjnKsxvRMDlYDB8Sk4iqgGzHKQi0J
lnXb+xGYmPWeLqjHP0tqbrcl6SbR12yMXuNhZqVjhoR8jd2unItw8rXf5jj6ZLtVZTAuTGhyDNQd
1hB0VsGCxEhrjZ+sp6uFLX8UDb04Y4LxJjz+Btj+MEmQQkxGHabZeElt87srWI9y+Cl1QkWtN9h0
Ddb5hPkxckbOBfuBKNgVy28/txwkM8/K6zUQKXjKm2z+Okj2Yk7D1EdL+bCtRt8mc0ZhpKEy6/tw
fWcYRoJ59SjuejB0gULhQYNz7yIuNMvCC6VIPu/Xk6WFIhtXIMMeR8P+kTRsHRqfX7m37zoTTRB3
VdSSqhq/JAufnagJ3quBVYcVIpSUj+9mZA+WMKu906jynPmZOHQYCIBaq12ZsMmF2sQ2tZi0NycZ
1GkS1qHV9dvSO/21W+OEambuJTPTo5tX6rjWwE4xtY+FuQL/Z+urjCfrcaSM1JXRYfgjxdc0xsd8
WCc8S8isrQqnSWWHSjpf+7grzvcbbZTfANvGp1lr7C2Bexcwi3oU0JkbQ8Em5Fwt7kcyachnoRhd
Qaumh2jBCc46+sywfdwvhv7c2IOzYy2xz6aEIlmSe7GoHhh2bx9ar/0GDNkIIIQ+JZJDdJi17eRw
kVwPKn3FOiTS+qK5DBOzYX3/aK+d7BlnmhWdFosmKK/yovwjwx5/v+75ZzW4GwRO+nEgT7wt/D1N
fqLP0PcF6PzCYtK745zjeLrLboUczUAY0BEknx6FASlqlAnTulMzQJdvewYwQ83ojxMxPtZ6+gUC
HqWPi5uB+hHUanNzVYylbAk73D196aI27VKOpUm71VQySBwomgonf7EGu0KG8wuHnRc6JgJswW59
46Id4rk1MzGPLQlODlE3Xsc2iHKJoDUirdr3jso4IP8TAuK6ENFeqYErmD75m1yOo0IDO2x+LtW6
G5Uue/80fRhazn6XuQSze4pbSIYqZXNrVsfSZepPZ23cuuUDIVcLNrS5PehQIqgU0YuQB71nCky9
57May378EBqG64iyzIILQ6nPyHhogqHoTrheUNsSPLO6MrkoOV+0CW2aJfDME7ywvT/hZlHLJqba
0qf4baEQDCldudbDQBFlQQx2Hu0SDgGEKeIXbD0Fs4oFogZkPUrEEh6AqEusaGTiqqOjwLma6jb2
xCqjZ8CCZQiWmhy5zzCMkqqHoUPSMDN1j3XOGC9tklPnJqRA+q9DX3yWFUcTQlrE3kILjXm1nXvj
SyyG95nDCo8SJJV/HYJ6x9A7w/MdW/JVhGPOipXPrI/VrqvaG4xnro/eMRXJF1z0fVhNGNGgQlCW
cKd6cAGjkzVAbIUf0Fv7pWNgp1vmhXrHkh/dymVmTXamK63rOXDBwQQpyk87RmSCPqDfrG3vwMPq
Ispn9vE3LcYg6AoEc+t6Nfa7EVEEmn3W535mw5dzd6uj5MMgQqvSyD7hdF/vLXVsJOamZBePTKKm
BZfNhLA5F3ftU7K0L7uoWSkXefnYuPKasshstPJzELLFRsyraXSi0kgza63lUEY9uUK0z0mo5HP8
sybK6aSRmLbzp+yzYGgVtCZmmYKACWM0IZsjoLAnPyB7uw+9+YE9SXJrmUIRQyvnj3FMWtwidbwj
K4lQUjyH+gRHuzblr5SGzqFVtv7o1fovpV5ivza+0ahA8VwtyyW1nOxgmwtxUZjVQ40GVa3rUFfb
+pjahryaajyWI5s/X1jGdaTGKYsFnXU9R3v4eJwnEYSUCvkm2n4OZ8CazqZ1izV/qgjTDvasp1Wf
diUAeBScj+sR0gn5Y/DnN8OorjAFblMNDiTqxgxJZHTUO+tI75tNjiRPnIZyOK1Hj623LFJUifq6
Eig/5zLLomIWmskpxRlHktW3Rc4nt8Dn7Fj5x7oecp6gOiCKIEk/Ezd6rfP2iVy9L8Oc/CwK55BM
JFbhZSMB0LMDRDMjH6n70lJemxMdQhN8a9gDvoT4xknUKv5QX9PYW+zVClk2DzGRu1h9Obwbyg58
t8NmmWm+6azIftGlYeEe7hfsiL2tbpwxzZGgFNtFmDHwgC06no3O+2x075hbPu5A45gIslibofkR
9cTOCg4uXdqvymNObhHQHoWwlOdN1bJEz4iAl4qLrzdyaFsMUrj4ZZ8OZmpSvP3Deu4aWQ/VmqcD
p/hVDSx3nQ7oW9OGm9SpFeVaTigz2lktbmWvfohA0Ad6hVu6p9Vtx9YNwHO/uT/zbsSlnTnzQ+tp
L3Ikk5GAb16yzX7QvxmrN5gsWxSQLvbNwWeRS/BaKffW5hz+dxDV/XSJM3+DQeKqoZ2mt8jnC2w/
lKCdA7thWYoQx2PYeHfWb3M+qM3YmcSdsFrW+GvDEvBHLfxgnq2b1ha8C5bbsYDp0e/UWqr9+n19
RmpF6eqFxYhUCMlQF7V8khYT0/lqTZEM739rvW/PAgceaVPHDcycdbvTuLoRgB+sNjK94ohau/Rc
dJKKTHoCuNBQ0Q6pQA0PDottIzkoPDxNhUM0ONXSuvEqPo3SPHW5h31s5WRlaXUoXDqKUbwK7Bxe
9uJn83Yuz7YHnwpUHrWftlwJePlhN+xUopLrc0IL2k0aH3S+7mypfN5HP9pqHZs7jn6yGLEM3K25
3hAxQDfWTiEpqVFOlGXPVrwsKBFczwcFmzgMdzBkaJP50hp2ukHetqbKdmu7ghgVja3Aetnk4Kjx
pC97LBradmlxn+W4Nqr2W80nt81y/63HWCNS7SntASilJIuzA5FsGSFvRZ2l70VLcHfU9y/WJN+H
dZdFAtx5GM0ZBwWXaU9nXJ5Mjxne7rBY0s/J4KQnWWIv/YUdW05Z2+LiwIDUHWIk/mgsFyQli0/L
eD0epzsfqR4tnu3v+9qNl45Gg0DBrurDOFQzdSMfmTLNF69tsps7W7+K8hOMmfrCGFSf3QsuOoT4
BZpenMxHM0/nUyu6HPez5Ye2mzUBsob8IaP3QOJOQxPGcUEXlSTniNp7YZwTVFNihDzEDqMw8iDc
d4Iz6GhlxXby1Vsu5yT0uxwRztwz4teHNKB5OIVIerb6JGBQLqxYhju/eiaaKE5+3Bojo5XWXw5j
3z8KnuM5cxGyzXZ3JIa53XXzQ0/Ha0G35GXRu1+J7thgy0GH4+zHGNfg0sDTgBkh0jTHaup3u8GU
XGNjCiDMDXXgJcDuVTs8gj3C1DLnxbMwUd7ULN8YaUZEfYbMrj07+MCkiVdpevWo2C0+Lwg4JXqS
P0if/xFU8PZ9HH61/50h+N8xhP8rfPmP13/7XXf/dn3Zvf4/7/n/FaHQAqfyfwcU/keXoiz6C0+4
/sq/6IRC92EQ6sKyiZInK3eF8PyLTiiEBbnQIj7CFYYHmgOywX/SCd1/13UPdhlMFBdqyz/ohKb4
d2bAHpdfE2KEL7z/EZzQMf+Cw+igfVwTPAzDQZ6QZf6Fkipbl1y6HIuXB34JivSwnO43SuXLSaTG
cjIWVaO4i5F73AVNLcIfUj24uf9vvUmX4qManHg3Id0sGN8n4yn639Sd2XajXJptn4gasGHT3Eqo
t2S5Dds3DIfjN33f8/Q1wZm/I6Mqc5y6PDcaCCEkWzR7f99aczljB76HJUYDaZ2SnT27bNpZdLMs
LQ/9/HRZZy3GmWWlUsZ0twUduiGKtn4+PgZ5hxHG0dLsqGbU515U+owiaPBU23p2/H7Q6hqH6fI8
BSSNE8dIfyAQRwQ8u2OY/GbHwJq9O+bizpGlmXHFUASknxAJyfwgSkRxTOpnhMH3okicjzAW9cav
M3pQy8tdN/X/2DJKM3rtScwgNOoo5Jv0EmmMzv8xe0zKfWwgcLNNfBTLuq+Xe7w8NRokFKqzWkXO
ApZmEar8/TRZdCiZEuAQoLw0K4GyKcbAsizi7aP5uCwuD9iVm6M9lAYR3BlXFcSywTqf//LvB82c
/3xfs7FxMfTPiLrFk6WlhUU5YMiPQQFN0eoi6gl2TUQTIwBTy/bL6mWD7636SjzLHtIihnh8c2V5
TwpBdYRMXJORzZL29xJYNaTDf7wMRNpDK69H6VYZNLpEbX2MUVhyCM3vXp6Lbv5H/vbS995/2ydB
l/O7mrJEKT/7yf/104uvl/9euezj65OWxe/vubwxLXbFyLEWK7FgeGxrX0uK0YijLhNa1cvi8vLy
UE7Jm22oOI7nd3w/pH8/laUy7rM8+trie/33trLWSEkmgVPR8HZmNv95ihc8fi0vq78frPlY+Xp9
Wfm/Pv9tV8tiWPbRNpb64/dblqWv/fy5i98+938sRs4vnbnN4c9P+G1PiYnmWQO9sP7t3b+9/h++
/G9v+G3x+0v/9tb/9fVlyz+/2p9bhuBPgGnqWwtt4FrYnPnfh/ey9G/XfZ0Xf74c4rfb/7ESnfA/
zqjRStq5isYZ9v1Q1HmFxmVC7LwyqsHcCS5p3+/53vCP3S4vmNNdEBbysGgeEx/x6rKkZVxKvp/+
sQ7DFsLJRRj6PxaXTZeXlqXlYdnRssvvp1KZNW/L8y8d5rIoF4Xpf/70ZcPlYfkYaQSPStsn22WV
iAnFeVkWuyjo1A3zI40iC+O6RC2OprSLI8UNpo5Rm5THZeXyYCfCIHVheWnZalnb4PWfkIGWzJDK
qHeNRom60/IS0lBzelgWVcwy+e1vuxGmT8+/0NBixD5y4q99KbCsolNFfjEulVwiSdbODoJ+sFHD
z7AyXr2pQNJFtFkWkO07VO3PODHIjWiQlXfJr5EAi5TYrA3md7DQRSbWvR2eiiRHEzvMXlrmnOlR
t/wPyindFg/ZRHtZIwCoKq3Nb9/y688YDfrjIxV2HDmzd3W+ji9uzOXpv133bcv82mS+Myzv/bdP
8StiEf9j1/8Pu9Ft2e4Mw94ve/7Navq1uKxddmMv9/3lA/7tN6GsB1l1zHe/fxuiu7eFGO+L5U6m
SpkenXRIj8tSM/9l3+v+3Ob75e9tvtcRx2XCzvnXXfyxWwF8gn7F/Knfu/i/fczybb8/5Xs3yzon
il8JyM2OBJOhOJ5vXWK+my5Ly7rlKXfwK5mb4/Z7PU0iLHjLJl+Ly0vRcl9d3vPHHpen6XKHXF7+
2nJ50zR/7LL09fr38699BgbmaoWaCf4mJm65cpGikCdNfQsGJT3R87jJERMxuqBFPOB329Vqj6OG
Eek2xoSY2zHNUygR6EJMMr2C4mfcmRPVNCod3J/p5AQWsgtJg7pKU/pozjyBRPA5l/bi2H7TDT92
ixBx+JuJIVSLi5Rk01Kscw+YpGHdjxkTW19Fma7U5UcEmMmFM0G7T7/Ypj9daSnt6mKwj3FFlmES
lo9UiIwdAraXJFQ+opTYt1FrHewE8uL3pINEYgIP9INeAxiJ0HE2skcGFwc7o83XbaJCfUww55jN
uMG5/xF7EDPG3twDWiEnyOs3gRFvgVvWlGiSHjCSsS/i8kpg0WecYRRhxoG+zjRvmCIgy+sdbFVx
/D4mlCukHaNlYUTu2ih1E6H+SPV4uKRhcUNVhdgmZNQjhbKOHI6DLLcO+OJ1mZfOBqXnsIGCFq+R
ndwjOaLm71Ofee8g7LiUq9H7Kqq2NfIwugnhKKATeLfQRmy0/lWtHyBzX0tD0oLb5ymV08Kar3My
2E14WFbF2DGaDFVEmzY6gtaL6KdP+InvDBPfptly9NKDAOWZYxiy87e8x9NhN77CZdHTV2OgA1n6
RQKXfkw9lLYJgCQ0yCM2GfMmC8tXKb3BbW0IR+OdD3QJH9EpKoZPYs6zo1JW3gr3cMtvUTRbVJZI
EYMRrmIWUEYfeTUeq3M2xse+4aJaqno2z8nXacuc2SalgKaF8xFpeQAbSdg3o566jglISjo5tluL
/KvgzquqlLYmRrDSoCpUFM1O89Sd4Utro6/NhLpGJMNi24b8WebUH1AfvWLijm67tpju2hf7QUUb
AECE3BVZK38pwR5HWrGdVfa5Qyod8amrBNv5up70q5401NS2uOLxUDp0/Ro5GLhx23VXBOjesyqD
hNajfjV0NIxJfSiBWa0g3AZuaVfWjPmkNxhas6qWNhASRWzPr37cfhakB7p62bTk9912KsCMcazl
rYRala+72PEuhd6YJxv1xegkNA6LXyCfvG3vJAjdaCGUuK3XTasdnbr4zErjihxX2xYFh8OGMPJ6
Y0xhsXPiKwS3jnAsgYqGzigw6CQF8VI4bop2B5QXt2gzYWZjgA4iLRhvAO3Ve4QzNV0X2roGaplV
1L8203BnNma1qcOJW6Voj8s7RpwlbqCO5yyvr5nnF6+2TPahNmF3tbYp50cdp9Uc/UBjdm6vZNCk
kHmfTAKyXY/ef6y26dVBllPmo3YSESFX/D3+xvC1j0FWycbrQQpIfyyuQ2YSdOGM+yrBe18gAR+G
pL0rOKvWbZjSEG5ygCJamF5H/AMrA1oAzVz7aeo77uGVCowQJBi2TV/bldJ4FC3BPGXUPFR6YCO8
OaZTGBmrEco97VXJhIwhdBn79Vm1j2kQyB1EwevQM/3rkLZv8lw+BQp5kxVm3K6P88NgTKuurbU1
XI56U9jNdoq6d4pw9WroUXPXnPhAqIBakv+ZNqLaSMXbtdIftpiVwUW0xZPS1hbyAN248cqOrOTx
TWcwYhIdwvW0SNaKnXN1q9hB2FVy42OTq0GAalhHOBoP6DJWyFXcUXJJkBUKcXgxP3Lyp3WCEKif
+xWYufpc9g4FUXgw2BpVn2q5RuI4BUCaXmiMo35f8OOuRBf8NXVEEefBOeymvRkND15WXmuvICWs
IWBWKa1toZFk0BAIh7O+eczxIbm45So6+EmwwyXy0Oka/sPQOWShDTNFGcZrj14H25Gy62IuukGQ
xNsmlTbJB2gVoDdsG0+02zyddn7SbMpyuNDAeqGeChE/hk6SojTN8+nVHTNxX1rFM2cf9foKe1+P
IBrkFkVux9vmPRSTMcbf5KObjUS5Q8hML2jMqICm/lPIaYov+13LtYECCjg+rQRWSuHpYfCc2LW6
wF6PTXDoItrBJNffAEJ5JI+QIYrT3aiSvrOH4kyg2ph9o6mX2CutSh8g/dGnJDBtrWQx8C412WHw
lA+EInedLU7trVkil+85wTjT9F2JS3VlOzMfomiRiDknMXb0GahDbnzzrpvAgIUF52RP9ZiSsyIO
g7zabXMph7hyS1SPDFlbG85qfIibH8jt4zW3RtXjctc08RsTBJBEOHicBk1z7rUcHyYIHzgc1a4h
l3zDSPpAE8RtxVhfY0SiaIiiu9iXkP+ohk90BE5hHnguJ57b4ihb96Xdr40wOuvTjrhBgFldiw/X
MiCDeM+TOeZrY3CeR6FOGyMhozdpwdqM3nuFQKgTGXqBmKJrFpt/pVWiuNYwIgrJ/BmDaOJtKQCj
DCGZfB64gcQ6CRMfslHOYJ3B0cB4ljEhcyHBT6Z4LW2wB06VAuOxWVXRPNqPllIwhc9fqailh6lj
RAT2catI82noxq2ppU/ZNOBysOlB+PzCFjTYVeBMN6VtNMzW68esNSq8z5NYEy11iUFKbLoRz1yp
gdOubeI1p97HWhbdVvdqI4aLTV6pFQ0N/UJrayHLw25mNm7TvXdtSC60MbihSWYxqA1uNwK2Rawe
y7jJNhXlC0KAxn3YGnB3ovDZw6xzBEx8sVrjp9EN20Cb/KNqI+KTlkOPW62202heCIQk4iAkCt4c
Ebryny607pJnYBHHgitf36y1ooEEQUNlpdvhL7ATCKsNBgp1mJCCrhq5W+VFRbPDUUDDFzvMxY8I
uwm1N/yj6UMXqLX+nEVhR4tRtBujzy5tQOvF12kOjWr+UDNyKAnTBZbVXB29rFY+moikEcUtLOpn
UaknIucHsxVcz2aKLqp1l5DptIwf2li7YSN+Nv1ukKS9T6l/Q6f3Z9HzUQirtpkKFYw4giMKsvJG
E8G9MSQdx2iz7aMAfeCz2cfHUQyfSFxgf1mKgGyvHZC+DWvdwGsXGQAZUrqA6+FTn6Xqaon2T1jG
k+0EFvLR4OJ1M57CVjTatR3dxIyGXJvR+gnjzDuUDKHVKr8p0DRvwL/Xe3BQ0BaBlSj6oUV2DgHy
xuIT1xMqkHWoJbVrlLp6KMFDTLmh77nGYUJ2yO/Nonvb6D5mTYKB2GsV2vzjAhIVo1apGPm0J4zI
JnVe81QW+ywZMVrqquvXB+KWtVPj0M+rYQkkACUKARHbAb+9Y/qwFsZbDwTnttbmSyf60p05DGA9
uo8M7JNvIgYrYw+nBI1PeHtM63Z5XexG3zCZuKT3g4EhU8mKs6+r9wKKhaur2YNs218kasVrtVBX
0Gheksgp0KwG4kYxyo0aihaS40BbDPFjHkTBicCLS0wZepiARBjaSxUGDqbH0qRTVuBarhhumaAq
bchlbe44pIJy3KIuXBt6beywSa81SQJLXfb0ftS3rhnfsE5sfbh2K03P71PHDndJk9L7lZASk2lE
sAWSRfUmi/4kebdqJ24js7omPjfjgGR4cKfRuYg6wPG/Kltcql6YP/TMWicgcBXG26RaUFSO/hon
CG4N6ar0jyUOezlxjNIKVSyDigm6QIZoyqq34Vohx2zdstc4+VCLYJVkZHIHRDLHOYD7vWAfeVNR
6fYIuIoUUweJ520aLaHS0EfFqlXjE/hpn/yfadP74xk0NpkWfvIDcbkP42OKwaTLi6Be8dTkJ4Tj
8ZrTi9EBIeAIkSh3DA1CmDh4b8fwUfXxx8PH+RSNdmM5nXbQxu7T9J8ox8fbvh4/+3TQn2UAWTNW
inlgOeibXrPAmuV1e8Y2pQlnjyTvpMBFKRoy2ZxW9Xe2ck6d/qcz1vGZytEWJZ1x1Ib6TIxYuSbt
9YDVCkZRnb3LvIaD0UwSbe3BRPGxs5z2r8IGOIABOlDDj06gRy0Nk6KNExpo9dtDkDS/8DFBKh+G
kz1KlA8idDWivcABOh8mkbV5hOOmcs7SqnEbool1Zvm559/ZVfycw/brNfsJlwNqDCbJSGrHR9rb
/Krtk+YP7MxDIWKp8aVT6xuu0mihsGoD/9+A5HlG0/we5P2NQszzmHfJGpbfqoCKd4HsV6/iRsM3
IGZCsMNPpmh3VRMD8Iikdy0mbIuldzIUgo5Wy6oemUg1JPH5a51mIbed8h5U1d/v8oUXuGlFGnYx
r1te6Cb9vZmswS2bDi3M9FCXD3Vi9Nde63cERYCCprkK+DvG7YxyjC/iPylF5ysrj1FsVLbAHDv8
ElBDiAEAty6TS6cN/h2GBf8Oj/MdOXl2luYny+/ldXmgHEnjGSvxVuTWP9YR7VniSQk45f9e1052
tBIG2FCkDqvclt4tAGjvtuVgLKzyykkhuOQ3hASkmJan+YHSLN5w6MmAb3gKyku/RoBrbvsWycjf
my3ra9P4gWYJxOe83kbYeU2KAYN3X+eb720BqIhD7UsQI/Mmv72gI0Ng+PK9Rgp0pIjRs8PyAcsL
XoA03Gl0ZIJV4S6rlhfDWM1O0hwfllUyLcKLZeEzxe90R60wt8iwazQtvOvL4XOYdTm9NqO7ouRm
GKRxXR7sifMqb0y5/V6XjNgSUDEn6xieibIqKLvc6ApMBBnLazg/LBu3oUk7h5Sikei5dZbZ6EQA
ZcP5lQW4qeV5lU+0ukH64CGbXw8KrCnCHK5QOm4nwoc23VT2nDutcXWcWLmV4cmfn+hMb74emFq9
thE+ltFI2EPiT4QIZTo3h7+3G+Ac75NJBdc/rwMzap78NLymRdpeinx0v46oqQj99QAdxUnSGsxp
6t+RcuzfiSh/IN1wOC2bLQ9mObtn7KzYL0+XbTU7I0OgJDFmedeyToyCRGzSVJN2IG1Q9Z1rkunO
FQbDdNT19o3oAOe6rBdW2qH8ilZeBGVrtWzmteOhsERwXrZgFnhVQ02nbMPxl49hs1d8x7yWBf6c
IguApsKAcZljWdflBa2JarSvIOGWp8sL6I2NS5lg+Y9i4pkaJ2i2darDep+FEXEnUbSyz2XboESR
5cQArhNRRlt7jHxcZF4wZxqj0DII1NEtL8O92JQe7g6qb3UJP7qdHwwMqgdqStkqgOnwFbLyf1IS
/H/V/Jfkgv2n5n/8ntXv9b+GE87v+Wc2ofNfpiENUApkb5BQYNF9/0f3n2xCUzPJPhFkAkpU7wgD
/tn9N/9LEgdBuKej69LR53f9I5twji3UNLa2WT037f9P7X8BnOFf0xM0chE1VZ8lCJqUhjT/iGCB
+ySMQrTGQSa2TWEGcY2f1oRey+cE6P2MvKZ0ZBp0JbYWji9dMw+mU71aQ4nJhKr93udaZZvpa+0k
Adh1G+oRIz/mqf6Tw5UJM2t40KcWuI4emsdgRgv4Z/RtwyYSaedGwA6pOlg/wOkPO0eJqI4iqQbk
d2x86oLSms5uYEfDVgHdtUq0UW4BQMSb0NPXRaz9tIe1F3EnBUiKEinFU9JYzClS0IxUqazPuNPN
hzqEaCYMF+FMcJtIb5/UDUO2lqlw4Yy0dgYVsjc+Y34WzGWqqW6sMbgCChaHRGVWlL4dgIs+Meym
Klbao9uWVKi6ybikhIdcI0hlGOmQQdV3gdk3N4odweS1mAnmeezs8wSoSBwdwjwKr5OEgtY7xToX
0XAr81tUHvm2iYjdAa6kMXgm+9lIscRi4fsrk9ZfnqXDP6jyF4dsYphEWXbqp9M4TZKRX6aCiuq8
1UXr6v5AyGNBuvYpqBgTdeWsQ9B3VjQ+96l4SBn5uVka/HCmMgL9HxvbMVVALevcLaf+ExTrbVN5
1yRicF6qMbXNWSYYdgX0iTTdx21onMweqkSJidVyUCBNjI77VhQILbQfXh6HmyZTK2SC3tbzwy01
gJIYuG6blkoO/RIyVt7Ls9RgH5Q+oRD2sct1KN7UBVdDAr1GrwZ/p82uHBUlJZ0AzNO+dB4LmUmU
b5CVwnksbhbRfuqzt1zFGV1Xh5nhVNmot8vUmS4evqkVbOfJ5W4UHkanvgi/PNJTMdDVBfQr1Oyt
VPZOWfhPdbSzMuCGfvaBUX3dBsM9IbYZ1819m6WoSeTwFqDThc6tgdc2KP2oGiMH/zCawPca034h
OK4l+QTTbeNov5QyfKKs7DnFY5XYiCkSnPG6Zr2TU/Jq2IwlzZZfF3fru9VRJfL7OKMWiYg3VBRr
n/rinGKnoITseSeqIXHB7VjEJuX0hpoJ8o5XcMl/TYKEM5EzG9YLzDeUGRrKjUlSuNHUdDjjQbD1
qf/eCV8eYu+qRP6wQaH6EuliL1JzN4rG7UvEhoTBOffcyPa68pecAvW+HuRHB7JrF8N/j7L6lxdQ
LgU8GfAPFXd1bz8kQadvnnMc1tuMb71qsbmv0ADjXjWvmO7XTD60GsaJYqEVLGMEtQY1AD3Kc9ej
K6LV2HDoD/JLNutS6G9UAqJNR7V1nTvmViuqtaXFlAQQ9KI3zFd9dp+bfbczpw4pXRs+B22E8NSg
5sYJHYjkuVCN1zyx1gHx9n7oo+2EDqlu+rw/8zflfXzWQvs+4oxrbPtGhuLiVRZjSdJ915kDs3Do
mGgmfbUTQAMUWzl0CQ0MxaEY3K/Hso32g1G2qwFggZho/gZkIIiOm/8I57VEVrQZk/DRV4IOM09/
9nFgr9JMAwNYAoHTZuNKn/WfkCqGFZzuV9BTCAJRwChVdLQV4w1Fc3AxqurgvZbmwBB7CMwjmQX0
TcJ2Hw5YpLRGflI5s1ciGbyTf28XHgogr4TMJI6WsH4lGaUK6EWQDVNYuLJJ17lvBBvVL2PGMujG
vYRWYoVh2vFf4lk/xT2Aw9ywbWTBlQQvbb32GTizQacVnkT9ofDBQvSefo5QjfPX4HfVOUD1bjj7
osF1PyuTBcPGvcVUFILg3NHutIhrGTnxaTi89SNpair1dKavP43wXMmKpDS8XwDT8MEWmUsKUrqt
4L3v+NUGZ0q2aRvd6nGZQOSOMgRbdUXXIFL2NgJaDRv9IcpmBhXQ257YhlWFxekGWMicE+Xt46TE
M/0rHyxcyf0sILbxrJr5akpU3BqxsNdlAsKzaEkcNB371Pb+vWhyhUks4mHmzWtV0ipUzpDdGJ6h
hFqHTNb8QjOPVkq3H355shskR0Y+3GAgOAe2LzYThmhyB6twO+iRsmvGcaM5hsEBHShrLchRp/eB
v0X+/OzJDBiOAMIW1OGGoC4aCh2xIwr5RC6OdrpiVQItRyjvg5aIPVVEbrF0BTdOk90SLvpKc8e+
cfrmMtDjI+xxeFFoQB6G9kUhSWoNxTx384x6kopDllaJTXciBmAc35JZYZy4GHBRzhhGhqLfSfpb
69rkioc8vBriXTRWzqarhsZNdPls5/7zzNjbYNEk/USmBBpJtMBw4IptONomNIVLYgp91yex7/am
ArzLj9+LsH+K8mp6nux9bTiYznQG7CLedHqPezZq0czw/2kooHDMMEsDEmsMJRFqU7KRzhGDSEn5
1zqbucId0QzRhen7KuMBc+C+D/vQHTTnuTMD6Do2/TKSa/FDqobOTKzobigs81UBxrl4t6i26RKw
KpddTOsJ3AyPT6UEyh2oAxH/TD05d03P8dxiYsNiUiDcxzSnPHHMYlzpmbg1G76jwoUEb12o7MO5
p6w01dksm1WCw/JuTM03GssTx2R/mELNOUm/d4ccV0BFI8SrOJFz6vFa0QZnLzJvwjFt0DyDtFLz
PbHloduH5TucBmwjp8ybLbeF8enoWEzx8iMkASVf4lfyc665MJiG3gFqGdKWapXgFgV8csYdnCHP
x66jn72JAIWwNQ8k6eEk4B8KHnavTt5fToMzRRrrSuZUrfp4HwCP84YkpZXeI2a3xqu8bUcOvFgr
30w1ptLdc4OmwLkijarHLlRMMNUGfv043AkOOPT7FdcW4ycUkNhFwv0CLrGGbIaZrIWIM71YavM2
5kZ6o3r2NWf0dkrwPG77wfBPtPrfQEIV21JYjID6+DFSSJ625rt263vlwVZV5xjxD7RIpN9Yfu3h
ZaxfJkVXYVkXZ0sbaCD4j8yKAgLoAajGuKxGucu7+gCc+N2g4O/WcEqoBKL1USwuVnVYR3tLnQ62
4dwJ4RDEnTASxGXyYwzJfrTqOSORAgsVW3zpcCUHBjoUmPxGHKKKaq3Xat7aC+zYFQGmXqccDlMv
oe00gQ3WwTvYxICu82lizAT0/cAokGAK+zDo/OrxqHCI6mh6ulR3nS4kcaeeQreRGgBtEsBdHxwf
JBhsCPhgKT0G70kc9KhAqy1JTxfuS8PGyvXR9S2z4YjkAAWF/GP2HEztI2hG1P91r57x3HhBZG07
yLuu4YsXaZXFJoMda9v45pcxV6zAjUZEcbBhU2FeA4NP+lORQxaGwp7a5k2hW9Ghxxq4Gok6Wk/w
YTcVUD8kxnRrpR66eBQN1wN04wW3Tt/53MFGvlKp3k9JsW+86p4IM38tJw3cXU0sEj9CxdSz1fQf
GEbHgxYVxTbKwI+quslQooeb2pWYjlqn25N9tJOOFC5+onSdDqazGWH7HUys7/H0kjB22XVR1Lhi
qLqzNVlvWlr+BHVculXm/wQxuBGdBy0ksrPdMDc+gaifxtafjSvSWqei+9Rq38KTR9EH0yVl6d7C
41FiApO5wXCToSZ9lNeOiJ4LSYR68T5i4ihz/ZwKxFxhQpUqaPWXkr5OGzeGa0TNsUhC+tqDvWWI
aNNxpqcPxq2Kim0NXv0giM5hMtSqLpFl9xY1SDdJqwiLaH6U9fAYdwWg8oLeimwIEq0Ge8Z3UKSu
IMpCnI/v65zLu1Sih8nqJD7TZqTZxhA8FdF7qKq3VHsZbuI1jC2ceQn2x8FEXpsdrF+25W+k2oI4
VDLOk8qlmzuzZbtTnv6aAkdZyQ4lgmnbJ2au6uPYHxA7rIiArLZhXn8wVnpjpJcNyFSwd7Qb0skA
0qpg8yCmbJoB8q8AJ5ML31s1Zk5HkibYSpjlpiMIdMth7aWURlWmLdBkRrgecJS01jzjACGjvfc+
JrPPtwh6Vq2V6ZsM8uS6rrdJYxPa5dFIIdM96Kytrelo7IKAwVfS3BoGshksilziMAfFuXKKOQEP
lS5ug1YiaImaH3YQoAToIjCwQK4ipaCdiBQjLc1uJWXWuXXbn5AvOHftGJ2VwGkPg0WvzrfRxrQ9
NumKeKVC/0z05KEruZSa2tkOKNjCBzTXUe5skli99eutChdgZ3g1WTwF05hKtzfU/w/dWN2QAXoA
9hPu7FJ/9q1ZZdH2+c5MCHznHgqTzISXeDLFLX5QboUqYuRswCpfqTRKqb77UvnQ853azPjtGggC
2gdKhhzIW8Pz3EqpiVdRfka9Fq2oBfgrL+cOJ3XGJEx26LNZQbAVqn80NjDjqEwGRzvJDbofJXRi
qJE4U4k4CRiIrWNkV3YNfqDMcPwZKdRtbqefJHVfgtraYlpyQAGCFyxG5xUY8g9N9ZoHCtP3JHox
7S/2JCyRMuM/WRm/XBzSpPSZsmcjc5Py3iiYzTsT6XUWKCnXL4gVVIt3LUbUZYYxcJqaUVY0kX5g
tMY6yeNHx+pukGMRVt8aj4oTlCuiQLYjMoxWfYwiDKbDkPEvRfsQaLSG2pAoqhTYqGOXzyOMRkTn
TbHxQ/lTqeVTEYGqrsWLI1Pc+1HFfY9hFDm0MgDv0Pfk0WsUIUmIMd0uMY9xjK6hrUd9FUhjq0NI
Wnf5a0MWARxstduK/q0Pg/yUcykIM9veRYF4sCkvJqpRPMIv71QIyqFJb6ZSr2ptW243NdzzyAeA
kgSNvEbKH31kfvAjskt5Q0rmeVJGe8X9ctA+UaO+Qd85YpDeGtUEz3uGQgria/C6ibWntTfggce1
IjmHAwhAGt8RIQ2M7AkFByUIDxb4NZvb9GNyg/mXYIEeb5ba/2qzT9E7QCd6gDZqCzBMxqh6evIP
hpnMRiwMKr4e9FljbTNz0Dapjzu2zi/4qbw7D3QuMr4KzK1Ow4VgWRBXZ8T/G2Zv2OBmBzbAp/vE
q7w9Pg3COZhV2qXK9HRs+/0I3jpPmpvGgAKGid5xa6I4LFt9FCBTD7Y+/Ugtko9iD8YEF5fcI0sO
ccu+YcQDWARSWE/jhshxb1XZxcWbxyW+x7xJT7KzJpH7NfaocT1Vn/E4PlU6Z5rZPJulTZiVKT4w
8bKCTCsSmW56SN+rlmI9cJNhI4V/piD92KlcosK5o9u1nJspEdABJfAsoCyzjhL/IZmdFgDXz01J
aagpxp7DSRX32RS+QDqq77UARE+U9e+T3PV1VBwsXX8x9WF9bpzmIZygj5Ejyy/KBSwkQa8BRXus
kQZMX4vL8yj9hQIjn8Nko32pTJuiwjGyPGhzWCTn3G55tui6SxgUO9vwrkIFt5ta6sEj8uQoEvip
Xqve4sVG5Jq2hzo1tIM322/kaBMQsyyS57RrqL3t8MVyJYvb/TKZtCvDIRBt0NeBWXd3AQK1sew/
M2JQcdCi4PJFcK0t8dzOUfSF3WV74vGYHdPtbrgif/TK1Qxk+7NPigPQAxP1MenuNUv4bc2KEkc/
INyBk5vOGCdcpvw//erDtIaDqUwULGQ7e8zlhv90ttFS7C6aiG/n0xVhRTxulAfVgmKkqsTEeNYZ
sg1jyDFu3dAvDmrTUgSCg5N6KprNZrz3lHxgcLJZGD2KLD+4FNFL1WGp2+kx7pM3s+8vua/0bg5C
AsXNRVinKjSeet2Od1OIwgDRCrZwDu3Cnln1SEhV9Y3uPNqDtgPwlmD/HW1xnzi2IIu9eOX2gI62
OZagz1fgE6Ydiag3XpExolNiYtzJMXGtxL7EjfnqFOKloG9eFpAJGSB+tINTYsRELJMCSjK1dheV
/riqO7Cx6AopgBXINE0XgU6oXlsH+iugCRS8hCqh+luJTCtWRVljzYSHLZPsYVI2DMnuOqnEO1xI
9CCs7iWFW2bpHvlNaYq0kgZqEka4W3VoAtivLeR+K7ucwKIn8YlywgXA6c04KuVWdgY8XgeA7dAG
LTQ7ELzi7wd99jDo8ybLOky0RIXpA7b2Gf7cD2m3EbbyUaSJAHLt3wKj9nfLM69Mn4hx+xl2VE3K
GvXDlBCPt5wcZljkR0O1BRcZYnGg5h/zMNaPzVEdMHtlTk9VBhO7PpQvi+wf6BZuA8aQ4IHn1n5t
mFyp5q9FLA/hGRNzv8lCUbd81aYbwXZZfWDvQl/f+V38lhvTHXBoPmw2LywPX66C7+caPxR2hOCw
fMXlYcwG/m9f57PYG5TTDzkzo0aPnC2S1ErgIYmcGB9HN5jWFtHo2a9FNK3DuZjDbLMEGPJjORnJ
dHMhpFR7Y/7bl11qvv/Pvc+fjbWWAqlvp6g9+JBEydLd8hdLq52z4WfrxfI8C/CqWmK8l3r70+nQ
jwWUT/qaX1e21e6/uTuT3siRrjv/FcNr8wUZHMOANzlnKjWWVKrShpBKKs5TcOav9xOsxtd+28YH
GN550Qmpq0rKgYyIe+85zwnjJgG9qOng0+JwnKIeIxuaZ0QxFo0XR3bnMcm6o1ENPEn9TNdVZP0W
Gu2C8ZW6SelVbX3qys5/NOxWbDHYwiQS3d4bnBPzlg56R7UnInUiim7k2Cj6RxS/8AbdFMvfVBRg
vlewtyElmealfPrLX+BgY6uG45/0rkLK+hSD71iV93MxGUcbaQ6R8ynUX4zGN5YCaDRMMUllKhsv
ZtQVm0753g7MBfI7uOU4tbT1YonI+3TzxWLhAOntG357cQEgwE4XJ8I6PXNLc3GuT/qEsa6/WSy6
iyzbuw65Nh8h9FlHQ/lXzDvEr7+A7+u36xVnJsbvxZxQ6v7BoqOxDeHEnf7cKuv9oh+Edl1xTvf/
EOD7WvvIUm0OkvxjFLYtWcQavF8lNkrXtkQPQqzGBa0dqsZzPTcxFYb7VUS9uBQ5REk6BQcTrvll
fbB9Ve3djlve9/PhYtcExsNhgW6aSkXfKGwj+t2sNtpI2nJUp7jSqvjwmJHgBDqaStLqqHrWm3F9
qPX1vH4VJwYAuQgSuNIeS1fiyYoaHFTrw6IvjV+917PLWn1lX6J6si+992KWKUBI/TkAW/8L6b7Q
zQmE8YvEN0pBL/lAbjpfKfWWa8uME1Njqo6RubxMAp2tmxT3sxEwSNcPTRIfekNALmrj75BZ7Nsp
mP/6M0sZsIK94OxPlXvNQxL+FjDFQU3BVNCRuHoBna488Y7rX0D51TIZxxqk/8wqRmJawt+j07Fm
NAb6kXEGKA0CUYzR4EDxVwOAP6nQDpbF3YBca8hle2rphlqDqliggGvcNojHCQ7AlDBCbLlOVb2j
e/WN3gIdXMUhSegnbSpmXCiKhm3BQeM2nihLjYFvDWdBQdOzPdr9tfOdm6EtTyCEb3uZ075AiHsb
zr8riE9XT7T0kGi4bZZ4zs6JSk9B5JmHtKN6HsfZgSXeCgseSQOGRPX+TgQMFJwsv8ZZs5z6xsjQ
8uWHjhJL44N/NoBD2p54KuBaEABLpGs9+phdPbmPpgQMAdLyrZ7p9rhm/qNvFvgONRcDYVe/NGG6
0NpbeCDpsW84Y5vXJKjRnHvJ1cJ7ctMzGd+IuXZ3ntWmlCcaqGXPCnCGABv/94M/CQ8d4gLCLbwK
jP+HOJCPNG5NYHxzk98UFhCjHop/Q9z3tk/Y6tBV7uBDiQsgLsFRiK+cVOwNS3gn8CxQ6Zcg//OA
AJQmkGbU9f7XRCjvLnZJAJEIsUnzFBfLsa3L+lWjv12/+vsP4rYWF3i3oJCZmG7XPwBXzOmvdlEg
/ccPWH/K+pcdK/ne0l8/NKZBlpMjoKBWKWjX9Uvym4zT7MQ74ErjBSPu+n//flBj5f/5R6XC+lS5
hY79sjmiTf6l7DoTt5/eSeiTX6IQMfpkCnRc5DhCsN/lnAghL4+kOCLkHlT3QXNFOxXIMiJ4WY5h
fFPP3DGytgmxu/C5sDxGNuE4bJznmlV1nFk2gVLmNOVHb+tH2XhjzZgi03HagZvX7IYR8AHrWmdk
4MRZBTa2a/1yY5Pbu31NuvyL7goYoO4HfChuL+R2YLiek4waNwvk65gFBOyCdeN9PNFu7e/KENgM
ZBwQvyDS7ZHUoEjtRVt4aw/zYmf5G4LTdB7pY9BJGzxcH4bIf01m0+xt3jKSQX9Jn5l30O3lZD+n
8ocz0xhPXLx/nTO/sGWLjS875Kkjna5KffMDBl+Bh+hOddTZhY9UEaVhnDwj0MZBTpLkVhOAp6qA
WZgS0ivoPNo9mywrnhsjl21J/Oxc2m1l+hC08SXMcYw0Wfw8FG/YEALWtXt7NkBJmMU9Yni8CkX4
Enb6Zq/2ppMjRiNCxyqJMpfEsXUkc1spdAmysOu7gLa2pYiMCcPhQjhLd6PbsvrUb9v1b9TMDL/8
k9ekD/bsuDvhc7xe8u6DnWE8BOI+N6YLc/yHqZqOyGJ/NDMzNpk/dwxOubC4Y4gvGMtn5RMrESbI
05eKK4CV8ijl5CEFQgJvh+n9wg8b6C6Wk+I9AkHb1hUdY4wVhDq3zo3Pohi5G1e44Mzr+a7IEN8R
29QlajfYSLJYALmDwz2yQAhoDWkd5mLeNmH4EwgU0JdmXzXFeQom3p/kvWYS4BfxoYKDlVdMc4wH
Q9SXkDmJJ/NHAnW6HodYF5Z3niXBgfjneJKfg1/eNWHKSGFI3hFu7Kd+39f2wI72GAbQSbPW3ssK
uU2NBsiQClxptCnw2YxINnt6BsFwtGj5VSlAHmLoXEdcaQTiAAjMWzI4jv3I8dM290whrrTPHQTe
+W9DDKek5VN11a+pXm6DMt9lY3TTiui78qxvlncNffdT2XdZ0dAIExSkI801BsjnZpLpzWx40871
8LUumCMAWfOwfrU+9JCubuaAtbSICRhf8GbM0NYumbPEB0QIr4JoSUxqOakvMo6ZrMdAHlgCmDk0
3OO9eQSdjqToJLWpf3ULmtq+6CmJOXH9vm3hzCUVp+5RdBLiKML9lA4jicENNRwr7wg39SdU3mGT
63QVyrmdretMehV8mB3d0ovSDyJG+hrXc8rdCcolify7HsxeYovm0kdktVjwthgKISpegRPrg08E
TKuzYOo1FgYFXHWZAx0W004fnk6Pyf/kyFBxDDpaRmfMxDptZiZ2Jl991L4uR6Z7nCRo5HX1YumH
aT2hFSYZNoVOsykacm0EBhCirhk6xGJGdQrVx9c5OJlFIo7hkY3jMqAjbsElK2QhwqnI5HaI3RHV
/0Jw2KgTdhIduBPph4KS52K+2fq83RHLE+h8nnKN6ln/khaxnmKAedjP1KWNiRaiWCPmZ/1y0tk/
k9pbOguIlIBXsZq3izUqyF1flM4P6nlrto7OFDJyHS806aQhoTOHiE3Bgd2SSzSskUR/f18SWAQY
rzvKNcTo719PppS6MNhj0s3aogEiRUYOkqcTkf6QRfT/W79aHwxB9AK3PucjUpU4qpDFSdBSSOCS
7bREL43ld3ewUJiSIkILjiYTbgOGdDqzqez7H2ab0BIe9LCQ46+nE55oBfaXSKc+zYnLEMiz2I30
Q7Rww+qUKJIgTQgbPJAysg90llS3vsJWJ0zlHHnoBJA6hXORNhYxnIektl/yNZxq0jlVlk9iVa3I
rmp7UqwKfdam9qKNojOu2jXuav2feUsG1tjJb6sE7f9fjR1cjP9MZHf7npRf/66wW//FXxI7z/uX
tD3X8WzhegFyub8BO771L2bhgRVYvic86dqI3/6S2Dn+vxyIPCLwpSkIvzFh7/wlsXOQ2Lm+75q+
yRRDEyD/7wg7/y6wcwLfxxPBD5KBLVH8/UNghxbNNLrJ4CQ8b9yNhi+yfUJ17Tfil3VRb/2zcUae
CWeN1e6P3PLX9N+jr+qhyueoKv8LNP2HKim79n/8V+sf6j5+eWB5qAstKXk1rvWPX16VbtV4JrQq
e2K0R05yd5OPd4TJAk83kbsAAfS+rPH/9ddq5tCv96ekjPST/G8k1rmDSvi1ivM7mrz73jjusV3N
iG/bG7c+EGPyv1wS/4dXGvxv7/K/v9B/UIwyJIlhMPAbWa/65dHyNwmgHmzXjFDT7//573IgLf3z
1wWIMLWsU5i+Y1niH+9rmxs14YDNij8LLyQQHX3H1sF2cA/LoIE1mcWcD2npeZJqdgaPeiuLkY6B
73KUERmp0qQfpUYYHLhy5bacYcqMKIK3iyrcnRVgqbZbsz8svvka+oO1qVLLRKzXQiZ0PqHmMbdz
Cdca/RINhc6xtosOtRbvcNbgbkjH+xBZOvIBIqc85j3J0qY7d2rLHV1tkucHhhtAvbvKPDuVeGKX
dLa0FzbTNJPtvMD4tL3iLiTk7oKRclc66jWTEPaMZHqxUVVwivG/cW4Ov932CSdUQmxO47iY+9A3
o50GPFu4tU6eem9nVDMYCrBjA7Uv5xdXt8pLmqxO7rL6Dv4WYvWtj15MuO6ljPsz5wEGWWALQ3wn
srS/3AKAZ9280cp6Ged617btLZXM6yxGH1Ec7+ySkr1BbY1MgfCaEby9104cLcnjzL2PPmGa4c32
xGGHcWDQjy+6E7Gta/WmdVEbgp23ZWIc6E3iTap8hJP6XGhXpyb7RQLNl43DaDPafBIiSxhk8qMQ
t9TbICi2Vrk8VlZ1rMd83qse2QRv28lo5h+lcfEIAtt33ULeSw2nlxNkmVj4pSoaLk715kd4dBLi
Nvr5K1umlxiFJm5c6HbTy8zAaJuTrDQwUwHTu3zZdvES1Z8cpN77tsl3c8CwFfC8QWT7FpVUsffH
+i1kzmVQ0IqSDA7bG17cuvgyx2qfdHR+9c8p7OnFnN37uXrwGvCVWeuAbaWBWKMQp8qlQImfMJ7T
A1bTbimZnmRVtXdEe12SsNwSij6iNKkJVvEmPJU2HOWi5V0LaoHyh2RzwWvkaK33vcr5MvxAHIly
3TqFCSfAeAgFJzY/TX63GsJY0LyDW99dM9uCk2IvlPC5QqfoTNoP9Ckrzh1G7E/7Pss4NvC3MUp9
mTnz5zzimhOLt5W0NyyL0WsT8ESw9YTbhYPU1hwgb5mpuGXaDYkAEVyMXxWbZfkoLfXkLFwmuWVd
q1QSdW/AlLZNuC+5QUsW7S8pmYgrG64fDJLMsXIIruB+k9D0NrQ4FJcM/2BojusHLRkxzU34Hsjg
gZ8V4cJgjQ95M0ahjjVofn57t8N8fou19JG+wJ/LtxSSEBoynqzUG3ZTkD+ih07hZrbMNpzgKVNh
ToI0ry406MxXC5oW2+WY6Ht4bbluprl8zorxbhYuWou8e7MaL9q25MdVFbE4js/8nuJj3gzC5Bf4
4BHd/otub4/KzDwNPWGuaIoREKbn3mTMBzKLikM9JOVkHdu+vQ3q7sUolUu/kLdvvfLMLEO3ChTc
i+o3IbgN4WcURzz0OHlhDrj6jqtIT936R0jBB+S/SBpRUgBQEOlpoNJEOrzPtIU86BBFwk10N8ow
vwqr+yaYPmYCdYnDnWrpB5uU6G3bs8ajkTxIb3wZfN7j1lVvfgL2EoPXo5oZbKdyPgZUIhtu53k7
fA8HJUAjjj6e96KGYQFIgfVza0Wkmod9cdaXU1AZuNbR4yHqSXZ+nbzk9nfVCOdgBugj3cJ7dCvj
kHrckHFGDkw1Q7cmwCs0ucUxmB1WZvW6HJHZM7c6ypm81t7VA8M8BrYQ8qJ0v9/jl6SR88V4mLbC
zCeSByz+07grRfhEQ4s/5kN1FvGl1mmXlKfF9p5iez56PLFuYgRWyuoxcZJHNYzHXpUvBna2A8B1
MnoTtf77aekOrl+9SjG+NMP8oqSmxYf3JtPzLfNXH/HD9NITREFE0bd+afYsqlQoo/MlKp4niZSs
Map4U4n70pT7IaI8k8r+qlIowVoxxlp2Nif7EUbCo2UWj4VsfsuF0bUrNpHQ97HDJ7pMvF2A+Q7O
QFyVSWDI1m0KoPZUVI5RXMKlxRLAWwG/h7Bo8hJi3lZyIGGHIWuuV39rFxNGl9E3iUamMAn7z1bN
0y2mbXZNGSmyO8VX4husnWnyjPBj6I/NAgM7O6GqRK8neWkRkqbNZMznVqo3/ZbMDVuMIFgCLC/S
eiTO22xY1hdoGcRkNn18WS94t+7emjZlSgQUXS77lt+5nS32UXhQR/RhP9mRI5RD8V6lfOAynEPa
FMWjD+uArf0ttqMfKkM/kWBO9/wlu85s473fog9NoDYz89l1wt73Kv9YLE3D0asawSNIn62MACGG
+puchBfEIAlUClKmxjF7DEY1n6qagVZXhwi+/fYx1WiBSiprHyjvaMXulW4yt1CswEqMxSOzuXkr
pvHBqeK7HuFqU7oYSdHm5nrni7v8luAThM8VPJUq/sYefcNHGEI2rKDmkp4YjC/15BcHxxXLJkth
uuCG/91F5bFQ7ADYMOjyl+amDXgJXZwQteuiBVt0b4s7lmkDOQoAcl6kH29TLzH3rLLGsa4LsQuS
mAYaoedze6PG54UYMKbQ97Aqol3uNcCBpuAHUCxUQEJqtcVGNP6ApRl9iq8bvV3UIhpz+VFsqp+t
yxC8cB7IR7LYAKdrxn9Vx2hrDrtTLQbxSsbZLnCLYw6qxAjT/mZMu/4m9ciualyUcoW4LoZHM7Jn
upQkTkNKwE/P51JuqpFfNYm3UReSFbnbcd1uEbv25wFdUzVG8n5R0yPxSgZrLNmmIcr8jKQFKDwt
7cgc6Vlg86LiMuDtzL3iwGTveViqBmXUEpLrkn/gRNMtQ+SDPiMQFBCGqaXBYtc4+JarwiY8MnIu
xBejKBy7c9qUNuhJ+qiR/9h74Ycz5/ShOuPN6ARnHWPm3ZjpH/kow5sWCsUYbFj4ngz0iEoCxk8F
ekDi1Ii6mzRJgL7qGNXYRCl/TQyYJ8NRV7E09/boMZpfsu+RweIzTIKI2yXd1+RiuIN5CkB2gjhA
PAjCZ0vMlcmxLCST2yqSjUWKxGkIxl9a/k2BTxd1cK394GrcxfAcdL0DNFuHbw74oGMzQG8fXGab
PV05I9DJ9pPVbrzxhuka2cjou4kE8WDsn1GNVXDnw3dGpxMGXf0kEqR7UBNOznwvjOUqpwRNIPaE
hmYFbm+MC1aMzzSukKraiQQglUSH1DBfjSgkBKirT2gxzBOYtxwVPfN/ujwEBnYknlKEbrLYeZ7t
5MmO/WLnM2i9KIEqRuHV3NsyLHcWHcwtuZjqOE3BHdxBzoH2BZs18ZMQjhPYV8QYnKfK/wgD+qq5
UQikGjtrmegxclOFsVXfJml+ZgHmUNABkgk6GkNxVJunTlRPZc6YxGjaXy23JijmTyLletqS8S8H
tgv4b39G5mhiPg6XneTEu0vnLtwTe5O50+diDtZ+KnOt9KpYtxcsVnrJbQyZcMDjya9XFAsFmvOE
+yW8TWDu7+R0CH1FyjmrRzRfrRHtjOhLRvWOKE+8E+C+NNsnpp2P3CtMrpOBw8j9jHI+7NYDiUk6
8C35o/me6XGybUkkZ7aGpC3ANo3u/iPr4HVNRUIFwkTHkR4EdxR9EJE9TjZBFoJ56phQAX44oAdm
p7dI6zGE+ZJAhOkjtOY51ddW5o1/zEb3vcB4xmHrjFtteCigXdTChTkThceQLfyQth6nq7H7PSk2
4nHKPqiKCIAUjDPrxuEsXKijYcMEr+uIHR3wK5dxuutsbAxR5QKKEN9dIZotDvtA644ScD53fgIi
wY7RAyVr/ECcPdUmXgfNw8+qPj5KC3OJ6jm2iLapDoNGJzE5kFr/GxRDuqtc++okpPGUwP2b5Uw6
RsFsVQCScZw7r3I/ewrW7RoVQjiNjtJh03f8TyxFv0tnyS7IvHNqjxRLjeBz9ZxWgsNozuS5ZdvW
hPIOT/w194YnvwYUb1W+zvuMz1GA1jcXYfeoYoy3vgXFzE9Jb+h/u2oK6V0C06nm9MU28/hAdARO
tCW7c4HVi9wjfTKwq4Mlhuam5WhBJJVhopUHiZLuOVN6ZAzCLErbnmLD5pJGJ76jUjjgu2+PkY9L
VU1wLtrgR5dZ7k45xrek9p9EPeA6MIr2mNsLyXI+Qkeyr4eIEA08Khxi57o9hulJDm5ya7vht/CW
MDD3qUU3TSQQGcflcMEqQypt5WJaG/i3qLNSzOY7GtDlme8+/KWLd5bhASlAUxnJrtnFc6oFrUfb
eSUvriPoVX7z7Lk7c7KiNzx50MjCGIqB9FnCRxee2ITCb+K+lqO8H5eIipyWAfIF7CotIK/MDoJD
Z4pnMoXujWD6cFQ+7yBH8/lGd+kox3MJ/jzMvfEIO+4DMRDi4Zj7DCdMBZKnpHZnGLTj3eVyB7RS
pam3851InruxoKJzFOB/b6KKa7srsAZut1SNJw9x3cLQiKEpwSFUm1yeaEu2U6QOo++CRxr1lZY7
JnYP82g3AhKFexhjKkZlSabArJZQzUmHTAzG8RAHFoOzfoxL8sBHFVfRjg7EqQxMguB9eg8t/YYy
2xsDGCkjZZRVmgtjguymGuvbLs8ZSnnzUTBf8BPoQLGzKKKqDjV+5J1X2j+RJu0VZqrLAMjfN+K3
Eapu8kuZy4XZCB+627xXjkFdMAHutSB7meG1F4R9BNNRa8jpkRSP5tJ8ZfN8dtiCYfaUzAVTrBlx
xfVLv/DkteVPc47QXJbWea7qxyox3uuo0IExFF8F3JNhdrblYLGnccwBrSWfupigtXsLBA5XrPrE
T8Fgq9bJsgzV4b41hyXzm12FPGtbVU+9SyUbamiYzthK7ahFgO9gKHKYQvBrvpUOncMMuFcY7ocg
IOKVgBgGO0SDl8w93e/G5JfHxXPjA2KaOzDjyykhFzRmPrIvysTdI8+serJQnLr/Ktr6aSjib34Z
fl+jQSCvUbLHaECinEXVN25s0zV2ReyoM/3x17pDYp+XXnUIA+aiNC2bEZo3wxREbsFyUy/AdSKe
Ae/udYKb0ybOre2pHEF6lR7T2jr0uT2dHUaOBaCVE+Kdq1xIOiOt4NYI6aSkfGycau2H2sh5ltGs
UymKjZoRZeIdI8w6Kw5F3iDyoH8yEcUWkrhzINPbQRVcPHgtQQIW3aT9XFPedUMp8eYiJfRG8pLC
2th7zfDQ2ZO2NulQDdP77nFIOljYogrV4zJ0eo+UY/OcPBgmaaxzjNWjSPvfXuw1O+0NRaYP/xwz
WxtxRtL5MFguCMvL0yPFESkgjRVecqLL4B4i2M/Kk1dVPkhh/6WeE3nQ9R0RY2o/N6+CDsbWIwcg
LlneGAgdQ3OW5MLxCpr6rve5HeM5j695yvFndoxLhUg0H9sfftmZOwK90+1QzHeZryQLSq+jUHBy
+tlyiIkA7i2rRJPVzjsGHEiVCUPJSgzVdgzxPJuG2wkgLVUb6miYIi1z8Hk8zFY1nQxbgZfiuyqv
7dc+9a89SbaHBSkOHNcF4XKGXjddGLubNc5IN33yI6M4V8J9tBvbvgFDlYV6qUfyfzHDCqR32nLP
4YEk4cXatjOdXzuKoC8apB3bJtFZIG4+4lY9Iza+Fz6x7rYOFpLzTG7tqA6M+x1uZ3lLuJc6Awo+
D4IBc1O5N9MCsj1qRlR/7K7FjOxyiGk4kS9NlvKfvRqNQL4dKdPSmKpJSjZst8WNM4eAqzLfjHfj
0rxWS3EseoezJnF4u2mha4vui4GxF3CS80M4UpWGf9jIaLiRapGTukwnc1rm+2kcX8O0go4nAINi
j8V8Daqp8m0FqmldF9OXQT95aZH0iB5216oqOjLW7baDKPK9cmi1Ni7Wacg/Ygq3ylOfdWH8zNHx
YkWcGCxm7Aq5i9hHv4HCVWer5VhBzMWhJt0jymaHhLpEHks/VduBtdeKQ/fQlvJ7sAqFHN7TkpjX
PfTQQwHkKZ2cSz6rG88tHmODrmEr2THHCU9Gl+1SOm28M+VhTS/jqsFylhH3ocO6HNQlW1C8h3no
AUvp66vDz4fZLiAPs2iI1uDKYRzWUr798uAuXgpXfCej+DZhVtxGsCkzxYi4+ukxur1G2lQ8QcRT
56qwzEs30nwkcZ57xcp/r7EyWZz2B9flWB72HZmKFtc8F/d0Q8f30+3xPfU5z0wZzm1uG/dDqg7e
NF3LEs7nMonswamNj5LkEDwvO20ikMoEW0M43ImtyLpEgGN/i4UYF3BoJIO3M8HhFfYFN40ABMIc
xOhBCSSOOWFet5D1TpUOKuOlAKXtx8fELuFPUUDIxXK3jcw+y4n1fZZNeixfqmXak6MWbgfXRPzu
N9V2TSvK0C9PpHVsbZ321frF1ZUx7TmX6y8wvDt8WXgrRWk8rzFmiT26mAMhSC+hw86oCGpXHp0g
CQDMbHAXEmW1WX+y2QXPbTDj70Usmons14iGBp1Y8ZjM70sr0yNdlFvPIA84JqlH76KJIYutLJGX
tQv23d6VaDx0E3ChN16Nzf0oyCKh2GOiPVYvY+cYkAUZB4QWu4RFHp3MhXdQlnePD/0t7Mwz6dbb
YiiejU8XF/uCMwDh9oIsMXYfmzk5dLVNYJnhoASOD+iWz73TvDfuedbAwrihJG/d8MMLkwNklTsO
VwfpqP0iiYTykbgSxRy82pN942mTjQ/qtQQ1ZXi0sZv2ULTc7yOvIqjUe6ZETEeQ5ZTeaL+BkquG
TyloKaO/vvMykJ1ZxME9bSFqPk3e1fZm4LhiMvadW3BERMaM7DM81F57jeoQXU1vPRu1yQrfRqSQ
U2TEhoWMNH6MyhgAJhbopkLhYWb2a0g0ntM074EABjX1xiMn1PealL6ZjLA0Cq7MCR5bi8VuNC51
ggpnEep9yuZ6O9bVyUt4aWqq3mkMviZIjBbDeR6z/JB04y1iRRYyW5IpVaOr5Ip/bwGbO0b508FU
tssMdSNbtCWza3DWQlziGfVTjtV127JZZotLHvBkof23fnQ6bapO5LXgWthUdvXLBgfM62Y9WxP7
5u+FZb01M8FFnYPorWO/W3Ol/IqVvC+WbdMASi0VMGS9LqiEGhg3fk59ZZLZfXSalJy0YiwIz4tv
dVSSRVmbMx/aFUSkbV0Hg78j4VZ2myihCCTTbluGDR70Fhm9qjlzu4xZvFR526GDy0X6IbfkVqJU
OpomXMExKHzCMdPxsRqak+9PbyKF85FoEh15SVjcQRbBKaKQ9OmfoyPWYi3h3WZttdzOrf+6uN4P
0xuSnSg4OuEhG/dOeRd341/ZrUNK5W5GPYdOUjPWMKRY50WtRV4OJsByECR3ZnqIjeRDZfN017os
+wlQtg2uGJ4DCsxlJj2r8/16E8rqG9qbgPBFOnpzhHcV6FV9FqJuDl7YyccRBUTxNQ7yA8szkiRu
c1c2P6eB1aJTVDvBs6Emfl8KITOXs47sQkbJwQj8sZkHKPy56u0U++Va2Hb2Cac3Elpuq9y2yGws
kD12fIQpC+QUwyIjPW8re44lvuU/D1b0pBr8pMYwwohGEaUPLE1Di8gah/yGtPG2TNUODuvDlJbV
lfyn+tEzz2iWvhejlRxaZXoXd0pe076JiNTL20M22+QcmPFNxaxuYyrvxW1GB0/YA22BBA6yF94U
nF0cRkxNU4uTKrKnwR+aOy/ozxVZjceljdKjYx3TYDEI5rKf43n6bA2iUA2a/jcc9tSNi2jTmApJ
SBIjmJBqvp8WdpMWQ0eD5mMrQo+Vivcs8CtyvAb1rNyXwkiis+0A9DNeG7WbSXA+Lyq4ECFr0g/h
nLruhZGW1qbiCQUAu8Hk3UUuWzbuoDuwWnzYNFX3uXvb2EG4M1wNNKz95zVjENoaSh8YqEmI22mZ
GCOafHjrQo9iody0uKY6l/g4dIEf66ULy4MS38xdc5M1+gQa0/Ybjd+5RQg2iKmrWQQPJn4eYguG
u2SJSFcn68zHjL3x6uFNR70FA9D09T6nXvltKz53MulUYtFXburffQRkMOTHgmNMUWJV9i6c4+N6
NaBCfpb6OVb6uNVky64LaF00lT4R0UdsNNajKqELxjONUDisXs24F+HGaUqIGFtj1mJN20whCfXE
4oKmdMVFpPJdjoxJkdvv6zyYT/CtEJYhxNuYVq8XohQ2CqRPPpzwsXe+2TQWL34FDLXK98TakddG
sAbNf0o1M9hLnKpcGj2jbzVSshu/02GcL9ac9LsSyovn+9yDdrFwPuFJCuoNsRBY3RklWkjKJ2ov
e+OZxj6YzN+JVVt7GUv/MvgXq/M+lzaW6J6wjaMKsHex301361d9O1g7LlSLgf6UHGQI6KgPkL7n
HAUSky2ii4bx5NiO2Iycjrc1CXY7Y65fMPdlmO1P/vQoUGZv0q5wNxGi3g36TC1JY7WOrFeRhDfM
K/OLNRjcyfgWdC60dV+bdkQKPA5reg0YFSOqHvbHkzKmBzfAfRvJIrnvzPwrd9hlJk9hpOD46IUC
fwVwIGVKAjYgp2Tx9Li4M6Vk8hDTmTlES/pZmj5jUhEwtbHsndOHb+5g+Iz77WBbF2/zGIEjB/iw
S/3bEjrM0ktQuF16J3VodQPvloNS81pmId0oiik0vwmBp7GV/sBZhAV1IWrRBZq8rSO5SzKKVjbt
a+XSWRCNTVpfUydHv/J+oQpE65lzz9ZJtXWDSKMr859+1TyMekNb3Hsb3RUbHg6k2E6HPWMwfGXJ
/Lvvhpu0s2NK/PFhoI7YuEn7syybI63/z7BObsFlWFAuYM2JGP16gUGLNDzyN/0ofI06w3jzB7jd
3Y4K6LlqiGWd/PZLMpffGbh7HPq9decrkg1otTgpYN+Z0Sqe74RgP999EzpJy8wqMJbwi7eQBO6B
Bl/BvzFEKob23NTZXVE34lgK2H1u1h4qmwEWsMh3A97T89TTipWZxkC1L+VcV5hpiEHkxEqMHrQd
UzL/TGzzErYNts96uIMUqDNEo/nI6UZ3wafh6sA23fdAeFE9vwjKM6LSXTwF8bPlqHDHxhdwDJyd
c8h/lSrvmI5fQg9V9+inoDjK4Ha2UBEB3X/P8clBh8ktrfJNdzkX74FowwVG4aBIMWL46ZTZ1c7m
34KByK4n3uMi6C0dnaz8UcYMO6WYaA4x5T/E02EIvfFGNBKoIoxez+04HQlxnFKwX6bGJqRelTOx
xaaWGr2J2gR+cB1p7YSFaNanUTqX47fanOF3uGyhHGxwxjPrg7zQPPkOZqGGEMNKPoxg3qErTRTh
gXcqDRv0dzrcZ85oXeqlAAibiX25hDRTqIeixg0OVu7f135kUXbIuMV+xUPFLn6xLQSd5Mgu//Gl
MLnALFwmJv1hByYALp8//5T5IX+0/t2mU4v9Y/0JCfbkUIBrWHRlQW5J5wwahtAk9OP5sWnRJeDa
wxczIu1nKW+fgZir+3y0YUaUOM2obMiJGYREgbLIR8kdsLVra4YeVMuTjtowkB9PaXRPHITx/uQt
oNFbgtDvZp+LpRQfZed/ZY9zZFhnhPTFoZ7D+7odbzI41A+8huRi1uCaUnfv4wfa1OYg701R13in
oz1uhOSxTJge55A6EcB8gZpb6JA5PsK2jPk+v++bxYb+Pyk7jx63tS6L/peeE2AOg55QlETFkkpS
pQlRkTln/vpe9NdAv1c2XOiJ4Wc/l0Ty8oZz9l57IpvU67GcJdaecPNNpgGqhvPwHAdxQyWhf47g
n6WD1x1EPejWvammqAPCgH2NcvAreNhjwjNUQnw7YJlX9PWzhYKTe5emyMchSjiYcTm8pFp3KPMo
Q9EyuEXOWU9my5RG2Sq0FKyZXszOOr5PU/gZ+AlwASHMiLx0O6H7Ym4e5kS09rHJvb0eF5cxFmjT
ys1Jr+IG5Cm0SK+udtSkSLMgrwe/fKdtBZmUkUCK1Y2C7m+hicN8wsqZEBq8kPkXpUU26VryaJG4
kYbGqte8gse7rXwgujjMcynaien8pqvI8yxlCO8zJT92vWHYAZXDpeTX1pYu/qYU6S73Mti4yuLo
0/tOlKa03JFWmbMDLCBu1AaNY64MQ6mP7cQOyq+boyLK6XoCijaX0ax1TVuN6oPW3lDpRBy8x1UQ
ysWGAmB4F4iW2wNL50S6zYXxc8zM+BFBhW1m0rYD+bEBMpDZYUC3uSRQYjFq1PKyrumWOna9FYzY
BGMHGIMkLXdtHdD6KmJ/iaFftluB9z8uCsgSCvz+wLwvCixU0Rz+Vo60pqNZhoT+Odqpg0boRKVD
1tZTJ6yhCkf9os2xZlr07owp/4rgE2n9+N4GJbKiUN1rhraj9+ZQGKIYKUFwobJEFgTnZ7/Nrgxi
7aiOEiCKKsFyFkzqRYf1GrbnNiR8RfYpWIoYxxURxECdgyBAJWxsMogTgpGmy4Tu1rZCj8qr0hkH
IIbwk4yEohkHcrdqUnMXUS7aBLVgoR73rE2p4NToNS6D4Z9uoHUqu1zMa84glrwHCDcBIpEhbHmF
uYqVTjvmHh32KDjUpepBXkbBUsmReDIkL1tmJVljE90eFC6YUpq89u8l6pCOJmndPRXY1ukFTbhX
sLN2Att500+HS6PSWq+EJryWqkA8a1WK19YqAeypRnpDslMBLSdTIg10mpw0yjeSx4FK5Q1b6JlX
PfQcY/DYx9WDVQF/1gCAPPhopBeD2GYPTUkTqRj05EGajQ8pfOAHsSIxgvJl9FDPP1Qeq+CBWiii
OSn2H7yR/lLDJvUG2yoDJG6ZNyYmCvJ4XG7IqwC/dGp18mJrCUBXpsKNPMqsUCT++k8AsvIRJ4K4
HMIn2EK6XfT01j1LoLVYCqcg0rRNqNf9ERtHd2yasD/2WaHs24A+5vznTdk3S6zTABoSQzvUUrOr
IsMFO2I+NLF5a+DRMWG/Ie0OYTHM7QUywZep6T9D2SOpPsD5qc6uSn1QJe4SpMq8JyugblNq6x0P
QhhyyUHr9k6/clyFVaVRptbVZZnTG61EaTzI7EsojMTKMm7SV2Gc9qIo5adIj/r1VBz7HqoHRH3j
NPGNhYhAHD/CclEm96nGdEwHGHoJWRH3aQeMhbOt68WVsYt72WMhoiOoFigl1EybBTuEEOUQ8lbE
qYND19EFGN1BUzu6J71nEvcJlDir2vvGj3YNpN91Wfd0a7T4VIWh21Z9tB1mzZc3Mcl3Hf1kQkn2
Xk4OA55PrwSTQ2GfnR3bKRaB5iUT88mlyVYv07H6ML2Iglt8lOdZ208KwdbT2QWTpZyPZvicN59r
6ZIA7EShpcy7tayr92XF0qAHJV0/fT35CLEQgkF/B9ZE5VYh+zgEfaPkNRv2BEd9Y5jTXtF0/RCx
2eTQZK1MZWx3kgr7IqMEfGfk0Z7O166uSCxRPRicmGXlDRPC4DL8NL7YndANJSLWadV3IcVzA+tO
NuKiUA18HVoSaG6rA5NXh8whtVhaEjXMySGisahGN5wF5ckfByz3FMWYtqc11jR4vfj4/PBhAm9y
71NGILIebUumiN6hDnqcaFWwaGFEYeygVp8rgJSChKnEB7vSgkAaB2oCXOS0SYJmOhmTJFOpO5ii
FB9rU1+Nfavuk7Bjn2cY5lbF/gqLHkt2Io5rIN3zuUy+oyuIUFVRHoE7fY5JdQsQMjOyCLIvaJYT
gaDMCchkQ9UdLA9mLfIpNIqWObXatoqwYtUzBW2c04n6O4QWg8F0TNBtumXt95ajji2NIPPHfKA/
MorWuAjbrKK/o/Y77DPKWjbuGkKzwHnQsGkLOd1CmRGZ9ds9ttycNPCuJ8w1L/fszI7+5HWrlvFG
ax32oBjkV451EmojfVcN1rBtBnIypKqr1wX4Idqx7YqTSbLVDKFa9iNKvNx/FkQL2Tsl4/XYlqdx
SFkaKkl1WUOfZJljUKCYc/HHrYzqaGGeW6h1Eq2y0kzWHoHyS8tDXEXY7bY1UxbPojrXCidgcFI4
gNueGmoWKM40DPRiPREbLOlAvGJ7wyAmYkgqPND63a+DI3fSrlJdWAc4ZYGE+pQLUBB02hpNqn4W
dAKzylZL8JOp4EVl46AZyHEJF9OXscg5uhRllOGCf5xSudjjUJmWgjKmJExgFTU8wppQ4RtAQNGN
g8N6UHzQj/GUbXRR1neW3uzHSGtcNYpOWj5SJYHzjS9ZbTdG2HMWavxE2vkYgXGG0R8s5sX/15/9
+qWb/9abLGRpWjVSrE5rzUl1A7+NXru+Zog7ZGwmUVggrFTADBtlGMVdOP/Fr9/JAHidzNLmijhW
ZfNgEpR97pq1Ji8mH+SLrRMtbKMSNc/dU4/c/eo75Qbwzil7Ml+6d2sPS0YNHiVhBYGNwm7qqA8c
F9QzyR+SuuzPJlEGryQVNf25LtcWWkLI55RVxkWtrsiCkJ79blWsI1d0kzWJGu/8wV1+0fmnyOgJ
AZHwzj3IhKkfp2d8jLwYiOy0U2bhYbSrm7EPV9NBEFeC+1ABmYwoctvTXQqL/kqLUHwD6nWMlIVy
id/w+RNxMmHCW0PWj53so7jGFNrKg1HcdYGjn/0HNXXr8q0rDkwINS1G1hFamdlOqpe4YRUZlsIK
dGF7QBkNXJiyNcPMAjhRcGJIVhHJK+Qd2QQSveWi3bppcjCNqyC8c+mI81bKLW4WSHuoMfUf5QZh
SUMr8hU33XBUkWlVi2JbrMv4ml7YdavZBiyOiFyRueOMh6TdZA/Rg/CClIBSEraHZb5utaXyoL4l
EOBFG1zNFHw2B+UGo4+h6rYp2mPXp5lod7tyj76NrJfopXtNwdaeA8c8cXHjQn3HLPpYDNvuKbi2
D9KK2DqktgeBmjRmrQurGhKiNSdOMD0ADo6qYRcL0rno1WY3oIOoSYQrDsoBHGy37BrHa47THfi6
aG/BMkdDiSOhtxNt0UeLejtdehf7CzQx/l20pLu1MwJcpPa4zfbpg3SnXYlQUfVzK7vE8XgHFbYA
aDacjCvrIp6Nqzw6MgNH2IiM69J5ard4AyZqw9FC2ONsP1A45iB5jTbJMI8AnxPH6PqPNOwI3fis
DuWzcB62CQr9NblAS3V3Qzi5DED/OuVjWC8Q1FBNfq/Z8r5WDrW/o/QxUO63NQcvanyHi7t5wQ7x
yAScQggpllK47sH70CdiUT1a2FNtumbGZoRKpGyimykSvbeShq1BkZlX1Wmv5So7cg5HSwAZStwG
D8msq3Z4IjUtlsqp97Idbf3LcBPW0VFbhxvjVmUnLdzovuP5zqN0lk/ehr0pYMjsEW5y/Fnt0gXT
YE2xhNrqyldZd+z6mbTHp2pH1l/w2K5UR7gPoR2hY7MbF+wYapLgOLwm2+oAFX/9OgSLeq+siyWq
3NIBW/8Yv2AIueDZDPhBKkAdB6cKSYoAyuGaNl/RFzkciCdqSF1L5Sgqp8aVdhR9+hemMuWNPt8s
qEcBvqb6nSDLOyrcGJSabnax3rR4Ub7kN2FBy6RYq9dmZ/bIHVzprX4RwW/xRi+FQ7kR2wUqUGsx
LMwnCIkXKVj077oNqHjd3qWX2dGDFBf4txtfkt4VrtSKABFSAoNyc1VX8nv9FL16tKmWxlo7T4Zd
PRZA0S+cE6cvCVtr4gLGvChn6xxEG8pg3maigHzkDnFYj4Cj2PWboDrNmu1GtqRNpG+DbX6nP/Ur
48XbVzsCW9ziq14F3iJ6K+dOk22lO4PuCT8cjihxL6DfXPp0u9a4T87wk8JVR3jBjbr9k6gs4jsM
qxqbJpw2bsoEhHkGNdCXLx7IRotalkTb+EDHOY4YYI490hplAVyvgrNml6w1DBoZOZgN1QTpI0BW
NbU9ZcOdt4uH4BWk6iQu6ndOrGA0RxghNs3YxA6WtSudAtTH6yh29F27x8qdPzGYMmkxL02z9sE2
74qz2FAldDyWrHAn9GtDWyCARl6nL+utd4OOpY4LsbpHEDlMJ+FCCPV4H93QcwuUgu0kXdfqUjqM
LsY71UU/B4L6rXv3jybJPE7niMtmL1yGk7Wf7iBzkp5mHqy9rx28z95cRHthxSkRH4ZyZUWU2Ls9
aVfjZDz7F5aEZ2OjfAj72uX9izjUUzBI8aMtArd6qLaIgUKUogvxjkzOBX/6rH/5O2TiPs1XW34G
mqz2Nh2Jjh6pKx0t3w7XNHKtbe2jU1jMxFcQodbSvID/rr5EfylsoxdYO949MTt3Zfsa7dNH6E5U
7YDUhGSvLTi1IZPJHf4jb+4SprLRc0vmQ7Ffq5u6dPxNOq6iL6t5ECYbbCOYyEY9DHyX2TYCWdDh
zVJR1zrtc7qpC5eWEpoK8nrEjXCgBYvKenQgzWc0QFyCqbO1SPjV0ncaOGdLA2n2WRltedU8WAdJ
XBc7TJCQ6AjD2+tri9dEuhOewKe7bN3Ja/n0D/BJzQ+x2+jMqadRIg101TpGukYnzCZIfc/chgBQ
2h3Eg9wgqABUk7PFsEPmGyzzY/ZsPbFHl/alYEONoA0ovFLnR47rfRAK1dvyKVbtCkYvx5TmzRLR
6SEwPlQe04IjnPWL3531YTvtEqde1wsfA9C6PMC3eMse5ev4lNI0eqP0Aztnlx1TaIvPwUNB5us7
rxy83manvAn33N2VtCVihxtm9HfciKlchLUTXuPAtaxz1NuttJFpozWUNXlKvNO28kjgsQ5KYKPF
e4CcrrSeEGk8NS6UR4uIwsDWP8DXxbAxSCvYeaJjHLqvRnTJpZNlakHr7KFGMLjobsLzxJ0Gbcxh
7M7chQr9piVw72SXZDvPtTj72+U+cAl3g255hzAxH8YF7Jt3b6MQ6RWu2vtIc4V+Vd8EHBgQkDwM
NHbKzdthUByXckj72e3vtHavB+CdFvLe+MoZ26GtkQJ7oCevnfHwK8JlZL8RLrSH6twjk3/D6w5i
GKfHSVj5SGpQ1hook8HlLnkxyTRcm27auNV0xwirCX6BWeEEIgGJdNfsdpc0jokVCe7PPf+/AZcX
twGBbPdDtzPgk6CtjG3mKvpIerAi8tXUtpzZQ/3MTiHKb7p6aBqnNq8cJIX2wIat+KzusWQDz/PY
hr5EYJDPTFDIn+TwRlEwu6/vwrsMT+W2h3NwaR/jch3TeNGYozAOOeAI2bgU7yIYehb9B+0Odgkc
Sk7FKAN018+PZbylOMd2DhVSePRfzRf5wCSRfEbn7sWgdud2S+Ul35ebYNvummf1vkjWIx1hNKUX
hYTaFtsUdL2JsDOnWJaGa700KWGYTI67XFmM2V1mOFgAAdZ4d/50yT+KlyLAuYGNn5A3tuafvrbE
7pF94e1K1U+8ZeMT3kVsWAmkWxSgGhZG4pRswkrvKsIqt5RJr9k6bHf1hW6n94j7fTpMX/lev+RP
kbnwXBPwvT1sswc8qAulWQx48w5weAoeFtYRfVHysvKUGGxnqB4VCpRFcmMf12SvfmDDMMoOA3W9
R74n5lDMAyxfW+CiGHTMezpuXvGodWfhlF5wygyqzXac7nWEVPQNsef0ycJWYozYwZilRklywiO6
lUvNqWMrKKQD297RdElf5/bBFdXOGpBXO3oYVx571DcGvgDlbcu+FcOPQ8E8ewnBBX+2+9qReGVY
nlDVIch/IEdV2Hou+xYnPcc7hay8Vb4lk20THsx9gRfMZBe8MA7BHTsH/4V3Jtl1+bbAAgNqUrSL
iz5ti2g1+21jFOzLyrp6WGMYbdpWOxpEYeyoq1OnUF0PB1+xinkj5EVxof3rv0hMWOyoIgdjSUbo
6jp58CRnyj+ehZdieBHzc5c45RNVZ1/YeCt2UCFZijZCarZnQ3UFFr0279tiCcUrOTcZbbcFd876
4GGwqsZs4znQbGSbsLXrcDNDu3uxDAd6Q2BTZf8gFk27YmihOzmnqp7gfgmr8lF0eYzevYekiOyn
ehew8ZNXFIIB7gU3XtA5smmlbtOzv0ZkCx/Z3CabZJ+/dmSG7pKrT6qTnVvslcCuRZ8UAu7VN/oz
HETZsJpLbDLWHsWyDzSDoRGesnu+tnQSX8SzcqWYwcfijuKM8IzXp0ORjJx9B+b6zRd2yQu1Ow4K
yWft7RCQzF32q//BbJwKWxRVzdF8xLD7Fn1VbkRLb1Ms1Xdvb2LWhOuNzwGG48G6x8tIXa/YzwSO
hebUy+ADPizHbbFzGzvkPaq20ZI1ivHSPlEqYL1uyW2h776oMLY4oLzv1HvhOV2J78S2A3QH0iSc
YuZDhJ/c8uYVsJ/6Xn2xavWk2pLXWzv9hkwJZem9e7v60a92EWLeDbGHjrFNsbkFDoTe1tyIq/IZ
YGZGJs4jN/sLCb2g2dYWH4iBVsLxhpW2ts7Vubkh5nwkxybH/4jwk3cVRehq3Aev7KqjL2Y/KXH0
0EneRgp8vv3ZFagsV2yb0GezyjeP7TlQ9smH9sTovA9fvXXqAs0n4M7aGUcJf+EHvQVEF9b0EFDA
hKKNFN5WX4S96JYY5ZfWaJMOQgzajtaJExwYVkO9jDb1NsACf5Iu82Qzi8Q4wxkb6VTMh1iTDsOa
ep5/HG/S01Mp0ZZ3KPvQtMVzzsJYvhB/SzL5Sj0ycHhIwVneBZ/YXwHM5nb4FV27dxYB4SKtsufs
OqbrnHXiTCzoxrgwR81ouw+6bntlP25hPhvPMegG4kAv/LDhufGddtoQE0nxdowWwYYdsfeJcpzj
Otrb6FPliMHOSF2y9oBqqxfiPbO8bw/YLQ4RHphrfsxfkaNb+7m+KdD1WXr3/iXgfbK9x+STMdw9
sYUet+gxxXN4x3QkM+VgObNpd9WP9aP2XD8yPQb34g4jwalc9Y+cXdVDtpdWxm4Tn8kveoKCtCoR
lOYrJk8mS+2ZvfWte+ldujGPxQ2BmuCM6EiJ4HGw2z1xYCdrpd4X6CRLB1Y1LT+afQ/WltH0Vp1L
gbLMIkYURmru1Xwah53ldEfvvR8eo5qAprVGvI/K2dJG1e8ax5jSP68NDh8OcWB+JFt8nl+g4Vj2
u+LLW2myO6mrlB1AuxJL11/zP+ZrbTceiztmQTSH1nbky1br6l7bDmvugLhXljUNwRse48COqQdl
D4OGF2gTslDS3DrO22e8hG8Z27JgOSzFj9Jcx/WSCfxRYCKfhQt24RqH4rV+wk4hc/CUzsIthL6o
EXhId19dG4ige4KVQfMAVf71u3iYaeAx2eU1dCDHqHilEe9jaHrxCX2ANRP3E4WGECYNXtlgztT8
9ecxIqw0bkqGCqGNtdSZy6hiHcfz5DlhhGFKmZInIVHqldFoXLc+4+VELeO3vhlvcRzS8Ytwl4Ts
vVApoxDt21MsRuU6yfg+QdFhdR55Gfr5lwjZzaKls4HHm+AHw6j3qjSwXRry//1lMKtDqxb6OiZW
YUsyOC1KlQ1lUiWkJH1an3lNtLQFh6yFIgvWiUAGmh6FwEnl1y/6dEsMwV/TXKCIicC4WDYVSURJ
YD4isqzcoGBjju4RCyKFZ2hHFUoOSrTj9CFq0VWITz4Vi77wTUQDEtbn6tir8occi0RLRxzmdPPs
cb3bsKT9V5IAm5ecuTyB87eFuxua7adSeAePlG62sD4Rve1TpMs1r4o4o7OZdlXgqaKQElgB5Y/8
eKNuofFitaAyQ+PMKx7U+nFUUa/Ovw/NoUQtUn8IUXS1kuJSDfV9I0wxcySZREPy2usFJdTxcSwE
Zd2ooktlfSWNxikefbcQ5KPCwdPqvPtMUi+Gx+HIkDU71kdOLJXiysReejR3ln1jPhTtpK1iHzWQ
N0y3fpLveBxsYEjBpE5UfJhCByCqa51KHN5NWRO2FrS6MA1cT6n2dTbUZLNxMDbUJNlUBltXY3B7
cQyOlYDpBDPGuPbKFqq4Hy5Cde5i1sbBTCzyEDM2mVZHMbBMKQcJkwp4TX4fKRqDzDRIoUKc4fiS
h3/0cWq1L7WvFEQivHVxm6y0hO3CzFHCwH6MyoDTsGQu/uv/cvT+wHORQAAV/wHabD7++780ooYQ
Lxmabqm4M/nQb0AXfUjkrBPMyu1V+BC5BaagY72QoW/VKVCytFxXarQtIHzNmPfb3z/+d77L/OnE
04mmTodI/cZ3MQZtaLTcqFwxJhRtUB2x9ikdkN5sC7NAyat0ql0iXum/f64Edui3y5bkOdpPo7ml
Eu/3L3KOWOvFIA9SRaeFyLAKp1ilQ6vtT6OOF34SUdOn1QEb3kG30HPSTuZkmysb1eq3P3yV+Rq/
PwFJNmRFVa05bPDbE5BiTRyRh1auJ4JFiEqCi0XhM8hNVJF3wZ1f0J+cgTAM34HuWXfTPKiLFjvh
zh9/GA7GH76LLKFFVUxVk63v30ULPUkW8pBeeZlhqIpY4GesQDIWrwFeNE8w1R+ehPKnAShj8TCw
mIi6qn97EjEdu6kowNHqGeU+o09vhqKhk2SnBRMU8Sa335Cal6IgfjklBxsnajmwtUcOgMsk2SqJ
FyExjmwRK60N4Z27pPGPvHiF7RbHVVU9mGhAihFlapPyeIuWFngJOYIDEeKwZWg2578/1D89U1lR
DCyy5ky9+jauidcuWJX82jVTFkJweFByyv6Hl+fXIP0+chSZd0cT4W8ZhvzvQTzgdB4bS67crtKu
sGnOXWrseoPid8MbU1CCJTjoPBUdOAaL3/SE4EQaSZHcCKSEZz1gRCV1cer3nmruefbrwlRJKpqZ
JcVLUlaHaQSgUejlWqy9k9gGX3mVVqu/3yz5N3oWc5Ai65osWqZkSeo8RP6BsbI0dZB8WeE4YLE1
9Y0cWoGOxolWy5jyTEmAS93UUDYDtCdxLisTEV8lD77UI3D8lTQ4fPqW/GnG1a2emQuKD61g6v2T
l5rVD+/IH+cORaVxNzPHZP3X3//j6yq1pedGyNdlZC1acpbR4xDhMGOnpLS7xbTUZ0//y6DtIoXa
pY8AjpqMTUhY89N3+dPbozBxiyqKeoSh34aAj7BEEsyxcmON7olRxqMz00ZGcs4wHpdrX+N9ajpa
7D5tjD5IP/7+7P74+ioEAKkinDedgfjt2eE3+c8YHBAUOZUEcjHuQkSi481sIzL/lNyu5zcPXxbE
8JkSo3TyJTKpK804mQGbHDb24dObgSgTYv9FE0mfjRFTcPUPRVLA7kk4ZVsN9v7x2gXeG5yIHTZK
CqZRt50pS82Mofr7hf1xYVQsUzdYjWXV/G1eQoPKABIrt853WkuJXVdwBaJaWw2gZpoILfEkWWD4
OTVBfvn7p/9pXWSEzcQzEeCe8m1NUAdPbdWUNWGcOT0CpYl+opva9dFa8o1bpGUUSPrmh2v+06yl
ihCTVPg+kOy+4eTggmbdSCqjOw08SwQ3L7qZv/z9yn76jG9XRt63jE+UAYvI7zDp1Vo10x8m3z+O
SV4GicfHqDR+G5NWBKtFbngpSmmlEPZHriCdpIEBpuXZefiFCVLDpVa2B/wyZ0xNNOPRDycJoPFy
F1bdoRPxh5qyBMeUODXVoGIQjMFLWJAoWKMA7hRGciuMNzgkVEZnYJRv3Beh9zYDx0h/G354ONL8
Kv97tofjr5lEj6iihWT/25qiakWrCMCCXB9xut2wjNtqki5lRFCLKOU1M+rkhrublgO4G18o6ZoU
bH0LK3P+/gytP30TwyQETdZkyfg+6ZS6IZpjoZRumX0JPs32QKZ+bTQSfdzxPFSNt1MAVgTK7u+f
+/vuBNWkibDO0E1ZMX/doX9MvJYvNVNF3KQ7TYFjyLyTgIoxgRI9KOhMuiCyf5hf5xH/7Z5zfaZm
YJzXFPX77tiqw3AaRxN3mGrCj0CZzVb2qaiih79f2R8/R5VFiQfMbK7OV/6PK9M5wylWZeSuSe1m
8uS10GNmKL0f9pqm8qfr+cfnfNtsCUqiewhHchckRSNYqoPmm1M+jPgBWYCUq/QV75Mw3+R1NDBv
F89qtDHK6MrlU2vo2m4lWLPmSkmXCnosSQlA1LMTglqf8o2z0eTvIB/0KNhKFcBN61MzUq0B+30h
Zmv4ocJy0Ih9yKD7tJaJqMLzL6TNO7LsccyPlI1WkqM1das8DdJ9r9KhkzojX1i+igA+b5ZBPr3j
Mxc2PQdKPJM98kh6+UX73hHDST8i8DkQZ7h2hviVNDuOp7Ta/AFyeGI+SwZKCbCPBeamvnHyDTIk
6YqPcWv6wXOfkkhNIoOw1Ab17BfBlwgTz4k9OtiGZlLDnCRSJDTtiUDRaDpxaC7XHhXW3KIB3unY
baIY8YA5BA/hNF398O7vI0X6w8LEhtLQmAxElGHa991SQmaQwjEtd6MUIABE5kuXZGelly9mZb1R
jehscYzP2HkerTQ61VagAmnqsfrv81Dbjpl6wbz+pEnlUgqK2yTAXtcJ5ZKVhkjxRF5PY0Bhp9Sd
UARx3elAvwMPuLIkrQdP/Khq/NVGfMbWRpdKDR7yjtapABBUsd7g9l60xjpOTXuRSY+tO2+lRhkN
kdQ6VmWwVLERNir/IIIhrwytE/R4OaNzKqt7vCRnuekuWOb86iMas42iSB+jL62JmT7Cg4ltpZJf
20xaFwOtx5Db7sE2V+fIWLoBZTUhrsCzsJi/p6z2sVMb7SXQpY9f/67T93Ven1HfOnUHoUJGztck
1nZQPFejLdhW4msdda43MKdJ6pMiZxt8FtskzA5TIJ98Tb3zSVvUg+omTPkBtwvMnSC4BX38XAXF
tG8CmDyeL9wTWXlQW+ODJDCq+Wb1mGNHPMUd0V5ZdsIal99zBmVMeRiufhghf1goZAtaKsUnDVWm
8W0yIduv5FAwoo4GQ5b71bhtIJcudIs6ZFppqzC1PkIE7EgyKuQsIo89rgeaoJ7Suz98l3k5/zaB
KrKhgpuwYHlY348oVFm6ri/S3AUHgjx9GwtCOBvV0iU5B4tWl7otwntxIRT962A071IuXuoKZQ0R
uuoy7wq6iabgb/pm+GERk34/dSic0ERdlyUTKub3ub3yx04IWj1zfSwD1LsKE6ksjRfE5f7OG6pn
LyUYlBNA4tYGnK1A6DdtK3o/LGozHPn7LYJvy3pmmmSvsWP599zfjLHZe2MLXta8QQRI1/j/UoHQ
RUAYmDrsIRrGXZYgTlTyTTXTNMhQa5ZqZyErTiIcjfq7lu4S7ASU5YcTvL/pkHtko3UYS2SVWBAL
5axXNc6kCyelS7iWsJEhzsHWUvOJBDKdLB8q5j88/N8PJwrnI3LbRI3ahix/OxvUcVMkMZ4qCK3t
sZEtWu/VKwwqu0uqa0kyQdKOSH+UCVhM/vr3D/99B63Oq6lkgIQ2LE37ts8kwBN3kxRhRzFpN+FX
coZxvFKtW4U60XJyej8JiIf+/qF/GFPs2sFdGwYbI0XUv11xUed563dt4uYxkk+0hEVcv056C/Qj
utM8dNIZHrnhNY2MMyrqj79//K8t4L/fNlVUuGxZUiVd175vzPwwIbUsKRN30hqV3mLH6NBlpHci
ebjqXZTo5w5zAO1tjZ60ANqipzpRkocziOZj1SrXdv5rk9jqscbLXwwmFZP8dRzvlfYAxm8b5Vj0
SSb64Wn9Pk3wxTl0sGnXNL7+PKX9Y/9TatSt9Tbli2O6DxTcwJP5EWHCB0F5/vtN+tPAUCj66dwm
dkLat48KkAp7ZmPFbhzDNTBwePjGOtXaAylLE5YxTpSN9fj3z/x9w8zlQUxXgJzPk833bZdaANYU
zBglED/eKl7zUbqCZHDEQrr9uuWxly5V2fhhPP6+rVRFjuSKOG/W+eBvL4FWU8RoPCN2hbbdjknn
qmp8F+ri/u+XJ/3pnmoi5S7FhCwofy/jsu0awpCf7fqZdtY7zvDkjM0FN5bK/LkUlH2syqtI1FYm
bAG1ZpatFJxW7bgJEQUCqdLgwE3Go+D9NLL+sF3iHkgi+3dTFonN+fZKDoI8ZFGE7bfCBzSFwUXR
BuYAb9+Eza7tniUywIichBEl/TTUtHml/f4+zlOfoQEJY6X59tksII0F5Sh2LQ24hIrRjwoIrAXR
yJnX837TwHSzMWiCa4BEkpHTzBWgKk79uwATvN13HnFtTXj4Bbw1JYyAJi+1IuE9HggCnGJWAj+0
ee0pmEly5eCMQxRStNnKq7P7RMVEPswEmV/QsaZQMdDjJsEnRlIUYohfLAOhNJdaD7zo1/8OEM+C
nQT0CRM5pVZwcH3/0tTatupAMky5OJvifVKclHIB+xgkR/hGXQ/l2wDcj5g5FxCXtZCl8hXA86qY
jwE/DLj5Jf3txprWXJqRTEv9PuCmCIZroDLRjb3w4kXo5QJtqY/btEKNVgJE8TSC1zJIJJimPnDn
LJWiPv39S/zx5SJygPaFRfbO9zkrVUs2D36euHg6kVRx2WIsXU2j+eHQ9od6IyPY0jn3Mqnr1Pr+
PTnidlOyoswSt1doOqFNNFuQHczTddmRyiZdYR6gB+fZNIp2Dlp5X3kd6anTT1/k953KXKGXaBOZ
FD+5+//+IlMkYiMGzepKNdyLll+coVrX/mucjk/abOWs6+StKrXjbIRPzbf//w3nLqgs6Kopit8r
crwGehcHzGZj7H3M97tCX5ZW3g+Ttfz7IZkiGDMjfQbK9/L3t3ao40yacmYMPabFYMH5t5MiQZ1l
nOORPCOdOet/qDuv5bqxLNv+SkW+Ixve3OiqiD7+gE40SUp6QVAiE957fP0de1Odh2KyxO64T/cF
AXcsgG3WmmvMxBDe77a3GjvucsjzqwGNid5AEU8peGDmcFg8hrwifReb3kMOM0cPMBuYkAe2GgKn
j5vh91ob3BlMjbTDO2EZ125cEH5DirKz95Wx85WqeuSvXBc6XqDqh63+u/+TbsC6A3vh/i1zk/En
OTbRr8M8XSlaDxI5rR57wqYgIV2UNVn8rc++mYBfRgVc1ciI1K79uEAA8+sbwxFPwNvmgAtFktfU
DMxJ3vRzXq8DeArr9ECRMVU6gP5dwA8QKGuolTHaL4qkyq79FDGaYEhw7bntXnW/OK55l6OtKZ+n
kNKVOB8OLcOlhA4S1HSElQOLwcNAaJysC8sLLuZOv3MnghkVN4OKFb3Zpfd4q97mVfnoTep5Bage
5x9qmZovjYsxbqigrmW8RKiaEKR3t2j1jQGtqfJiAR5+jvGsXkVubmxL3T6nxvhmwGoIEndzhqk9
eAt1R4Z/EzgOwFP7oYiZ5nLbqyhOJxWspX4ecTusUiuGtfNVrjs2/nfiX65qIipR+S1RP+pVzXev
vUOElfaP2r63Q/smwAJPWNEevLrxC2BLbjr4I0nOjXggmnFEHxTNB0vrGyYw32z+6cTT7pKmeEzC
5nsftcdFNe+UmFFmN9Jg1019C4vj04JTI8NSb5020ffkm+aBHBG+tZAeP1HhdShhkaWCM+VkNspo
xX4auLncymrXg4HuUbTFhsMhFQI+eCnc37KBSoIyvOla8lmO8kE38N4AQ1NNppEUeHtiGvdzq5g5
PX6bAEQOSqettKm4CafAV5OtFtZ/lM38qFZodYLs2ivnD0bN+jtdkEZjKAbNJGuNt+N9XeOpNinf
PiyB9gSu7TOw/3tHi7a1V9wm1ddeMw7GYX62RWGZhXAn+qyWznkZGI/u0N0WNUA9tyLrV4lI1b6d
EFDoQbEj3kNJldfdRk12/PWz+l7rSkxLsxnvMx7727R7gLY6NWFZHsYERZtTHOue+E4+3jZpcVyq
1FdHZ2dEVGih0pwLvhw6ktWo9rdZhzrCiSidia4yZ/meTObn3FWfFlhwifuHls+Paat+MKd69/Jq
GmlJcjHM6d72vqbiJXHjtuWBcrrL2h4bREP3YVedqWp8HTLYKrJpOyfhfnatD32F3hlY89ki8qxr
lkdb/fO9RZM3dq1Zc29hnrLWuZu1yTznqdljqmUpyS2V9X60qE9Vpj4Rp95BbNsXY3Bp6f0tpfmr
FDvQVQ982lCLi19fyfcmu3w5pjMGYzBmbm9a3TxoTIDzXMmlKz+DG9vNi/U5sWguw8hZMT89Vwti
S6FlXdqh55tTeP/BN3hnXsWVUT3DtZlguW+HgZVjxl1eEF2q5+FWXJ/R9g5hC8S8+2x6w62qpvdl
buNG617G1JOh8ygT43PSLk+dE14rhfm5ALKvmFTNOtoHT+c73bFmoKrxDJM+6W/Z+QG+ZbEQh0YJ
3TOvLp8tq77LWm6gOKyv3b74KBn83s1iYLOlW5quM917c7NwZwSl3i7FgejArglRw8MzWUFe3VR2
dJtEMzunDx5ncY3f9Lzk61XLMMhAm7onWqhXE/dqGadGDQheUbH8sKBjnKgNd7oLDLU+Cnw7713t
15/15n7D6jJNTFMEyjz4WG0cUGCqQepihqPFj/WE0WPsIms0jX2k1pdLVToU4bhn7uzx0NobStbv
BNE3N51dSD6vwSpVLc0HQPU5mXzcScAtZcu+0npcAB312CrVHSWxEQh9oyNYC0XizDmr+uZOko+R
aOakH2HzVc9moR1mg3GhNYBdSZZjG2nHunC2RTlczfFTqDtbry1Q0jm+Sw02IRd9Kg9diStx7Z1V
zXDp5UBflHnfLO2lMtZ3KQCfXqHUlALQbLjIh/lo9FSp1f2fSdLdDS3fMiwupwKCSR4st1ZGpkT3
sDQqKdJexw4Im2xaVtU39xilTM9K04P5EqifsbL5krY2lrL9SpmNeQ1I25s2g4pJjgGRZldTjyYJ
lx4/ZWeikqQaz/RtNEFOEta7fEIpreaPFdIsIostPljd2RLOGSzUgn7ErnHyKbkDwQvsTWPRgSKF
sc8TTCUoqZZ9Eo4IN7sRNh2gqHFOMIjo05s+Z5BoeCZgkEzNeAtB3UeWCCvBuowwJdxDFkIyTgR7
hQnD56BGZ514xr7AFshVqmswetTocNcvbnEN6nyDbTYSYXU64pB9MCyocSn1wgPeQV767FEe5MTt
nRu4Z5bbPA9xeR02xbXSdmgpAjRPJiXt5ffW1R70jLrFIi3vk+kIy3Dl2OBuSRw8OMCRgooibyDF
XnSILN4rDS5UTK16wAFGZO065Shuicmur73ZOXPtmSJSvqRoB4Ck79G37o0U7mEQnY9x/7l0wmlT
9PP+183lu8+P5jgajYOBbEVMql89q3bd1nig0yDpbbBpbFrkaPw0VzheoBIyZ3vbL94ZP/GDdvC9
QQrxD2aviCnQKr35WCuaYaiEM1VkpH801bss0px4fvFBS/Rud2QxwjTI2JJG9N58jok4CHi9VxzG
2Tv0Y09NFCT4nGpdoiklcjqgm9G11+gXMbY4tfbxSOG9Fp9O1bH5j4nCvp04elVe59VokVGghiOr
UZz26N9HxT5n9yVCASZ97ioIlxsa/20Uo3gFiXiuNgCSXYKPPYY8Xdd8SnUstVz7LMh1MlgWsOQA
I5oRcuYqxx/WSdrgEGbFUxl2N30U+nDFz7x5AKaA29RgNVQoFETzQ4xCQgqIc/xv59K+M3owcCnN
ZT+LHGGmrPUGWmk0i0ondX40iuVQLBjuRM4aH9fLPFIR8j/pbYowZ6AAH18vHOjjm7q6btwSDbtJ
0YDaLY/iapaQwaj/mtKNm9j3TKXS3AbaMIPPSq4beEuQexmJfA2UEeGCyNhFtBsGHL2NFsYEaobk
wmWQildBAk6BKFSbO91GT4aQKAMYRw2EcBbEeyw/cCFAoN5l1TOFVIBJVdjc0wCWH2HEGJpYGnTm
XTWN9W5G8+9UXQjewaNCW4NDQe7RGWy/VSmizJpw1U/U2A7J/ZJW0DdyIRKn5jMO+ACBFfz1M/he
f2kbTNE99G7cquIZffUMxmpr5UU6FNAPyTHpf+R2djaP6j7VsKv5f/qot1O0oYI3jOdvcYgcSIoF
fOGCGDuYxPXYKR/8rHdHyTbzKnQpyNGYzv38u9Rar8rabPhd6aGNcNMLi200lTsxbk+0+YsWYi9G
JTu44Q9+5nujHqI0hKQYajEPezPqsRtkBUVG8zKR9oWAnueUvHTdpRN5Z1rF9WX713/s+59oEckX
xqZ/izYAp0bdAsfw0CQNBWDNHVSZRy2YH8qsee7oQ6A6bX/9kbLpeDvOEvpYYp2olZ234p+lraD6
46BwSCYc1E1MDgc0jhRbehiNqs1q6ezbFjYTXnBjduu6d3UKxbGZGSM0o0j1ldSYd9cKHVVLsSt1
pnnHiDRe9t6MtMFSSqgTOI84uXWWInoj0IW3r7kc7cqx10uz7MOg6taOy/M2UpWG1wCx7bMBju6G
Z+UsjuFLkbxtsY+/bTIK4zqYcLlnHMpc/2Py6k+FUsyrgEgsguZN1EXQhD0l3ej4JxCbHak6FtXn
dQs0CQEgJmHlmtlnsYbj/yVxoU5YwPF+/a++e9dyzxqkgkhNo0H9+a4dpwCvtMjLD2NdPWfzvQdt
JA2WI/i6Sx3P+H6TUO+4fBTIfO8GggdEIJOArvm3mUE7KHNU6XZ+gFD9nCxcPm9pH+ese8yFBmNq
qmu4P3e//rHv9f5knlC8q2IhR9evWh4sn1MEyZAPU7qQElzN2kOnJbr+prT8xNWusrK+E+OTX3/u
ey3eq899O39OFjMbSkvNKWye9m7GPZa47eWoaw9NOVz++rO8dyLUuBDbiMSYltIqvAmVd6OLoQem
TAejSG6maRg3MbL1kGis3mQdNi7VnxZmbmSflv2sRtSyuzAziBtqXOggaJ2V1R6M8CkroR/ZNobj
oXENq3LKAwCnRobIT9GeQptarNYElhdYXxI0kltdR5Y3YbvXwhiMEsA51vJH14M0WdJb2kbYvZCn
dlFxZExLWTTVJi3V2ji3PcjiEttNVGyfKLvzLtOSaqRaYb6hgb9eMfMiYFwy1leKO2w2WkpCiDsH
2j4cLDzuuhY3PYwhkVJtC2v8MizmiAkc0x6ts/bIvS4DO4TkPAK/xNOELriDMZGuQx2GcGpM12YW
+WLcXDfGg8uIeGq5N7BU2IbR9GCGCzZY3V1S9pfYPVRbJ1XOptTajuBnYyX6U1maeWtFnY/HbHdp
NRFuURS/4tD7QRfz3kPjCQNqEg88rW9FnVlWteguK+LqFbOr0ngYwFF0qvlgVdYZCd+HDouyD1p6
/b2b10OTQTWEQ6r47f3E/DLEt5AGws6cSx3gPbLbQN9o7bqGhBsLdyhNpODa2DvYQYKlYR5cTnGS
HMIkv2160pqVTto3x7VDT/4sguozenvMrYZFoCXSM1i88BJ6gOpgs7bZQAmwZkGD+PVz8U6lgEmN
BToPneaGWOWb5yJU5gxNZQbzKMh36KeocFeJeE+Ndmnm/Cr8t6pVTFGfMsNfT5UIsz3PQ5g9l0TI
QwoRFa/bDz2tcFfc4qqHfotSpz2uBVTiwm/H0iO7H4xdYBvA4yuIl52CAUWmCmtoFd/XeIgOv/5R
Mr70pk9ktG9pYjDlEv4Rd8yrFs2zZzfvdCM7THqyrQmqg1Jz77rSHtaNPu00L6g2ZQ46PNe1uwi+
AnP4gvLeEG+Qrkj3cco0AGqlG7kftEPvCTEQbZM6EqME52+B2XCylioYaGwrNzrv4+xRyerrqKQw
2jIpRO7wOGngeLfWdAf88SqauguL1NdqCJh5dq1zP+7yqHjuUi4UlHpkbvnzjFuBM/IWfeGeYVqD
2sdU/vzgP1XfaUHRRiAVQOBGYudtVlNNgtAmbJSjz24wUkqp9+tnmo1A9XF+RiPCvzstZXwcI98b
QQ+USbpceCrshjF6UudavyKBRnY7gxhkBMKfs69RvWnzY7jwuMzZN/whi+1YdFfQUeGe4KzoVcQ4
CpunxYoHZZPAVcW3k4dthjpuufENjRWAyqJ0DlnqmbjtFsylXMMvdRxyjIi4sMh8wU2JfABqQPoy
AhTDILimwTN1ijcPbW1EaA09ZavWFcpTxbhxrfihQIa0MnpTW40VYyVXcc9T77sz0gTbSf8UWuom
sBjNFMMBIdumtr9CLH0Og9CfQthPYWJtQqO8Fv3J4PyBDeZXMSjsMuOhbZo7re+fdHJ95M0fhljX
yP7zxoba3UWM+cdxOHpVR4I8OoNaP2zCePzzIlCNS4/eIDSTdE+0kJL0psYyxXOusUNm+ggRkCZ2
gPlVdYclE9zRWf1alPP3D+6F924FBGmGimiFSe3brNpMMiFrOyM/TEmZgYU0VuB9b/KwnfbM5/h/
Yu96MBVMPEX7RZ1NmmsfKEveGbRQIOiiM7dEj/42wIvddV3nYoDmlVy+MavubQfE8ODV/DfISQ/e
XG8X6khXMazlj57id1p/QiXkdAjjMkJ8G30vyLH3Yx4Xh7THRLIqkoNZwjBzAN1vjJryqpJipHPX
urV4BnZ5EAEPbQ9BVeL7HHXuXi+Sy6Cv9aMxCwvAwQNCiC+Xah2HfgouoGVuMEy6i12MQxlb7BnV
MCZsmpde7D++T/8nfC4/vTSJ7b/+k+3vZYXxahh1bzb/tX8uLx/z5/Y/xav+OutfP2/yoh9vunns
Hn/a2BbIYebr/rmZb57bPuvkx/Hx4sz/6cF/PMt3uZur53/+9vjEPwdEmGrl791vPw6JmtSXO+0/
Xn/Aj6PiF/zzN+wG8JJ5Kv/+mufHtvvnbwqj+d9VpEieZ8kwl8uNPT7/OOT9TlyGnKWo+yRYziUv
yqaL/vmbqf2uEhazeSWSQYaOxm//aMteHDLs35FP6aIYyLIMYjveb//97X76909X4x9Fn38q46Jr
//kbX4OO6VXHxfhbjMMpsKGKAWHs2/tKzaNKDZQFVEYT5YDv+9ofW+rBqef+sfayr5ogMyZzjP/J
KNflWX87htXtsmmoSl+9Oi7eT27KRanpta+74bgLR+9Tl/YmYR4qAKMBVmaRuYWftrg0ot9op3Ue
IhqSO7HEKXy5qOaZwy8nNQW3+1rulmdl4vWnU1+93emc02G5NinQ+5ue0WqP0dzp4JtPHc2EmtDT
Ybn25pyXb9YqDtglvGbBFfOd5TmF1j6oCTJZJeuOJNSHfRsUZKuXsfEJJFD/OWKWgGhF7JULx25/
2k5L68eRJYJ/oljhUb5anpwNWu5rd3L9dOLpzU5nvpwuPvbVB7x3+M2+sMB5rE3ti0glTGWr1fH0
TnINwfWFo1K5FMVV6WNPQGGwXJWLROw8beJ5xmGzD3/s7NGvrhavdV4u5ekqyj/vzWYhr7+L0/hm
th1wRXZlL+vGdCsfSm/tJyZ5xnJy4m0SoYlayZu0zKsIJjj+TfJEuU+uvbxO3tIU3Bs7rdMu5X06
y33yMOUGZ/TZ2BGJD8lG2133MeW8r14rV/XR/GT3zriTWy8Ph/hGcvPlTcUm1RmTpoA+aHrfjHXU
U3JVLuJRGzDefCziBJlk2EBty1u745lgUehTB4KGNdOB/DQrBo7HmtFijUKF3EGuUgIJFKUOj1qU
Q2xxAVSlrsFDJRZ9O6FG4OrDt+njg+POW7mf8cuPM9Q0oK9o1D3D1hLzG7v0E5xBs9Vp22hKY5vZ
xRed6IAvF7bF/yLXDLyGfU0s5Ga2zA/LXLlb+pOKqhbMGzz4RpMlHia4Diyx/h72FBwdVILk/iC8
EGAWgfh6tWrE15MFPAvbqHqTlhlHJbg/l6uulhf+iDrwaOENGVKOXlvqhfxhxUJg5+UPcK0e3FiW
53ioe/BcC0JbsJ7xoHIwTT0k5uyp29PXd7REEFHwM7HFvVuJv4Nwb+nLTbkwxQG5lub1hYvL4M7y
4srvnAqvQH0xqX9TxX+U55gYLHN7Lf+FpOcekGvy01Qq9w4TBgSJ1kw+vfPkJwuTmqhgPDGNTgxJ
o59GH0cVVqkNSTdVSgVUlurk75aaGvIYwO2ctFCDXr6XtsSoEBPu0JLp61p+KXlNTIUq4aDVD3KX
vEKnawU0qhoK4toLjTy4+vuqLQDPys1MfOc5KSFlBqW5Qsy7ygnwHUNx9wWOde/hO7cbCdIlEM73
i9K3vjwm1xjab3WYFQeueOMDY258ueaJQl3hXt34BGMxWzD6J7cbRUlh5PCcpErNjSdW5TYWgbea
m1Y7azArXxkMcEtyFdksPZbY6bZ5zM0UnmcM032tKCok1OHEH7MEJf8Wi7DBY8DGRYZ6/vCzquDp
AeK49eXaadNdwJuYC0VX4mDfh1/cYYLnVvbcEo7itD5zWDyKKXDotbTz5a4o7PR9bJcHsvwPlZnR
3v/1Y93CxKn8tD2pqMH0Samwy/3vX/jyM40I2LjdzjX2MpoOa/Y8TPmBp18pN+XvrcyqhvU97Mg3
BPs4g+GqYiTC/IRfLn+uowzchpZcyh1lDdjTGfUDTiul308wKHs9Sbev7ld5d5Rp621wxaPQqRWd
/8sTLB5jr1f2aNU0MUjkU8TCNPPLOuLJI41DCwyh49UiXEj0OAR48Y3lI0u3HqFYD58SKy0ZGHQl
ARu6bbmJPiwSej22kV8yrF2GhGy1GBD0Sk0LJhaqm8Puq+thl8V4admD4W0qvas2jrjn7SkA1OWk
SO/yYVwTp5l8uS8o5q8OEV3wZDhMyIWdpdiqlyq1tVFubgyKFVa9Ru84hWXjyzUwK9ykRdpMIFdu
tZEwnYODzLqssWmpsCDhdlDxhPHEYpimcOWpU74NVY3+O9UTbnhxg79smzUwn8KjKpBIxsauMEp4
ucEbcSHlYplddmKHAfCi9sATLY62rHVnqMiccFU7RQU3XSYrDwwRPR5/n7y55dpps2tsbVuqY791
NWLp86L5chGGGkS9GDu6koddFU2nXDixMEL5a5/cLJfCg4Mhjshz5OHTptxnJGG012f7TG6ZdNhk
6MTbvKzKva/e52XV1ca13dHu2RQ+7Zq2PteLvIWzTMugt5N1VNtrNIjDpu8dc2NqqYGhRRiucYhS
V2ORE6uvuM9QmdM0yCGTBoRhheln7bdyVR6nUblC+A6OI4MfXYiuZRSdTBNSAAFIhVW5Uy4qcViu
KYya6TTEnXZ6jdwcro3eil/eRB6Se+Ubzbbos1Idi/oKogtDE7Edizc5vVMUwIbVYwvTTQYoQF7F
4VKOZ+RqJAe5Ymci1uRmmo9chNO2PPG0+XI4l+NmeaZ8USafmNN7yvNPmy+H33xacnqN5SXlvuur
l28gX/fqW76c+PIe5JsChO2ujjk0nX45iU6PUEEFeZLtQDeJJQQdJE+xTy76v9bk5uLSZcqT5drp
tXKzX+rIB+ErN8wQ/MLLqmrZy4KhJW+qmKK7lasve0/vc/ooekTiGBkJK3lUft7p4+Xa6eRX73h6
rzdf8c1LTudNMS2FGx908bBq4rGVi+WvtTebsPu9NR08zoriFF10Y7UYbZwWppU328Can+QutSdj
jbkeQ7PTKW825YF/u68sI6xx+xQnA/FBhhwvvHmvl09593g/WAHVFpguvnzjv36o/O5yXysbKbl6
OkceboyE5utlp/ipp3MsLSQaUR+8ajQOY4zGULyxXMg/b6RIbiFvPua4N9m3VVUAnc76AVSXGOTl
w3ARYdW+a8UoDZOa0nfkkE9unxYvO5uCpKJX1zodkxgXno4b4pUvbynfRG7Lwy875TaYpGmrFQux
Jge/J1cZ19WIfyB3BQ4eGVw4VbEw925iRFtNArPcIi6H2Td8R9MAzzjIbm8yl/FWw0nVwVXsMJgQ
5nqtUWmveHZMMZbs5VhykSPtKOL3uw1pq1lTy23Qe6bvIV325VpU59bLmhkPzp6p/iESvQ8SCvBu
clSVFEC9ST026zkLYypdzzSd9h/FFj3OFDPjj9Bqg4sV/XcoFnKnrbTKetBb+OuOdqNHXrPL1HBS
13Hk+urU4S/SA9mdxKI3ywo7MThWYUWJnpiryLUcu7sEBM2+UQvV78RidILFbxtD24al9c0U5QmD
mBKdFnKfzQhhAyaKoK4LSUZZ6nFbtoZCRwFvNVNsjL/r5PPSuO42l92xK3piuWgXaziW5YNKE8w1
Fv+EJcZV8o+Ra3IhD2RVCBJ8CLAPy+3Rf1noWXRoF3B1sm3sZMu8iPDDKNrnRK7KvWoRX85m4uHD
Eg2+Z2sec42Y30vNMyqgn0/WRGstXyaPyDXk/ZXBxSBC1L1a5D9vyqNyX1zjUqF4k4XDJbU3AaIb
305MXJSMCAag2Hc6INcm8Vd5k0deWYzm5fWVa6fFIO4Bec3lPrnZaSLoc9p+WVsggS4zfl8vswXx
hvKAfLF8XRw6lx2h/d0i+tle9K6MDQv/tIllJF0krigsW3G8JoHBOO+vU6MY31vpPPvqpAzn8ThG
szQwVfWWMmgP09wPvkvRpC+qoxgcaRWzXlskEKsBVL/jlGgUqv5cLnooDU7Xuwe0eC2dgsagQy76
nDjUyjSJYqt99dKAw4ehczm1YfiVT9tqID5P6mP2M1wg4JyOPoUSo6+JxWmzX0wwiKdtuSbPkWfL
zQq33pdk1P8qxnr5OHTP9c8h1Z+jsv/a3P7X3T9gZP3j4nZ398sz/z8K2JIoclFO/PuI7bF4ih+L
x9cB2x+v+RGxdc3fHYqIUO95AtkDM+2viK3r/i4quE2quV1AffLQKWLrIIonmuswLbEBYJ0its7v
DgcA2FGZRPbAcf83EVsUpkK/9CpkK9BaiNw9m5AyrDrURj/nGnsdUdMSwRzBDXAx+32GGAr8VJxf
4dybkn1XMSjrnUuwKfHWTiaYJ8xZrFnLrzMz0TfGZO6R75CZV2MByyhsH78tbAZsTFKaR5L4YL5T
/RuxtXmDmPi6IZXrDym6ZioedtTTCP2u252JAvNNllMilORliCVFpJ63SrxdSgWmXdG2x2763PXg
7NUUKXNvDOjLQj92qQ1N8zpYAQ1BVJCX515WRLtoHs4HtLA7tUSYDqGMMidb32B+Dam6Tr7NOuxV
xZxwSZkQBOF5uq66/kZhANp4JsI5iuA2QW5piAq9VQdXcB3oPaykKMAL3flaKlO0m3ONatImO6vB
dHFKvS/Dca+EcPv6QSsvqJNvGsI9tKRPpEG/JBlR8VwVfpbVn8MDMpqdhTfUWV8m7iY2U2+DdyxG
Ibmzn8n9rG0FkS++c/zFk40rgWYdxkbbZt4IyNkiC1hW+VEdHqPee06hfda6c55n6X4otCs1hHhS
E8tENlHfW3Wxqar0QAIkugi0qbs0k/686akgiuPoU96YGcAlMNdm1F1Fpg0TJ7XrQxmqt8ptHmnh
Lm7pDgymyk1X9L4badtZL7xLL5jUa6Hc7q4AJYQP4wT/G2JcugGh8L0na++PiPOMuiNO6cWwdaFN
54tzQ/Rfx7jWtK/q7DpNBISHtJGdZuO2XZzwU5t1zjHvlBvFwLqjLtMnu6a4f1h6YNMWDlyJMoaQ
LfObcoDbHGkaNPs4AedeB+DWHeO6dXH5zexE3QxV9j0ovcxPnGpvFxCFtXHUN62jtIfYhdtbBFvc
b43rKMp6Lh2Y6ngOi7PB5ksXNSmF+3IqbUwW5pvOwKaZRro9Bo5G+bFdnWtTQ1QhcFeKUVMogIeV
bs3j2ayO4WVBHm7bg8HYdqp9O6Zl9QBCem5Rk2ZhvyGfi+etiFwOlC+viw5DgiUCuudgbOWaANyx
N8daOr5Pq/K2XTD3CqZwPOottOTMaddU/dkHUJ76WkuLegfQGGYFhEsMxH2CEKjso+XStr46oznd
9aT2vACXqSXU52MCy9/tFXUz6wrFrrgR5GV9RbKSRHhRuWhe64ZQgXOulekOICU09DwbNyNpnnP0
no/xYj/07czID0Mkx+u/Imm9SmYjIApL4hJIxo3ihtY5CgFnxCo+TSKMbJIMWNnA2HTAMDaMk+OY
D5tgGfS9ZjrGRunCbwps97TFONxb8u9Kml4CTpj3xdQcdK73VkcajEP7DBuzsVaqu47B8KRC5Opq
GjJ7LbG302zi1D3OAnFnf5oLNTqUZslIGd+1HVyxEXM/fDS6z8lcnyW9Gx2yFt6vu3wn5mAynbEv
8NULNsVUVbsx7K57q39O1dBbK3pnovqYN46lAEl3euwsEAhntmPe1BcGf5eJ5+tqKCgQXAw8Abpz
XW8vQ03FEWDGLRLZL1iAnZovB2wf3A3UJwyIKxog/OLdreYuBzSGF4qh4+NnVxHimd7XqIdbVRoh
UyXHGKIfz4FtzcepmIi8gZNUQhujqgItRuHM64Fo4gpeP8WjxoWZ0bTjWYt/eBJtBs24USvnixX0
TLXz/GxUHjKcFHd5nz4opm6iVIiG9TzOBS5f5rXi1cg6jDn8nBINI8aKb1eHxCGyyzvsXT9H42Rt
C22oNos+uPupqR/DWr8c4mjcDlQVwFNzDu1ggWdPEZaO8TN2tiMOw4VQe7p3+aAAUlI63Iuwlgnj
fNwbJXjLpb+Z4nyBMcnkRGu6EVEGjmx9Qch+SjAgAqHquX+GWhwgluj/qLrcvLbiZ7ebur0NDxy9
er1NlMnaJ3CdlzxftYv92auSi1LNbpRJvenU+sl08XKIhxyXihFQaEaXF89951P5q6ntztWYOoUV
JExK1Iat61KLE/X7EI6uoINtKpX0Tlxd9ZrzRxFpOChquK0tVaTsjfpLoZrxWaIpOFh7CgYMy+NU
J9V+0aJnYymn88T5U1tCYXF1LJQZjyrbOM7YxReJ1l87Rkbx6HJlBMlyYwa0oXoabPup1/kXkhlL
EzSddRuX+3i0riRg1HKgw6oZvEzmL+22xe4uNBEPT85tOGL/oajqFdgMSuotfFLAkCLQovIuUpf6
vHWXR5CB2GVUKVoEdbz0KusYVpQIWdVU3eRTLMAi2d40aQ3sQKVYBTejpi6uRz2y13mrIuDxsF8o
GupWW7V6JjmjnjepTusfYyOq2/2j3UCNmi3oLbmeXNQBflpEe/q91RPNznDMSLqg3SEwn5HbeuWZ
oY7fFsO6hFOu3Bs2BHDT+zZQRbLtatfaO4lO/D4XvsNl8UmxbB++VumjAX1Kh/5bMoNhb82E0qKu
mM9olCBOG/TjeXRWoG6YE4qDlECtNmZPV9Ev2riZu/pOTRniKLk9bC2m2ZUWYyvAbG+jF8sdFHNl
23fZJ4K1hI3n1t7ppRoAu77DKls4iNOcddWUXDQI3xNbsY9TQ4gxokxtDTQHL9ikyzeT9qdImOzd
yr5wcN0Je8fezBpyn6WrVmlOB03sYtHmQ2qEzMAqm9EXJcv7hMQ+ZYgpk9XOvUJ7vKy1+XPbhPmm
wy4gwcn7wsLgLGf8dDY7Ku6hRkz6aDAvuyGbj86gPwZw6NAh9c5FOFBMbLaKtrec1CPa3z0RN5nO
6xyvWitDYY5m7wK/gdqrUEE3T5PTl7tSE8Y39deuojAsbelGQioFtx2k/bLLbmPKWTe0hsRl3U2l
5A9RTNkU4SjwbVm1iwbmYZM60WZXk7LVleVb3ELw0tAmo9i16d0BLmqxea+TsNjpVcz4bTd4zX31
CXXBvnSpv4i7iE6+0sydS1ZylQxQpEKcmDCK/R6NWIfpjPRWGbT6BFrbpnLAnsMQ8kfq2PfVrBLh
WbQvSt+1DOII53ppiFI7y/BMoG7Si/Fz6AS1T6Nd0yi2LxXQL/2gXmVTvctKw13RRfTHwYqJPePF
M/UqpH2FMUi5JPeuUatXSX4RKd5tnIoqqRhXAFubt2bNpHBpz/IEikU3x8MGD9dNPjFh9+b7hYZ+
wqxy8spx52bubtA0XGSURN81ZaLs3JJRoDPVx65BfNOhtCETfZma6leZDZ8Z5WOvRI15guH6fBZE
Fu5YmPKlTnGrO0a5mwqXaJ9B0or4Pekr2GaVuhXBr+2U40OiYOVgZw0w/T64i83oLg4oP5mHZthk
YRrip2A25bYrqVpxg7j3bbGwSuIyO5JxP7blTsbY2jFtbozRI0Inc9aAqUk4lFGyDR1+LzhuAxMd
c6LKfSTRIQ8XcafurF7FhIxwHr1I7cu19zbf2zcNGLV5aexgfsZrcSPAjzInUPVv30WeF9SaTlpv
6hFN9gpm5OLT5cJKcxKDp+2OMfwmcjG8e3Xk1ao88/9Sdx7LjWNbun4inIA3Uxh6J1ESJU4QkjIF
7z2evj+wKipPVMQd3J71JJNGdMDG2sv85vGegY45UAVzx/3zagGDdzsICtlBqIPj8uev//zNv370
nz+RgpDKqxyYFpnZHR1Dyfvz5F+/4PHaBMYhfo6Yrv15uqhz3UYwyXQalTmZpVFTtYWy0R5LoVaW
puXyRLGsgMctsAUZzXa2sz9P1DXhBoIg82IVyyOpXSDXf82H/4z1/5rtx/m+IJnHA4aT/pgN//nn
8Zil4Dsa5ABBszyemQ+gaLZ0sh4zuSQdcXVEzI0cHeYqVjtViIN7+gravXbCjBXaLo0dKxuZJi0t
ocetfz1G82UDTqZbTwZ5y16utHytWgyTJkaIg1ZiqfPPDF7WFoyJ+FBvymVk+rLC6SOsseWCTt7j
3f/8My2fWAzAZP48VujWCvK+tvaXKRhiQSAPZuZR/pAcHoiIP4/3/Uhrr0DhImYYRlOWijvjMx8v
skL9OQQRukI9nFFNEFQ0CB/PKEbnKnKPoPzSVH5gCB63/nVXnuikzSrd2PnwmL0u3wC8Y7R+jA7/
DBHNZX7+uBuWPUzWBd7/GBQ/RsiP8eHj7l+Pse5caLXrZHuZVvMOkJh9iTHaypBjUVc30bLX6UCS
FT7jlLxKDtD5jjfMvOxgO63wgnG1dY+1nbEZOifWVpd5dxtWa6DhNhp9k0dXcMJoFcfceetf1z0+
BQdMT9aQbjztCYLd6oBpq9O5tFUne02v1wUy430sH3YgOFeFfUlq94aR2GF0ku0NA7ObKaz08/TN
A53LB6a2f9VocxS/pMwTkisX9jo73Pxrm9I+gLbaOYvv1i7akgU/8d2kNSnA05r3JoT9NDiiVa60
g0TgtkhWw/lysZEvrSta7nB6UEtWHH7d8B5VRzU/c1hmbCLnS6F9c3imRPRmSAfaO/OW8T5O59wa
vDnCBEzeVY2HlkExrcTFlRwbNryNztV80Y0tzKdx3iLrQ5Jz4rP9Y9ri80ymDsEYiUNb8r1BQSni
kKKQg/PPD/409CyM1MVZlGG0ibVPtk4Onbnma+DHU+NfCUxopbMpbOOBnzWj7aKgWouarMcN7lrq
CjoCsqPYqEJWblFxOy+WjAOETAeMGyeBlEC3jvi7dN+Kxoa7ogsk6xvp3vsejyIdXw6Lw2udXIcW
kUwF089dlK6M/ETyv3zYeMIiirNQvOPhA4Yi6Rw+vWg8AY3WxR8W31EldcXzzL527ALPgvR5IN3o
nHxC328ZBtpB45lX84yTqnlO/Qs7lsd/6g3yypp4Jz8tiAWYpqk7t+vkbZqc6E05Y7dVOr6D9rj6
nB9lyWHesxP4pTsVzO8LFaaEf7z5hcVWt9E41uY6/BIvGMRywPrfVYi5G0cnm978Z6KibcmnNPzs
vHkVvvSLHdr0tWlexJXHRL85FNuoPraCZ2W/IYnJwjZzlOfESVF8P8aDvsqSN6leVAxwmT+Kz7it
upGLn9qP/02yqHG+ZudUHkN5357y17Q8CNsfnBewRProtyMObPLGQFZ4qxExSt8xnJEV3ePBUvmt
lykKrGgMqHbKz/ij8M3t4hB/sgQ6TViJxlaVZjf2umt/yn6VkVO/SfHWbNeZ4mBGyXmK3/TyyQJG
kpQvUraG3N3kH7x80cDAp3Vw1fNfXr+cdYkaO/PG8S6kbjmdWY+css65zTvxe82T3Tu9krsUb3oI
vRQrDrZKLKQUhu6PhSmfMzfPWH9l+ZnPjicWpJv+cPpLTFOWOaVDC1EtjyyuANi74S4LjTNrXvP5
GL7x43hLLoiQE2s0z+3kVdhq4keLqSHYAGqz+ZirvY2ODm+a1yuURFW8vxOMJX+Enlq++2QlN/UW
hXRLOITBkUWZGvDtHQ3rXcntJhxo873Z7NLHUcoT0HCvVflild+d8iusnLW1KPZuMblHNgKpEqNe
8ZYRLjf1FxLDKm+gmVelXmXyoSe577GmRPkXMMhG6j4V/9Kjec4ln1XIclUMWe5V/iFisZAWF7k8
mlfQFxWSPAJnZMCQjOtbgoIYx9ueWjyU1rxFWPy65bZVvDWNF9QkYi7XHr1ADdaki4GIaXPesYCE
WvBtSva0SuptN1+su3nmDMv1huPaO5+RY55b+xSFz9p6+uYKhttFeOIyISygp4+PjrHJMJlRvU/l
CbNlBOOdZcBzwG0UMWMgaykm3/0OQ21iMDH2g6XEZ6ylXfdNXB0piiaPF827/EfjjsdXOeRv9JlQ
HSMbw1YKzqT1CeBSvgq/axp1dy4VZnfTt7gqvdJu6g2MjLQ4TSv1qp/xTHyEpqhbfF4J9MqORcg3
AQ733mIRzTGg70YXYz2r7x24mcDzz9NqkO3ghcgZHThxKLlytIzula+g8sea4fQeYJ53c1xNK/zr
pm+iD6F05FrrXAwUk62/kXbSetk51MDtvcgBTJp5+RvBsnMp7pGkoD5DR5nfYKzN6KCfMaSdd6x6
4VVt10jO3ws2d2HV7zhZtHHksy65auBlW3B3vD6L7x/qVTj+Hn1P/ObQdS7fAjFKriQux+Xt4xud
FMIu7PjZ58p3eJZQ/fh4BRaU4RQHuPSfxt3j6AuvxhPewu+mbd3RbWXrUvlqHKDwc/jmxnpwcfBm
F0kiMHyr1sYydcXGjvvuYydUXaKDtBNemYuZNmtDyS+oGuGvDNyRzWx+mjmjLC2+a461YXagsGc5
1LbJ6VA4XKSSyXb5yY74/cnKY7swHN9ud9WB/cs8c5asJ656WChes5qd5GCgjLfFrk1b34w7ZdgB
fpcTDi5/TlBQ1uJZOAqvMOoJmpN9i99G53vR67yODueFw6QdOeLc5Pfzs1j8bKE9030u1X3phaCz
bOmJ7UXTXa14S9/kK6exOLA9+1fj2HqsaIUYtbZiQhbHyjiy+2noa7A18bbxJ46aMufPkfFVnjZ8
4rxmKzPtEhPA9WCxZlgs1KS8klBJnxUep928f/BicpSMJY3XNqFywWRvogMnnuCTvhEGpR1XHvOS
A7+MGPDO5q4dP/gVyp1fg1wmeyhHFpNurxFWfJRx/6ibQ8SGeucfOp64bQdu8MKyz7bYNBpPncCC
Lj3OC3QhdRV+5tq+YZ/cIsTsEiVZrMx8+AIGogJuVrvKE/GfV43LItXHFcss/eFrsfnzEZTi86ar
N6V/ab65rH0cyonZ85Yte0pIGzw+2jr2ngDRym2FA6+c9M1oXpdVijWktJZZ6AdFxHtsS9N4JFlA
c+WS/tCLN8n2gmemupBc5/FK/yCk8dq9sm9C4DOrOzNhQK3DZbHzO0QXeIvNsO4gym17Owk87Iq7
7dLTZ9W3lqvKnEkbmlZm1FicH4Vn9LJR8eYQa9KutJoDzY+eXkkIfQCTMEzne32fhtFmVijht+3i
veRWolM2F3R2Wv2lZHyQypjzSY52/DSvFOl2qdmEBqS0UpRDsX0fxlNgvF6m6j3P1kyIo/vAiQfG
MMHBVUCKAcPWnKRtt0AaDsvBx7J4SdFW0XC9YTyuVCvSptJjWzX7vXyVpYOenQlRkEPs4Xvcgdu0
oqUJUAKajz/YThEzwlUQTlrc2zW72lh5/qqwjmXxpmEEtis5iQxE0CvzV3l+skZUuJdlYBbHsl56
w85r0EiApU5hvZqmC5m5iO1hcQxZrmTE6h7JX5T+Hmr15CDzc3DUCk/J9mH2GwC98MbWarzGVJSL
OoyncJ0GLqMfcpplgR0w9uDDr9+sWbZz8mzWLvwsyx0utbpqPvrJwQm1BdYkrlMg2e9TtxVxpuVE
dx1w69WortgD83wP57Hl7tNonqSHIzfS9LrirddrglxbPwuvdb1ipRXvxCtWAMgT6HniuOqsY0Y6
FLhReVTxIPWSdTGg7fAIK5Mz0wCTtwwFqTDIVkbcSc1orYiAcl+Gfs8XpuJgba1D6I/UO2yv5G42
2uXmSx479B1J0tkxmg5L9rRGo95OyVNIhAc2KEc5jtNGDtzs0HyPzU+WM/x7YroHNnt+bhEKepHu
WLl6qrHGGABbzLDeQ0c2SY0JyOpOQfzWp8ueigil05FufXVjfFm1RMEfflQyQumfaIpgU5tG1jWN
d1r7lqx5YUCJinL+81zvORTmNruXxXY0dqrmxrUXdnbYOpkTpfsZheUnwSO39DQW14bEtvZYgC1Y
ySw6iCQkyrH5WDy2MA83HbLW9lnfMLJIdWiJDs5mJ9Nuvrnk8PPkIo4NwK28t5bZMdcjYwYSOQsE
ypbOF75KN/pNE/34ANcru/puf9imjL2Ve0BhhSPBZLFbxw05ORaxGwibFBGo43Ck+ciws3kSI6yr
7gx3qx2TFqYn4UqkgUjqki0upLbYe2gLh85UezojsYF2rb6dBLsbbAEzSQa1J1O5iKg82yyhkUsZ
LVQg5biLXyphHeI6KtCO/WWGF2TI8+5tYNKN4AAm9CybGg2lo1ChTribqLzfcMDUThPixYqrEvkb
OxrfR0125NZBcarzGuu3rhOFPjoQSOU6Bl/OM0yPYgfJYxFlme6pDc+W+MlAnZ+iR2so4wHZs+4a
haeLq8QxX54tp1mFp0digqk6xdHdOnHhGM+Wts5+B6/ThQ3PQhwx2qs4v9LZxf4wCTaod2MZscuE
BYpyiBXSkLXgTL8CmvTPneom+5xt0M5vQreyMtt/8TcU3XiudqFSuIWe7sTYqJj/Dwx7nrTnhsYw
JizVOmu5klqY/tXdIP5U9x7HohZ/vyyEDksOa1u1oz37T8gCKL9Sxcne/LsqEDLw9TDt+Boc6e9q
z1aHzNEXdq59vi2r9cAw8irNtgJgzzpKd/9gPbd4giOLlrAs0SuLkSu7c5rVfhutTfmAH7F/HSE+
2CwFXKpJVXEuUzaVcYDfXzNor/dT/xRpl2B4wUxV7b0inNZh+KHwBejo2uiaoo1sKzqgg4PUOPU5
/Ybt3j3lH8O9SinlXXZgouR+tKlfD3h9gwrcNQd2ZTl3+tauv/gfjcez/NpeGMQ0qIFmNs1ovT9b
PToEjg9AeXDgyQexh3e27IJNqui0ATz4JGIgJxKL8A1w+XSALuSyh4X0odzq6wU95Ayoifj3eTUe
tENIdPPaQyARCXs3Jz34NNfHYDO/JF4yUFuGuRdwRPptgwKrfge94FZYBhq7TVwu1JGGpDz8bATz
IhpcU+UWC9O7tZJWxEw2c696C0zXPOqvNFk8mdaweFQ1KoydzKq9tf3Kxx6ZSTuNO+ao1kqMbVxz
6XasJHIU39UFu06PUUJzP9kHJPTWWdjvp2zLGEN/CvZ4vL3K3aaK3WSdxC56dOGZaKp+JMdxr+Ew
vskSD+0zN3u2UBoJDyHhzIW/K+y1s+TS8SYqwDfYjIciZ9b5qdgo0va5U7/n25zhj+t/YP9X0QFY
F1gF7XDDOnRbia7s5YrQpBsejLNAS8E2zoVX7MXJHq/RphO8kCxUPmQ/I+XduRrd8SXy0pU+gK5/
1z+Ce/faiq4Y7mK3elU54hu+cePE80EEj9A61Wizrd6kZ2Q1i+OUnAp5X+Dg3lw50YjAET3szIlz
O4+wmLEHYVMXIDFIttbFccCml5iIaxAx/1S2trw1vOY9vhFFxQ8mZMFa4igr2wgObr3HSxk8T9Vj
nXsvoxfsuLmKpedKvWDKLRn2rG5N6Yesy6w35AhivY2hSJJ1ZxnA0RqJjg9KJ7JDMgRMPMlFswLQ
Rz06AiPh5f8CkgOET67mg+kByPOCzGm2NQhuYuY+HDG83Al8l2Cb6QrlvD3rTut0h+HdAIJATmve
skOEUcFCg0Mk8LbQj4G4pk6PU71XCnuGWVRVjHQYtZkAg+ypsbsngHXTUbacgMEMpCZMX3JvbLd5
t8HYsTbWg8TVGr+SblKhT++J7M4TKFcbpQ/rMktPtPrFbb7U7CBJMIJ2qdPY/+lmCMdp9ckqwL2e
tDdbM7aZ4juufqkDUPAUboZfjP6omnI7MZib2MFriiv91fDam6XvgFjY0VuHFGO+UY8YsHws0Tt4
ReKXeLUa35Of6NZ9JXRhaL+70rdG98S1UCbC6dzxkW5sDsl0b37SEqMzEBPEceso8HMqTMaDHx3v
ZnCNtOhszLpBDOIUz8FpDrQDZNooiOTa6ZYxE/gg2gcggMgQiPIgOkokCN7La5g4zXpggrExtyT5
1xmeg5M9QwiT4hXqgND+kSEuAePswT/RHLJO4VkdUHXZpDc02pvBMQF/Grb/K84lL9ki3H5ocMEA
w4u8nzvuoo/Oxcw7UJbqJXzrpXUnu9rsxM8CMCbKZ6v6KN9oqX638ROZFhQg9dK1Ln7AFkwrfLtG
7KCLeUPoSHZWD7svdvrtcJJu5kcn2OtqTXl/4JJUVv21vekfuJLajMRXaLk47EraiFDJJelAr2lr
oALdb44AVeBPdpIXwVKOqXpQnkfyiVcDpcv+mHzK1L2BN7NECltaoT3p+LXHkAB2TH4rv8qv4ts6
aruayp6+xhm4AGgBpbqmXNDd6CDT5pGq/I6RqERmM7pYJ2XP6og2WL+ba+08lk8B/YVdC//lB5uG
r+i1vJXekpWd/RdkHIP2HFS2r6CFm7i6/7sCJD3rSzBgS0qjVS6/mlFr/24R4nTmTbCnNWB4CHAK
nkpws8kACMCbaN1/tfZs91w+vGvI0G0/btrNCBYBFymn3xBJgifS26N1qir7pVwVp8R4n2mjrUTV
xSrEBrxxfbZOwZ15VYgNtfghXumxvX0yANKXaPsW3kihYs4yHwsitno1L6m1KsgBAoyN7f5mnJDy
pS9+VojkqGXQ/LRhS1HHr7Ojdht/yTR+78pz8epv8TMwbtFufGEl/q7iS5/jwBC/qcHOeH5RBX7b
d+VEr5JtnHzQDY0jnJKdcOrYkVkK/iV1YYpXa/QBCye4Z0AW7XMSbnqYguL7vNcdfUdyRncjkZ/a
wd8kOFRYL0YhHFohuATLPCXIRmr/x83hwTeuoVgC0bRglhc4LbZ9wsyIuc/UCXA5NVTPs4EJ0OMx
q4r2JTieNUbtfzNtgEjQkJFrWpLxPCCg888zf9Fr/rmrBj24B/EFGHuGgxhDuAeV5vHP40/bB1l8
SrQQtGVFHFhe+uftErmWtgEYcxF8PrrhkJiWf4Ll7uMxv1xIkKGpfSJ2T9ucctjowv/603+98vFy
rYBm9ufdCpiaqzRprshZAP6rQ49B7cavgL8//gmq5TMeNzUG9pL3uAkAu0GmEB27dTOG+z9/3v/z
Nf88ZuHs+PdbPB58/E2GrtaGrWb15+8ej/+5+9etEE1H51/PJGqogJBha/rzhKm0fMjjfrGwNqWy
tNzHW/zXxz9+NojQgFp54rJqAhJIrumstHoPZBTNr6WHiyngqi8tGnpVto3hmmiaEa6Y7ItrWamO
QcbMK4rpXc3Ki5QI5KPDtZGQ8Cwp/xJF3Qp9q7ko4do1WPq2ZWvXQ/M5CoQvM2mPjSrf8Z5cIxX+
3bUibTTBAler3EKlHhyFkQW6Wos+DP2fScANCyxv7ogWwrZRbK77TJLoGPfqqu+ljVgDK0h8w0Ir
FphsmNxQrxwdvdG27VSDwRNfygfWJ+nxbVHHV8QQiYJFfB2GeZ/5pGdi5eGi6sbSRo4tb1TJLavk
EmfvQUCeQpdjoHjDBXIrNCOpYpzRlUvrlQXDpAyjc9hkK+QjiV1KcJk/UabaGV0FuigWdmpWv5aR
8CnqM7qxycoPvoZeYRaUUzcTcCz5PNdIVoJRMZmSarKnd+3R6CQaoDNNHd+4j8BFndHML0DNoPbV
pUZxBDqSCoDpK7uIZn0EAWC9UqWhUwy9cAzT0+Abv6d2lN2klCELm0cxMN6DBAir3M3rMfmWpF0w
pN/5UIO9z2eSgLABv9r9hLn5xRg533ei0q8LcUbCN4pWpbCZK6CJmkY5jYaT57f5zZhiZuXSrq6m
HWCSLcSSX+XsH8ZIfm7q/jJNsh0NNeiofDclTITqHFBWu8raxKkHnVyMcI9jPAddfu2sdW++6CpE
xMKQvU6b18hW7gN6nq125zB9NYD+YIycJTn+QlARYUwEr2YpgDXtDCVdj4xjpuBFXMbdVxOgZDXO
KBOL7PE1IBeOGEoIh9aQaluotXAfzojztJLKw8zqrErR3XJ8qoJS/Z5Ryap97Tlrp/esrOmDWh3d
VCUFZ5T/lgJ0lcMOIZ2mcDFkQ2+mMtYjqlW21lFTqcucmsQyjoVpG1bxryJz0IgU3SAbXhGYYqDa
aqWd9yg79kl8GMEDLdJSbiPUpZ2JaXmKGvFjRonMrWRTgJZBPZnJb2MnFdsmm++JPhNSZAmsTFO7
wAAEF2zgB7U+06fAkVKQl1Edr5A6/81K8iSpffMH8xM54bPPVHo2gGrM4viK5N6+TyOv1iuQuz3W
H5J4nIzgaoRQniSlpWNF+wOzyufxrc5o6KRWL29jZpml3MoOQrCvSmeOdqXJn9W3qFg/VZL126Tg
cI2o1obGtEf/3F8N2Ny51jSxefX+vkU3CnLyOHuhtpNC4TSL/gqEr38C/Lq34vY3lhKy61M8pKX+
Cpq8BogJ+naqguPca584+QDnLcijmYjNmVV5Qi0ytZiKX/GUeRPWLedELEwnmU+An89SlZB/1JO1
UgP/B+PE+DB075pEmKvEcael+mKOynQ7nCQTNLqVO2n2Uxu+01oDu7hpYkPZkGTkJOT9j9rMV9DO
iPwFlIW+H41OXMR7XW9uETodnKyhtUEA0oaB5uSmZpV45VsqZdq61eZTKQhvIdcmR1d7j3SrXEkC
HZlI3JrBxKxSR/O3i+/TIN0QxJrZbttgLQpUzFGoQU6YFNpDGHP6zbBVGv2omdJej2Q8uSYRGeCU
TBUv9eJ3X5e//JY5j8YAMtspOA+4lRoZTrgoOsi+0+lG48n4kTIlkJeUkImLP0U7y+zuxcz0U8M+
1haIPZs69emYjdElTKu7VjavVT6cOOanuZY3FQnt2MVMTQXxFpg0vZDt9ofqks2YBZblJVIR9BBy
NobamEXbz6IfdbwqUGHtQNEhRxThRVaVBGhwSkdeTBzsR/DmBGHqCNrCWdJFtNiS1hH79Fso8KH1
5/ZH1WlvVWm1DdTkKyF4O60Sfpn1HG+BBo97w6fkJ36nFYKqZaICRgQKZ7RXxNh/2kieLlLL6p8D
0OqqNdCCYBcE9lCsMhOFgCjtYi9uqvdkLAcHEbqzckFbbRZKECzZby2TZeeXrjIuqMKPtP3Sw5lL
XZRhLk9i7kjZjAZIvJOzJ8GvT8FYNSfQ1QuqlIa6VExUNn698YeUaU2bvWFv+YVeLxR9eRl1Lb06
FefqLE2docgFtufhFd2shuzUOgP7RLAa4FzJ3LOcALDLCOfA9B0NY41MPmPgRLCRr7RggNAEMcH2
jmVxUXJmX0Bxc1v1h5s4WpMdqea2Lnz00ke5AVOt3cRaJGMXc1Zt19IIqZMXcZa/ix4X16bbIRY5
BjRrS43sKQVcYqDuAP0aCwklppPeUn2GdMS8IovBG/lpv83VQnKGxlGUndAdDMVn3CQyZgh8C6zJ
mG6kRPOPAS1HKwP0aSjTtwVxzBYbWkZZRosW9yZG0qesK3w37DuLb8ucJM/HiUxHotFe5s8dko+r
XhVnpCFoAZjyTvSR/ZeicXQjHwG4WoqdCHCY13Tlt5To/wta2f8hJpiiSCpiV/9vJtjL7/Gz+W8e
2N+v+JsHZin/0cTFA/WhI60qiwP9P8pd+n90BTdb0VyUuMyFgfU3D0zR/7OYkWFBsnixidLi9fm3
cpes/cdUoI2Z+EagurXoff1/KHdpqvYvTTxMYJBfNhELVtF3V1T5X/rdYitgZFsU4laNawrEpr9W
y+SrDWh14IbFkAheh+wDBA/8RdZ3OuQdIJVZ8/qJP5HBpCg+0saahW6NCe5Tyz7rJsjRKDE2lEar
UOxfkGWkYrbCpxIAxIBzGHhfBEvwufH7sLNxFXlNBL1wEpF2hqbUn7lIH4GeK3WGS7bEPNywlYg5
e0yh2ZX+Bj+uldE1txlKha2G+SEp8az2K+2pUogh9Wg6BbYxoI1GSBKVckk7nSllw2ib4bs2tih3
tExE4ULXwndsWcFKRwrHHmrDzkLaKpgOuMQG5utACWZjW0cIZmFGU3omNDQy0LcMm4pZYhaBefUa
F+CXxiLYDAaYoQ4HRhjGjNijUWbiRRuty1am39wrU1p1Nf1G2KT2KIfbxRBHcpTB6HdSvSt6YwIq
VWX7YhD4AjJyFWUfyMcsm8S9wQjqcU8dK/n4uCXVcAdSUTyauCqd5onjnBPR1kUCM9eW1QZxPmnc
NwLJ2zTOEkAtSzjn2kK1UGa2QCYaeTHMh3lC5xRJ4dG1tAr0+KzNnkko+esuIaW6QEpKxMjCC26i
DNQi9cXoG3lXGHh/aFkfHvvCvwV+LpxFKyhXXYA+iCGY/vnxT21OwhmQwLVXvtA1Mzb+bLSgD1N9
PmUBgO08wxpJRQCV/iPZis9ZjiMhVhfyGbpeCbmkohVKAAFDCvdlbihEVUl2WiExD0MOAaee6OQI
Y7nX+tE4WAMgvZT3caO0Dy9jbUSnaEiBbnUpLrBh1zm1KI+gF/OLpYvCUU+m7tpMUbieAli/naHh
KFVr6pMknnprG6pS/SoKBf+Id8oT//q4I2v1Sh2K/rJgm6Uh1l/7jPlFLkTvYmqkUBl64At6A7m8
hHEwwdtix1TecRyZXnylfev9ov+KhwyjgFlVn3rdl3ZFlY9e6IuMBGC07yfWtCEEwu+K8cxgjuWp
r8jL+xSlZlEMwMPmnfYi6wht6nF70kVQ/HktX0ehmH6ZVKnBUDJHWdrhkqCHH7DYAju11nWCmR1w
PJCnQxLfJV9iQ5QKkyY5ysiBSFnb4EBkmznGH2ncBgj/9uHT7Oe9EyWmdjfnYFtCof7qmWf5wni2
xnZ4bQw6eCHk0pXZKM17Mhcg83QZv+AR4bChVgCnaz7J7hC8wS0BcZgVqmdiZPCWJYrpkaKLq8ez
1gA9rKPGjdEq2wBwnm5GI90mhuWXRmU8ONZNsjV9cnqtafpf2acglf5zMgP9Gs1qn2a9dWpG8EeB
pFvrdGSCE0oyzp55U77gHrDWYj46bSTBq+K5xzmlBt3Qy6+WrB6RBAkYuzH/qSHpXQpJnI4wMFpH
zkjLTC62fVUqxm40AU6mqTVeCzTBr7gTbjrNIidp8h54I49D55899JwR01n+wmhqa1P3TQVWL3N6
I5uektoYnzS1HY55FO3+PMS5TNaBGO0jnQSvgaB3E6H4r2ezQChiuUsVib0evl1ylgX7eujTmyYl
Zx/ppSdt7pLXqZhsPRnuemXOzBHC/KXJ01OUN8H5cQ9eYQABNQ2QBYU1NI3mCxEIcE02BYcpSsRb
xnTcrDXtZRqH7lJr1psGBAUr8vQZIUZgiEWOSRccF1WfNE8EKn9U6zE9CnjAFEoXr9DZY7pTjkq0
9+UXVVaGXRGZQBcNX7uW6jIATf3qd2ituyqGwFsZMnOi0nLmNMmPiOjXZ84fEPq+Z9oz+flGBOMW
qEJzFXIp23dsl27mR+XKKMtoU+rKORD76JeJCryZisI3Y34JwpURTJDdchQmLJRcHnddcjbVrRdV
07pRjfeUVZWGUnJTEbzcA+yGFJdl5vtg0X4UWV6U7KXiGXpQvHf0X436HS08H7vyqmKC2/70JLDP
si6dSxiOb7qgAC6IpGxb9762sixmu2og+E+5RGfGahDf81u8EM2e2QytR+aFIpdwlZvAxyzE9/qu
9jc6wvpvRsFJwUIk2o9RfvKLEvzd3NFuCYxgx1eOXw0thdaVTu8ySeMK5avomolF90ThSg4rhtdq
UInVvl5uMFBID3LcHpLK7C9qUgpc5nF3q4GGxlGR73Shi17HhpaTauQNs9coAoVPmRaJ/KLHs0Az
UU8nI8jA+QQixELdqOeLpndPUjB3+78eW+7mfUwpmolvfjm3R3P553FryPk+Q6+FXjsm/X40ZHAF
yy2IAAGlaQleKQTYizWECCOX8CSiM49BA3zXSJZLN04g+GVWVl1SadjQdvyBMQlGq++ATqngKQH6
sw0yp4brGzCBhHxBP1hl/Zjo4iOaw8JXaG58KLo0bJMo2ISp2G2zIlpBxWZjhy9AeWn4h9KnbZi3
8UnelUl9yYSWqoUoa3dBIq0E/bc0kxCpbArrTJwnVJyaat8nZYqenngdfGA4UuxLYIh8RvdmTdM8
KbcIAn8EFsOmgKb12CfDRhvqL4LwTCkvWOdggpSuF92tMhJASer4qVYWeJKyQ3OG/aFLdLT7pmvU
03OjcwAfvW352HoEHaK2O8X4pg31MscVEZVOtsB8uKnHJ/T8A25UP34E1b2rqXt1sbWbVroIrV/Y
EA5+KeO0TWvcZDJDQmxc0Cq7UONqY8aGCiq2eUdInlkAyIVaTOWVocORGqLSt8MwBh5ffgcNGGyu
1jeBot7mqkGNILenAJR7ZL0plfwtZcKxNcSTIPqA9dUPswyZ4JlPXUG7Nk6H37DV4LdXIJGiSH8N
uuYtMTQMuXx9Xf0PY+e13LiSbdsvQkTCA68k6OS9SnpBqGTgbSIT5uvvACtuV599uiPOi4KiJIqU
wMyVa805JuwhXvp3ASoL9ZCxVcP06sbtp16J6eGSXFJq+PZoRmIW0bBKodL0nhwOpMN7MaIDiXX8
3oT0juovlRHzVgxqG/atPCQK8YTozcNgOcBY6CS4pUsgZ5Z8WgW4alG59224oaf8meX9rwXRzFLq
Qz33ipqvuorN8qIbGXsvrvnaDOIRC85Do8JwX3m8n8QP08xxREM+2/SJYDEm7jG2jItED7fxYlz0
sx9xNe0W6r9F300yANlDyJOVGg80uz6KkRlFQqBbQaKH4R1nvyEGg8FKYE1PQHrphBo4dgvV0FFU
klyVZdusKnNdPtT++GRlS8XUx2SykKNnRVCHqdb79MYs3Qerw6DPT52FPsoG3D2NFe9s27uiRcSk
jhBQurlDyF5vX2Rtd9slCKv7dJ1eqoIcRyItY2bm5nRj1SOtBYc08F5v05hZbiji7pCG/q0MGXL2
9rb26xiHDrfWsjsTLDBV8stVcX1DJ+3Nr7pLaG+f9SDagzTmJ8H7MRp6nOe4xo8VXpeRVFiE/rwR
4SogVEYQV4f0LUgh4ukX9XYImB21/Hv6VD3SZ72sBI2yOiBydrbbehP35p5LncyowEujJREvorFv
CuHXGPLsbNe5+dvSMU4HTbAZZLD6BPPdEloThZx+kZX9JtfHMU33LenLG1vF43YO1vZ8+t05vEds
o/vULT5nqWiRec9+he42MH/nwRc7wF3cQ2uy28xF1w9gLvgJqvm341lX1kB6DOMhrE+ZuiukO7JP
IjEx5g9tBy+z6Xxrb/yes+7Kab+ldJBVNahR6/TkynUAXKafqZsx+iLxqnHbD7Px0AGnM9sXfRzB
XqSz9t3LuZbZB0AxTkc8ftcUzL/MUb8mCkWP590EbXhf0gtqGhtpVjW9iUBdN/CRnM64pDSyAKmn
X6lJO2K9ACsHAQzA+r1WOWb41rvtC+9SMYdP3I1nCHyAZdQE8i4GiMi1VnORLC5yV4TbozHeGWZ+
l7fOuyuyu4T91zPqlcW7NHst1VUinWOn7ZSMCoLnV7VDdad13B7U4qPvolXdV9Vt4uFtH9J93xf0
1SAHRN2YRm3wDm2DGf+yfKtglJu+6C6ld2NU+Q5TVkzzLEMtu3jF0R6zW1lamMpNfRdgSCEM6T0O
CR4x/BxBKDaREhhDPWXXqtMYkwfTPHgZDWKnE8e5c5HiNh9NjVvU8SeT2aiBn5mxogM5hHqDBrPj
cT6GRbqeq6f02snXFD+Z3vk9Jsym/ylmaUOlwE5ol7TfnOAzecgfA2U/emGdPRVkhsQxW3siGfAb
8Cq1y7CFKktiCOGSqkM1HRervgUY+WqmTnk19hYz9Wwu9sWI/JLu+ZweQ2O8ll0uHozyKbMDuqlu
60SlnTpbpW85+TlRMrOaJJpOUhdmOBlS9EBeAL9N5+7BmALUjI73kg5ZQ7pBfesXc45zV6Fwi/3L
gv/apcErlUN6IlMScYcobw0D4WnnBrcjRK5jIqq9l4c5RUsPhpMMtihg6d/axvTu9b46cU48uUBY
dksAU753i7csb6yLvuIUXxOSaw5g5tvSCCLCl5n22E5OQYxm3xy6X7Lq90Mf7GYO/o9FRWt9ib0P
y7aR7jSsfe+uwYxkDRs/DgHnZo9/Pr4lumRN5t+nBEhyrA2IdA4eGCNwmOjtF4xZbJc9zmEDk02C
KVu69f0cs8DTnr2W2Ekx9BPEGDIHYXsNqnC4CHqHA3o7G88ynreGDrOoD7NfblmW+94dr8da/KSz
XbKVQelviyrZmZ3DwToJsYfhTe096H55maIu//v5+U479F4BRyIKWr9vrKDeYeD73993/nIusgtO
Y93h/KM9zdaG4OrTPx7y/EWBunTvkAR+fsjzXWNHHkCHOmAJ2GhjG2KK8BHnAPBhWR4PSEJOY9/c
5DONpHr8TiuK2WEWv2h4XGekkAqJbWw4NXK4dYb+FND2wdmtN7XyfjH4+F20y7efz9+dzXBZzXEk
Q/tkj+P3UiCCBTz4xCZ2WaXbLhym7VBRK7gWo6zFsb7xeXGmTKO+Na+bGcGU/lrIdacNyy6gXfOq
a73IyeqakZcttv4a7CODFg1pAzOtWD/oGRTv+dZSQnfRI3hkS/mKEEaYMusXzx/SYaj2y+g+dwV+
dm1lH0wWvAsxkOcwOh3HVfAgEwqRyRowUxFdtxFOIiJzpZR2lkJIGwQgjs+ft5zxL1p1LIbyvnFR
O8u8YvAqm3EDspd1IU0vCq+sd7ZLdbZY1WsJV3i/+DC3u4VmdZ3m70uQYlC0E+tSaNv888H61y2P
/h+lVMKbeKqKy0BbxWkembNZ+WNZYSSQ9o3hu1/Etru2eBysBDtOcikLEAOZeR26/ScJh89+NgHc
4Q8+3VReNBbV1Yga2jLw15rqoPPl2jZH4MiOdcVkf+e4xsZSIsogOmeAt7WKSlz/MdcGh5RtyJON
GwgQsrV2lcNR38/uNYAB9Ba7wUNbFRrvHXiHzYh/MJvCr3YOTpmMN2uJ4LqUs30c+WF5r0z30gd8
P3T3U6Ku27q7MbJkHxKrawrjfYiZAAQFJX5HehxDEZW+m4u4truVkL8wLWsV9hrRDzQbxF1Qh12U
PuBTjo+2gooxwRWA9sRgcb9I51LvA4+YycJorxyRHypgDxuFEHUOrFsrzm8LhhnoORUqgXo8aA7U
GyMreJk+V3DdlU+NonHZlBcup6igfJrh/iFLj19NQx9QPXG+mBjq3Dp+P+4Fo5M4QFbS57GLTr28
s/ITqStIPe32p0CrFJbGRTAHmJ0HjPkeHQGiHpkwhs1Ny8JPkiQdkqA5WUwDNmWr25N0sesF7c4Y
1FVXxc9N6yFedIrbvPObbdPezk4dHHrnbY7jR8g8MAFletHkd8pNa8qgliGZm7rUjfgAFMLBeqG+
lPl+bKrXWAW7ybRdgDkpHdY0e2qdg6p8lNQdpwAKDi59ieKqf1wo9zdByKy09xIb0/n8nLos3o7u
k8jo3lLaDsGyI+e431S9/HQa/wK1DIyXLP/MmypArkbFWjDgscZrwLFIv1V/YUsuTiY5O2dsj4OH
3r5qnZjcofSLuEN1w7ztWNnE+hRsY2UQvuaFC3NLqac80xxl1EKPaPzV4RjPh/J7ZHBpOvOBoIjP
IUT0rwxmYC6UpK0Vj6dqeSyt3opCgeDdwfXkCuMZFQxek3TV9SiLcAj3UmSHssweKl/cJsa0qQko
0QmBP+bwy3Hk0RhelU+qcNruRtWdROk85PXcbIVPmgAZztuyy9CJavenZ+ZsYHdsuvy26YBaVriD
49WpsY4+VXcjS7yqS/aGGM42u1doU21Ugy6hmvTs/eixogGB3+sxvQp1nLyptvk0vYJhqXE1Oeo2
Tl4C3oi2pgpBA71tg/jeBPsYJZQinikfOyleHQDY7lQ/JlYVyXJkjy4ul67cShDXVd6fACJ9FB2y
VZHF5qaxQ7khqeMtdcL00C7O7zhH/E18wLKtXKhCaYGhuv1JWSispftpSeES8XBP5BZSPfNqkiSY
NvXvJZt+xywKpln9BKF5PUAYnn3/fc7bd7UgN0NcKR1UI21D7x8cW7UfTZaVAgE6Yh7rrXemHMbK
8kQMMiI+UoqdHe+uZzjX92UQvDMvzLYy06jhVIj0jK5ZME0k8zyragj2ydxc1GupGrf1z2AMB2Ep
HHCx/dyzBajEvHUASm6EQkeD8L9Z/D3MMzRwS3LN1oesLLkvzYmh8SdAGqaTassV/GabN4rqzZvr
m2ZBpjYl97leHjyHomyhU6xoe2Bn9sbizlkT/7LMuJ2G6gLVBxRv5zqDKbnJbP+xy0Hw9fPJtceI
jm9Ad9p8G0X4kKbthiQUa+evcFiSLzZjZxEmXfJym3Lhr12gYbRmKuhy5yUUPMCK7tc/saqwuZbY
8TxWhMJL99aQMmNe6mgmG2hX8xLSt3wx6SlL4iJmZOsyD5+tybweoZ/gcl2YIfesntXinuDL3AXZ
p5bujOEmZYbuGr/KrHyzs2A9WoVRsBQvfYJMa3we68bkx7Lb8xtpKLn02x+Kj+cqw/6QTGWUD4Iz
WnAHS9iGqErWX2EwdvaB7NE7I9NATK/+qmCxYmp2Y+GwiIpoo0n5skzORV5xxXiMx9LYArhi2NGh
BjPtIptb/I7TNjKL9C4bzd+lH7DIh91dYiI6suS4mxt806W1qmFyOtjrcbuZiSJuErxZraAhWIQ3
/PdPmhhxLHi0QyBQAfJxaButgRhJ4B5n9o6t53s9yVzPLolck9vR3TGf0Zkibht/qHFfVPnoKt3s
szkgPNlrIq4tJC72iOnVS9lX4NlFakoT6sj5Iu4dFoWi+HFHT+y6MdgX0/yQtPx+WMdq3yqHDdWy
fleB1+EugBTOcBka0/NYkpcjBWnzXVgeAWtAVRWXsDgWHHcctEMExpWaXVqu1KWS5pMINqk2Gbph
M15TjtMStT47OjE4lvm2mB/VmL/MjGA2VRHTZ1hXyE6+GZP+8GwUzcGY7rxKm1dgePBGQYjC88bT
m1CYs44O0RSzt+qppu+OAoLT2eowkv62880tY6+9p2DT9y7CeUDOsFFSqgkzD6qoHTBFZ2ly5xsE
2GbzsLZei4AciGA/lr6JxDp97pU9sWLhwh/C10XMB3scPlUXwCpylpn3XHLrl+G9tOiSDvbj0E2v
rR3e6IRZRtkZv+jYugJp3ZSicwKkwww9zdhn2dCybP6dpfMxI1VwyzHvB1Fvvek1Z1bmfNt5Wq06
PhvBGOY7+uvhKc5+07b3eQstNNOHbW1bb0CD2bLL7GsKxM5ZLYtjWhQ7fGk6Mf0HBvl4LlKreUkd
tWsGnoBOBRycnq7yEirSwpvkyiApXoVc4mazTjd1gumjsg+do0lzN8NPypvnBBQvlZARJQr+fFDO
P1M6fIKI3A+ZT+0aZugpTI8DJFKk2m5uzEG9mCHnJyVvCSvg33vpJ/ST5ma8NZoUi4xmECzxCpd9
8ewvSN/TiGJJOTe+102XWlh0aZPGvEqriuNDEqcvorUwfY1JuGPCVtEg/0DK1m0TWHh+rK/rCYue
Eyz84VI01ovcszzPkTtyTmcGRXQHInxjAuXVXvsJa17YcEArUgBYYftBpuTBTBMcXRNNLP0dtIKg
Dc5NJlIRRL3P01iAgOyQpug037tee6oLsewI+7uZG/ldG527N6SN7HH4MdsXxH0+yS4+zbws+91e
TrLSF4EWKHoOqZvfehXuKqBi30oiINHM9Wra1YaxrgCVwwh63PHUqn3VVfA7NHyrAgl13mJWqq3w
1Zv4i/eJ/qgVclSIDqHZpwh4ULczsd9J6d9zoH1K4/HDKgIf1Vyws2sIDoOw3/rKnw/xoJKtnvp3
WdLfMjOVRylw/Z2pJJuTeeuuuK8YIkYasPLZRnFttNleT6lDUz3fFUxTdlbMlk7J3h6lj9apRbTK
RDU4toukRkeVB8oPdpv3NTqCE4yP9UfZMoqFiWfSM3Gpy/yrY2S2Hev8yS85Nlt0ArZ9jbeBbPKe
30yg7BBpxlzRZMh3N05x69kUxiK2dqSOEUXSLy+JYYBrURYxVwEoRw90cqTE9Kl87kJqdBeQvbUN
8HoxeYlojHHvhIdSLTuQs4hfm0sdymPb44OLPWx2pok2EGASkaawn2i5P8yS9NIZOF/UdiTaW4FX
RWMmVlEBxaT7Gvv2vTMl+JszuoSBGUShX781SbYN1YvKVQ3VMcT7rWPz0u4PZu13e8dS1LZPfmv5
kWaBuaiW8oblYZ8x1vdu4pJ3MpMn+5j7houK3hGYBUkeVRObTOv1M/uP+Z1x+NumGLDWfBSiNlmy
N8ZYladinq/SUY7HqlzKXel4pzFki8vr/kQtfd8ohj35mMKVZNqQldMpK0JmdKU4JSXYsiWgDPEc
B7Xbsp2gmR4MVURubmM7kJQITj/tA428XoJ32+YeB/JFGr+a3r/IIBTt2zaSHSYpYIlbkdBQsfvA
3Dlzbl3oUmNLKxbWoiaEtzbMvy3EE9elgIlGplYk8J6ssTqd4V8TrDkxpOWNkYhd0+TAIOLsMVYj
hUfAM5sR6XeOi5HUNI5ZCoaR6SQkEvXAOXavQCfvzJxJra798kLXzWHJLqRV37k1g4WWc/bGCMqH
USfhazxc0MNpWtf4oju3WwbvUGo4qjPbjBPK29jCOGfkOjvw+z5S3bJqasVKTejT5LTN3tb1bwFT
s5E5Du7UZ4017GE30xFxkvzGrS3ytcRD63sn7ddwXAaF99xBYZd71JsxgjgEhopmm/+J/qc+uqoC
Bp/mUEDZo7xGWrvGihk6rJ0c5pGJb/6ujUReqta47Yr+MvX952AGDRLHZXGLt8Pty33LSzomTZKe
OJZcGk7pMD+gHYI04lSQUYDkCCeOqO5mtVzZflZGDHc2YpBggAtGHfa0MUmIYXfoSNrRQ8JwiRMT
esTdUqSP2CGhDSU1rOisFfcBfOINWWfPXdg86HRQHDtSjpzafs7iDoHvIvG4O+KkzbbZ9ivyiJ7/
XkicoXG93JXGjQM2+sB1d01G0w2iApQfU38Ds5C+BGc4xDsZqP3F+OjS/Dn4RUP/sjReRvindrPq
+RKggVbI1iO+7RH9+iDLlwIm7NoLYuKgPgSHL69FIYS84Z70VAgL8CE5JE1UruAEMQIbjAft8VVb
AeO32t7PS4sZ0l2O+dzekwZv4Q0Ka0jTw7SxGy+gj4QZPnT0XgqqPatOr6ueLGWj8C8JT0UEZRe0
1tRbhnroQGjZxGWOq9C9JgLqje4gJ5GhT7aetYWQGWw4UdRbB18Fkw/nBuTrSpJiu/COflVZ24rh
skFMhpbRYNHJZru91Azptq3Uv70Gi4zr4Hq29S/Wdpx9tfllygBIso99rLIFaQahuq4OQawxjKVk
Z5F3MRXUv4XSh5CEdKrD3awyjlQ05Tu7tiJmlnXEmS4EqOcA5ipYsV04nb2m8e16IftzHM83dl36
7NnV5dSael8oeAhITY6OL38SE/iyWfw4TR9ELf+RQGPF97rsQiGJYR/Y+6nze87G29AlgsHMd/GM
MTzI9POA9SAn5Yt/WX4RL+PzzKux9PA+Zx+DO7S7Eh3KLhVWlHp+vXfqugSfJbjU9bj+m3JAzRXS
efQ/pqnu4hBjOf81jvvVY+FMYBmWtDzoBn3vAFvaSpnyCJi2cTwdkU28wXrMN7JgIQo7+bHk6ZFK
WvgLQb2JZt7dND8Mql4WvWcp5/fTtYXUrV58c7qWcxDv45l23agrrOHI2teoZG+2LVZO6xLq4lfs
1VS01P7Ut8GT9g6ptr19k4+4AbqbMBywOWbpEWGN2sU0cRG2WvIQFPKrMMeCwycVcCl8UBydc5n5
brjDLbDvfCNeg4weh+FI+AQGiFTkbNrxK4Opfk+zgv8NAFGnwRxbyLbfVmyeDh2NbTZV78QnD7tm
3ZaCdGLdDy9y9vGtKvNDS+bGzmDHdCfOk60HubWp5DejOByONsKrpGaIRJ+unuFsJ6aNXZXJ9siw
i46mQ6wWFxwPzcqQS+fQX3p+R6fDCR+NtHQRX8gvpF0cosqBMsCb8b3YNuZmCVLBhU/dZBSbpvmy
COMLTpZzIcEU9CIsHoKr4MmcgK7IBPxFkxMepZNHz/72ylzeNflyn6hu2DYZ5Ox0upkWOG/riUsW
UBdGF5OBBxZFdNfxUunrZpD9IbCJdsyChEgbb4CUKJtXNxDiF3aZh952fzdu8SupzPjg5LPYs6pp
/8GlwXqwwSBeIo3qmORQcDbouK+9igWycIItbaY+Er7GouYGp6l9LeQync6piMLtfjdSdxdVC4Yt
VnegVQcWBkrMRtHwaXuj3/VkkiWJe0gHJJKzbJNdR2pObZQ38WwUJ1PP863pg4FLBiLxsl6cvAXg
r1PSw4aw2Df48VmMRaq64+DgNM6yUewGOvRbWRSryVBSYI/QyrI8/korRmxT1+5yLzwYXlzC5pFt
JCzwt920QqSyw+TGN4aBuW+0uQwCnd/Ms/doNrH94JTNCWKzc5gS8zFjFnWcBDmE8wCu2fXMQw0k
UTPYvyCd4NpAYh+JyXw26RC6jl5IAhHGtqhH88Kyg4+8pe04w6jfz5XL8LAAyGpqTi3DsjMdfKNF
1daA/OlmhyJ7MRcAuHEwfMjSCQ8pK03tGVU093TI4hS4jY0d2ywdNGtFqQkiD+UJHYhgKXkvkVRs
q7FeYWE+7FDSa+Dl+TN7mLiTHSTfeDS3C6Ga2u3MW1Pp3Vj9joVbvJRxeZ+V9m88EruhBTIRllhw
AegUXQgnYXwouRRQ1A59ZJxPv0YU+97X0A+vRqfCXeaBh/DTipGp5R469mXR9l9esgIfQl9yDmxv
x8Fip9QXY9MuO00wJ+sUp6k6fR1zg9XXRtpXhfFhWk+cX1kw1DdOlr21DftyRbs6M2qwuBK6Ihf1
0caEJVAmneyO2npsJhX1O9+mfJqT5d3mMDz5jF1bAv1EwxQjG37FVp/twmJ4k1YfgytgakKF/D32
bXkoJFy/cBhkFJLyxf0UyGqc8dj4sDK4XpdRSUS3kpWr58laNfbtLMNNWueMIfzLlsXGbyCZ6E68
Cqr7yNf6SSQ99pq1Tew0WRupZniqsnDYD9Kb6Tm5duSmat74LE46L2L40rWIiBV7huNZba3GQTtr
2XrbLwYkDdJ6kHSm3S6x549+qH4GPAsIpfy7phfOwQsXd18ydyBbtH0pMkrAcalf1MjfzbHVEpV+
c6NFR4/XWqZt0I5PQuvl2EVkQcwwGAJkCNItgKfHpzRMJl4oMehnTqhY7aPnW/8Alf7X+6B9sh/+
/eEzePTvw7SUQluvS4f6EnoyqLgVh3r+nrbzENqdP6ePH0A6/RcuNS5avnT+PJtTvnT+gX+7+ffx
/3zFZbGxgtN/fRZ/nuSf38h+JxeMMuvT/nNP4sR55HfEVV56qxn2/DDn3/7niZx/GwTxpvqT2Xr+
emsUlBDnmx0eLpxO6yv78+Dnm+cPf1+T8Kee9wMX6SnU74nnkFBRyeZUVyu3xSSWzFyD4c63YrQP
f279vS9Y1pDTv5/niKzoqv3rO8+3kpYf/HufxJkxxblzPN//5xHOX/3zw39/19+f+8fD4BZC1mMm
eOw9+ui7TJkmdUNy+/eJdJbBBOL8WP92s5Fcq7u/j1b3ZKtak/v8J79PF2LeB0CUz1l75w/5vxIA
/3Hf30/Pt+rBv/ILaB3/uP/88+f7zr7kv58uVKGcfeqBdsv/Txr8+33/uO/86X9PEzx/+T/9SDhg
UzelC7pSMXtZX8v52/683L+vrVZtToD3+kT+Psyfb/r7+d8vn19KsYQXISaXg7dirGVNWWY6Biyg
9VP/zLc+k67/56cEldlEdf7PL49in2Ohz8O143LGYa8/dH6g84d/3CcavbL4gaa4//oN/+m3/l/v
M8OY5/T3sdAXdhf9xXK++/wgTjsyAzzf/Pug//b1f7ye86f//LIRVu1xztXuP/4J/j7s3+fxHx/m
/I3/+J7zfXjL5W707W+VKWeLzhcZ4TnJqx4HRh9mBb38LhnGbP9nnRrtF4Nwkhj8p9U+n9eFZvXl
p3nTnDDK+Sk7ON0HckMKfF4oX/XeswkWCmme8ob7GHAdHJj+gv9BhnTprrfo1vUOR2yv3Wn8VhA9
2xsLIyFpI9WTiHtxDNP8UEz6qSO7++AZtDR9AgY3k0T9p7xk38b6VprNtbuwccSKmllWM9AV/eXE
uJFT9AR2jguvYQ5LD7Bb5bpzJAJwNLUl4gPRYF9hOT2ZLRlGaYcoosLFOQx4bGczznZWRZUE65/I
lnTTZ4LcBWInrjxUUNfJOodp4GyNc3VTmWgBGGK7UejVCAIohZmik0ZcDPF926nTJGZ/44+LAKni
WceFqFjb47g6+a+UJhxthmI1pFHoWIEkB4io8N5hBq4rjvr8TSMiVejY5LeOZXrwJmdjF5PnQTmI
FBTvixiXZ9spYa2016h02y1JQm/d2F00+Pr2FFDZzmVvp0KBtspEisCaBHpOA0atPs2puqIrwRkj
pw1oiEZGCYglYTMFiAcn248dfzt3sI9xkKZPCTNE7MDj1ogDGbUczGUw3+Jp/5E+f5hAh2/M1BmP
6vAqmQssbvB44joXF4AApgOzsyuLSARET+Cj5j597fRPHlNACkFFMC1ucMBl6hvtcBwsxt9GHxwy
ByLL6NBObyWECWrjF2rJaS+7M+5HfvnZXZUwtEcXyM96tJIPtjHPD5aRoGoZDSpz8L5+XLxLHaY7
xvfVsTVoELQK2l5AKsXBGcp9gEZjZzm88ARd47EI7qcsBNQqedLTguYzwQpwIWr+0e3eTn1yQDmG
QdwJBGMD3kuDxck+NX4GUmyjfrperyAr94brMl2+GWFTJkvGA53zPhh+DJUIQmtlTVuLt98WGSCA
kxmpXJoCEHVE7nCe8q8YU4zQheFKSzlBn6v2tgPOZSnAZHoDITI0ZJnhWMNrnMHg8cinR7NGpkAF
1jXgd3koyaJ6WODDTnq+6BWg587YV4mM72cTjkkX/G5LIiMSkXzM2tgPgWFsR5O6zLSv6SdgUK+x
coXpl7EqX5sppa89Lb/CbgaV5RxN49sPMYVamZ2dbFNU2zAX98sQB1t7LqM41U9YmfGnhRCyqb4b
g85roftNZxSfRWdiUu8ojGk8tnsjeEnXCtrNqxiXFKwbR9f0QozmauEtvR2Hkaa4ad4mE92Jiumr
Eh9u51D2zD4Qpv5RFt0zYvpyG9KpxND8Zg76hhlatQVNsS8H/UKayErKzumMx6KiSaM5b5gTxK6E
XKFhZtyR+ylMagPKSmc+eLnzYuQ0RbGtlSVnJFl1ZA3lJDwHmP6FqY6mjeCyLOfXJNQfcdIBZc7w
fy+/FgtWnY86VGQps3v4Ml36rHEfXBLEYO7Hy9DcC0+HH8Okgoh21TQjxssJjtx4sfVDklZErNVb
Pro36DJfdRleORbfVpnjtS3Q3w2Lk+80kpahlVeE+gy0puZDkYLBzZY6Pc6/PX3A9/pU1OqddB/m
QsN8B/AkGhWeQY9OIiYJ1m6HQVgHU9+sFQ1WIMYJ18S2bxTquPxD80fa9O0KRbaNU7vGaWDT6rYD
Z8RUULP7+H0keTLtvq/c+B41yrAb4zDfriNkb6oiu1YsBAYdh7L8NSakb4FQWJXxtCOkrF5b17S3
7jBH5VRkcMVG4qV6QUNmYiKGyn5HDMqLl1v3elqb06/aY+rbZQVWSgQRmfXVGMVXlVmfsrPpcgDO
UgL+l4IvVY+Kcq3CVpyZCGnIlsg2KXQtE5XCVKHrJMbqkQScm06Czavnq1bR6JQ0rKyRJ5xa+1Bi
vROD1e+I5aSvKdpb5lZQwrwV/0WWWpdMJ2zFKf+RuvDg/XQ57dHBAzxjnnqm6r70MQ8BUa4KGlu2
f+o670Nm7Q7j+R1xF1XkEC2Zmn5HPvMwRGqM0X8E48XAZD3xagec7mjulJ2jax81+CKD2Q3iPhB/
bj1FsW18Bh0DvlhPBzuzmQyMaJR8wHVT/wSA/OAT4HRoHOvgLuN1kdbP9SQAhhAFFqTIQ+aufMtc
LjOj+RWKJr/QAMDXOIzuAQ3wU+WWL/MCQNLp5VPaL5/N5L1aDboaWsOV1+29ZLpegohUOzr8Eimr
6XnXTYuMBtANbSOGMp4jT0WMQiXzDmNm4C5BqfbG1P49TMonr1VXk+fC3xsRuJZH6ZRvxcQ1kZMh
YylqA1tfpQsiohmfm+hpagEuuMsMkLk9709YQG555NSN+rBk1peBfQ94hsAt3XcYJO+JZCbol0hC
A/Ls8Ny/yar4HP3s2e6mN90t3zlDWp3Yh0VnEJOqJ+arTORE89DiKlWZwXS8AP7G3+PRWRCkNEum
d4VpA97G8OqEyYcMJCRebDl0N3d1QL4WQWjfEkpDNLDDbtSAhKHGEs9Oy3sJ5ldXCyLnVo/QUN8X
ieCUhDBihynqMHnh6a2S+dogC07NxJhejEjbjBnK6ApDwbp62ZWK83KMoN3xreOqo+7auN60fgHb
4lNUGI/E+EvxpE6ifc2I59mQEvQS9sYlK99j1scthFefP31yY7aUCa51GPLxODXxXh4lLWTJn4VF
AqlEhuVqMzImfE9nBoMEa9xkwapeGOROyNmLpvCqaJrHUtmoGawakwrv3jGIv0tIEE0BVJKQuVdU
IVdWONypAHa5Gu/bIXl3K8QECmbiNh/LNz8EvLNg9tzKhaaW7dAbXrg2/h9157EjO5Nt51cReixK
JCPIIAVcDdK78vbUhChLb4KefHp9rG70f7sBDe7wTgqn3MnKTDJix95rfSuVpgs/k7KhtkAbtOPW
E+aFW3Ivu4noB5zJZX6NNwC1DWYgPDPcLt2L29KWmzPoIE1Y3mQJDRJcPryaEj2nyMNH+Jrf1WJc
yVvA6NrvnmIa8Yc6YqqCoEfhWsBjgO4c2McZ6Va0QsP4hg0G9kNn79xc71TTX4nav2rLClhKgJY+
i/F8MVoXBroCLNR5ijrVC5WxEjOY+F7wIiteRqVwEAATyjedrfxVg4edPguT1fwBPTVAzhQxExrq
ldPU8X0LJz1w20c2OCrJO//LHLvuYk3ATNsS4FzQPhpy4jRHXiCa39U0gRy1hu6tbiBt9R5TjRi4
tY9kLqNJUzMVycpSb5DNc/NQhGk0gTpkfMasD0Fqnh7yufeO3py9KIr6ih286yt04NTG08DtWUK/
TOKLxI/Vh8PN6CdcLjq+t1h+Nk3HvRYEKWNCfQnj8kc1Me1xi3F5Kp6CxrtGcPJhjahS5rqh9MYk
FMTejnEveRT67FIshjTZej+8pgRZJbVzZcfpM7X2M3Fu1doJoZTO9vhJV4phi9eP157PVuNOUOO7
9yW7L1HunREmtMddjXRbc3cQKlXTu3X6nGmTS2Ki9KjB3IyUjDD+6Xe+bM9OadUr5u7GyhqHJ6cc
tpbtjBRWBnur4hzsdreYTBn2GumtoDfOzPWDllixZ8x2o/XMFHOO+j26XNEw37a84gkF0QfnY70m
DQfZq8XEX3HRGD92YL/HJdxyl+lgHLXnSl7nlSnXfoSYOMspRGcHXkZD4oaPKSeZnau68x9zo/tm
tEMw7SWGWo/kHbAIAkusRlvCd26TXkpEJPrPWCenrpjvZ0Fzpq/etISLNfqIxswyeqokktGxCp48
8DiAaELqTkz5aGUxgHtoOUwQAohTGK+QnuhC6iic96Qjv6wHvSZD195JMT3aJualhDsw4hVOZRwu
krNvB0HJBnwUeBzSE1yUIOPbPJ6Y+zxlirs0z5doTIvXSQ4SOEkOsxNhH4ckkLlTc9WkzosBY0Bi
I0Ou2r/azdmwdq45MgZwjAdJxGcvOY6xSJUYAz18oNOzt3h3h2BbkW9pVYY4iwjMdSQ+bNeYdoHd
P5jkNk4tHI4pBGwCpohBsM/VXxqTv6UwgWYfQROhxm9jJH1lKn4E44qVO3bfDLV/102gtUCGJ9u8
i1HXryKtNqnP7N7wuUpA2bw7nvcdM1/CKlgehT0c+gmoZmrDCHV8pFMWcS++wDqXkp7JL2zj2Gk3
CLBgtqcMxoHhWIgildV71AHQziwfCQ/ijtfE0sc6aM8GAkVdIvprsuopyYqryHQhXuvNXFI/D63P
DN6Czuhmi+Uv2azKhsTS0n2t5NeEJKnK52TDwAqfWEMsYjH8Uc3wGeftYWao7drWG/pOZ1OJAS7L
DI1lrLH1zQMDAS6eSj70qbrrGIYSMJRf9TiWDGaUMKj9P4mD/gT902PQAjk2GYRydCcVxIPvqAD1
RMVV5siLtJh8pmG7decRo4apbipOHT1giU3EVMCXw5PdG0+mD6k5jKZ7HG79BrTBXR74DMKT4MhR
69Xz7z167YhMcrUqmCOv2zahwKbAdBW+pMQuN9PgnJCNrfq627cqQj+E6zl70jhAASwHB67JdV1F
YjsmFiexHsEbfoNia9gunedTE2K6tBp8fmE8b/0O72mhtoM2X40sO3l1Z++hWu3LEfh7n2F60apD
UtV+Rroh1VgcqS/whFNgDAqUV4M/Rg83ZnqkknaOxqI86cHkWGXv8jDulnrfwPfhvxZaoMHzkq9J
Ra9RG23JoMrxtYC3SXwb0dX0Uso42wb2PgNDsip6yGANrhY3YbQnu9e0YMIeMO3cBFChTd8FINv4
cEZrCwunOvBjySK+clNQXOzeTomgtRooOXq3XfteA7sp6gpEQv5Jll9VoCArRdV1G0Y7kToxptfx
XKX2ByCIQxAlHYc29Mi6/YyH6SlFxbYzSsLsNXf81jcUZ0OfW2kYmmsofyRKs1EBIrebliShlMgh
owzCtQ7g1PbVKsFkt8kCeiFx/FUG2cVUaJo4gjkc651qNcfNIRpLSFfU2au6tL8Ggakje7KYXe8R
vr0p1Cxqhng0+fkxFdVXyQxop8rsK8mw+g79sNM22SUhQlXNh3WzzO/N+aaO/IO6HdlNuRWvcSq/
k7W5A0/5A5LlOvDxecHfurJUvc179exb43mqDZQcmlN8KWoSeiS6MqZ/iulV6tt7Y2mFR9V0yRyT
eK646HYxAkaXYfOqqoZn7lHUIFaFyGUAoF6H057fAwZFfjcRvwCUzSc8qMYmZvr3LEktRV8cAC//
8scX7YkX9DOPKgcA10FdcdBZrBvAYCtEHSiS0FIqTgsUvNybaHZLvde1uxN/TNfG/yGex7wD5RnX
9yUv3qoYxJ2RpdOmleK1h/thhQOZimi1eGf88IKF4DGcCaVadG8yJDSS1YkKwOXKWsBjaM50J+Bu
lrgee/vWj8K76puFNwgR82lxGaP+LiOYFyISwSbJQMSyNF+jugGPZZfXTjY8jugUdlNE3ITqL8JH
R+Yxk5WMYTccAi8DNu9xEg/WO1Lqd4VzuTG5MFPnWUUkcLkFYSTxVeTP+7TFgpJNp6bmbgmxTnvj
oRHma9c6H4ZCEsLzOmKq2uHGpRmTsP+rOSbJyu6PurtOtXvVsAD4Ms7XdWv9CZbDq2eEl7lGq2GV
l9SGJmv0zWelIXEp4zlbCIx0SAeGfxTeJlxcWI9XFlVMV5T+YTZxUzlMkMug/SA36a6KOuDxicOZ
pntQmTwjsiCE2sDEEiK195hY8ocZxkbmyTcFgMVQxm5XMik/QXQeEieFnxvtzNT5iryaPlVdk76a
kS8+xnt7IszSTcd1rbNj1Y/4SchK16XznlrNqbaZxPpOvE3SJYWrFR9RUNzVsbPlTzh30Y2ChtDM
w6UwoN+kLtKNGPzFIO6D1sCdEfzMhfFoL541HDuPRvrWo3FwZntthGZFzWWj7cyrjWitT9W1R9uP
HyDihMeySL/aYHmxo+xtsvqXtMCqUgicxk3Jc46H6ykdCCGIH7BQvFNCvJuLzFmV/c6ppreuCskW
NdnIwZEBxJ1LQmBthby5++1UjvuRJXMjJlqzZmyfUK3TTYjeCGmMl5kqke7hGRX0fe4NEPZM488c
DhdT+6fIJ7qMJRwoyr4tgfjlg42qpt3GQ/waZ7Vc/2in+nRE9hFUpFl3dnmXG3qFhI3FxcUdE2D+
cEkpKIZtgO3VpaOXpVZ1Fln+gBhyVSg0JAXql2nAwhRZwUuSoIoF39hzNapzPEvBmBoxvVGGexfU
3dpct/NI+paKSTcK1Tkri3cX8D/S8Zs+D7xtzHXKHfKC2wF0cbfxi/Iq7rxwb9fkiA/EvCmDqPlk
vjaC4lRk/bzXjtg6HaQftjxju/CUbe4uVJT9welRmC966tHDYrc8qUr496OieQOmiVM5FR1XcXEl
smcIMpuIFK06al+jHu3rcgnOE6TvgvJoF7pcKPTyr7H77emIvwaqvaZzexM0ASi+AFxdpq2tk1Tn
TOYPbWT/yUeXiPY2oqwdSPP14TTKlo2xiB9QL7APmzRlaB5XB05jD+2Uv1Zt8snp93HwloQX/CCi
mIMNBIFXp7rUVfCH8qA7RhElSkCj/mJ4cguMDRXO5KSgmOxDbZAJZRK0Tsmgw0s+GZdSVQZpFebL
mNPbnYGP11VcbFBaEMrcIsTBUENnXJIQWNRXRWkwIOA/gGFlfHLuJfymf5Rx4B3G2biuOJUfwzyl
iemFpz4eODQa9U5MjUFeHqL7aiINrMkJfsrQMutZh0wiFAc1LzL3eWDtJ/jeR8fwkONPEFtxgOX3
RCWjqYHMsf/99O9fC/JDwn3J+Ib8JkLz6qKy2ataYLIqL/cQ84gIHV89GV8x+Ol2rsJTpf3pWKo8
xXGg3lz6yBYG6pUSnXHg+exmi0K1kwGdPouYvcZ9nrO62fdU6PXAHtbXNCDj9qEay/euBQEVE1gL
qnAgB6/39yr4UWoC9pIxGtL0jedG98glURE0eFOMbmqxMFHau4P1jRuYm4YKOw+CD5EsYdsuLXSo
StLHIh8BBsTOxrLkaUiTS8kWwbMHYaQC9Rn5NuYXCQ6QRZg49qOY44sp6Vi1vv3ip9cdUgQ8wld6
ebh4mcAI19IIRN8G33v2JEQMD8Y8/pt1T3jmbLr3eXVTJWAYUNY8FCEOd4xMx7qStDTVDR7GVa28
r3p0FJshJC8nu0uW0YFv5LQNx/oszXDABSG4I3wysDqzPXU9ukcdLqkFE5I1hG7c1uJY9PLbh0S6
M+GnoBPXaUQn1A3gNaqq4coSYNUnjHcgpG7qpH8d84ZyaEywNYr8Z4jn5qpN231Ie9t0OCmL0GeD
nYCw4Kra+pH5Gk/qyg9/UEElZ7NevAgcOKvYK1gek4d8eA4EtpTe44wWhchjS6zfI9R4eKcoM/yE
s7NClgdDZp/EpvWS+qzWaQukLqXFAg3K2VvkoHR0X1zysTljP7pm/tLkXgYlFYNBb4GgCA1YYZ69
jxcpXIIikzcx5NBuHiSdQ5pU6DRpe2L8nZeEJyzNlUHkjOFej06a7lEG8Vv2WTAL25me+z5jSMwH
WpVBz3ClD/mtZmG8tSNnOENAWCqIV0pd4n2DuX+0spJCVWicxZB+VoKGlVN9pYm+rf1iOGTT4i7K
8IzY8tjmbYd0h8FUM9N8Uip972jysduUBmZTOmZZGR3DpF8KaPuP4+J/pVsZQsgf61szR7M02Mjb
ltFT8KbpsGBcMqhdW8IFJkyDGCrDDJoexchdAOYFyBzNzs6ETN1f98aCoMm7ausXTk3Nz9jD7Qfv
2Gk6fvHcEawDRg3YbpjC4KjJf2FsOdZpd6dzhkCN0/DWDOWZvvxV6MBV6OjbjBly5IG2JrVUtWC2
0zWnqX2kJdiBLjavWsbuOEpZxJSt8NjEBDyaN34lxV6and71U3mcdYJBIy22kS1B8oVsDmEom/NA
vx3aM8r4dHx2C3ygZvvE1Iz3v5iBzdGRDeImOWUlbXXOraT+oi+sRU+yiajJWyliQMnMT3VN074S
o3GuuYphgAELbJF7coB49YksKpyl/ixb5zz3RydlJc3i8rlwZ3HAc5awhJXTSTbLTKg2ySCycnxb
itjGVmbOquxoq8mIy8IYpH1m3pi33Ggcs1znGUR6jkusCNaeXBc2lAhnINNMcos2FTmPbkBoOQ9B
liQ3RFY7aymlQEWnL/hrX1qX1zawWhfKXoqGhtt+k8MwdnnG2uEh7RSD2Ri6LGuMZFyvf3F8x0IK
nl88mpLnsLwzaaFwRTHo5l0hHqWB8ggSYRvw2FY17YRmCbWWKksx69m6HkrwJOwPkoP7yjRyUuA7
WewZFovIKXY+Mswo6nk8/W66sr3P7WDbJ9MLOIZL1aseagK4VHJNa1A7jIhmAAJjTBJdb/zI3OAV
cMKPSrjdRnndKWSGSuPQtwGohhNtc7f6stuMl2giaWBx6nqB95xFvXfAp9RvQ10R3YgGdWNrfeiK
c11wJTsBriluJMgs5INNkHvLsSB8xcbZSVnhcM3JyvoaQ+fdtH/6cf7qCn3nV8nWcfTt3LjmqYkx
ljfBO9o9fluSZ2JmjwFkqc1YsWRmVDyuMfRQycGy4p9KIsISIuOPX0sPqUJtrlnvkBRIQ22z2fuM
UslMh7EXKb9UOpxzYHRTsXKu3dsla2U+TumGbfuYiGAirN1ktsHRRxYdxWxYjjujMvZZFT+0Rmbu
au/WlgaFoTk99yOAqsakKzzWT23PRMQd8N2FRQMGyAevM2Yzf314FTXtn8xlRCZ+7D6+9Tjtcwhm
V+z78UXaHAc6/GqryDeo2QmycaKbsMSVUMJ219QqQ4Oet+z/AI9A0x2QtpqSh9F9DR4N/SqhBd+H
xmNLU6C0M5+82QIMeiKe+oDjYZIRzYgW5N3g6F4vCO1RxfKYJ8mdISsgNA50GzWT51H69K+tnjMf
1Dia/1XxbYrho+1NKhZ3OFisPfu0KGF9Zh84ygN+F3OJ4XEytlV9zzNKuKrwFUGWz/aRAOM5601q
JIfchC1UB+JWN35yKtElrwXJxLzIq6nyz1xHAI7hV2+jdhiuK6xZskbIMoLOirr3aSpv2GETqmBS
YqoyholaoAOpdhPw8AvOMrr+flLdmnP1lTRoQdooebBNP1hHmtZrVDoQ+jSNEwx03U3hruPc+KTX
PrzBomb6iozdkNd9w5htHotPpeCDKsnRqG6u9eLMSSxz3odQ7W7i5YND9y03fHX6/RI+lc/eofNQ
pS7PtvEeAReMhxyB+CpFAkGDiDBZAzayWxMOUGnW4aCyHpOO/KE4Nl+aimxOy7YVJP+D5+IZk7P/
EsYRUJmannbZ5MO2DjjI5MNMLbSqx1If9dg89qqa9zYGpG0PTGlMJZHMBdM5WCB6z82Di9jDotR6
eH8tJnGUcKyxLip7Tl4p4YN10133lXefFbygxYxftbLq69aH853GICn5fQTwRst4Qw/JTR1MNPlp
M+Io/Bg6CyapYiyfdNazcLVC3fFW6SLYRyMG6xJ0Wa1uciZiGyzsyIlRzgcVQaaMWK3MaDYl0LIE
01bg9ljDy1Nad+MuzzXwsOAaKNlV6HJW4ViGDpZw28FI6cdY6KH9iuDsePxmyQXGprxbS9R3uktp
w7iQOCbmn5J9KcxaTgJ4M4P+NglwjccOYWhtkYc7IwP/pi3vRzk93sP2eWxRmsmackNNKGwbrPhC
zF9y9A61gM6a/CiXC3TOs089QtIwFcHJnYHqv5jC8yCqpzpFTNFycdnN45g2Z79G4YNPc4vO/MlK
4RooX37KvsYnLyzQcr4t1oGtLnZYrTLmL9s+dI8+kp9TlYxP1oyFL6wMpu0lL4CSX3AD9l1kkNwA
0XcMvGRDPMcjhAjmpgonPzJylHTTTS+YHsC//xPdokBhVVkHw7zt7HZj9PUV4LFsjyzjOPXBTdUw
IFb0IlJrRKqj+D+xQb3khfNdz+OVBG9AlbqJguiMIZk8Atc1EAQ1u1Ti00qX6ow5yo2bRFi60wbD
Zi8O2mmPFsSkLh8fjGm2rjq0QHblsA3EB7gUBHn44ttOBThjWBFG2c70uVI2A143W69zjeip9qJz
yyyNntu7Ldv2gv6T1d6bdkbb+psGjrIviRKB5p2VcPlC1vqy3jfSOrp9xlYOIJmo1Ootc8kDCkbs
SrbxHTrdeyrTjxaiMle/vR8074uMhzU+qHQHDx1cLU3IJMm3hpEwQRP4+ewSJIjExUaHgYmtw8vc
o1lG+MQKe0ra5In3/1591PglgZA7PJ5H07/xTXyHHKuc8HtsxvvGVt9V1r54U/PAFAIKaUIQkKFa
5s64y3TAcUBai3qHOaqB59qV4I3MyCf/Np81R36TqbMKxLnS1odFCAP6cXRiyzSraEOEL5kHLKyo
jv3onvv6NIlpr7iDCtR7OQt34BqvAlh9vaSgwLImLA1Q8xDgnq+/C9W8+FVIN7oob7TcWQE7J2s6
Geb+IZf91QhQAu/swPBk23kxkjpTVruQQlVXKts6i82FxedL2d8MNL1tNPtXI5K0TWHJzywP7zAL
RycYQqfRmX8N5WSrGorCPb+4gALTQuf7dnLMLbI58nlp/HSFu7eGMbw0baV3YaPv8YFtTafk9k/l
qeZQGrbawCgPeoDghpYVHiNZ8h1BXMO00B5FYfC8wSlC99+h9yY2NSXN2pgGLBCRf6azQUpgseyD
sbUdVfEYVfWt6MRmBOrAnxFvBny0G49u+bqm5+cCzF1pxuXreIKhp0R6SVx9F8K6XdljxcRqZIgx
5gnNqmyvWwNACVGjs2lBbe53uCbAq6UUZVVzKAtQHx094biAvNOOxdaL5qsYfvU6iHSxNav2FHoJ
Scgkd4GLOFsAGLfwa15iDovZiN+lJ2qc4TscOIp+ABBfIQM9nQBWIKwn3hiT/e62+kaaLRnk2bRt
LerdrMUdQl1trIushLU93Lah+KjkORSsmmM8KMZhPz4ah1I6ECt7/1tN7TvNL6m9ZyYo+7EImZWk
Z8GhNAopI8bQvlHJeBMNSKqHDrWHdazCLN9ZtAfc3L0dbcxwtKfqfaXNE1wZ0Ga1/dKM8G40DVMn
B7PS9snaL9zrYhYPgUjuJWvKzlPdPq3nvU+KbsBOLj3yPksGZC7IpCShG4kFLsEiYetRbJBR8pkX
UuwQAeo18IzNNj/GJajq3tqptqUqodnoFwD/KyO7yLH+CpL+K22YVSTzytL3me46bpoJK0z5iu7+
Kx6d764vtwGkc0Gmyt40RuZlEyBDzandjT5oyTKwx0BG88y4EeX8GDnqOVHjwbTFEVOm3hitfYkH
Y8HLotHp2BCdBq/t5Qct9VabFRtGU697X+4czQ5rDh9I1m+z9EOKBXCQHmnq3mEJs3n/ypc58Dc1
6AOsTtaTTx671v6fqMN1zqTzYoBJWCG06xDOknSZew94rWhw596TWfeXLihvflH+//tz/D/hd3lb
ZlNYFs0vP/+zrKY6DqP23z79v/+Nwgos6ZmECPz/wwqOUCKgv/9LXsE/fukfeQWeWpIHhPhNFrD/
CivwLXIMXMclcMBzfQs5yz/DCqS9fIuvMw1V/AVS/TOsQLj/y3eR2PErLhkDpiv+S2EFniX+9j+q
v79Lx6//+JsjSUpQwncwc0vlCOXzUNXn+31chM1//M36n8S+yCSzwFDJ7qlhbIdNmLyZqZmT9euE
Amzd5xKtKf0jhDQ1/VMT6L+nmbwTlvXljtXPzOJ1cKIaEMwUE5oZABOI/dup6fOTlzXwp1vQMExd
p0pyzrWbgYxjTop04isrcZ6hoXrWJz539TBq5zLDPlzTVZvvh2b2qA6ltbItM7h1Osbn4O72sOmW
TjvA0bqeaNvMwDpEQ54JasOy0scBCU/V27Q7UnNb1BlbQ/LiT2T7pB6ktixDtqMciW3JzN6Nmp4d
XrmQAbHjXJoke/ZwbJ1NcUSFbu/G8IBRDIWXi4xwIPtuGfNMRVHf2gRLM+j1L0rNxzxoB7bIjIQ6
wUw1HIfTkHX2pTWBkba0NmGGUVYHOBadqWdQiZkz9ZOaMBTG+Qi+MqYgtHxFhf6pc5DXRkxjZgXE
pAn09e+H1rWPntbTNjUJAmNg72f2sJsIaDqkue+S2ZaIbZ4IY+8VtbWWsXEvfQfzPI/X1JwAHGs4
VzWJWPE0bLXFId93iRZXVYiv3F8k9x2N0YpjzlTM1iGV03c9TPj5xADP3YALkpV4O8YbTL8TjB54
Xiodb+usx7U8kPTcl0Sy9gZxY4lEt8yEnvOlf5o3TUBSeW1LteV0/pgzEk+NsTiDA0MCUycZ8tRi
aciVAR6LG/Bndl2Ip9lsum1ekhUlHXoqZQ5irkV5mGXGKkc3/AKIBhY57Y0yhBRiqFcTSEQ6NPKO
TgBePrnkTGOhvHXtYBnAeG+BEw27gh3N7rLqHPuMqHVJPmseJx3SmoEcN7fKNvZkNMRiszYK1yaH
U2zaBRzCLCu/FKOb/f0DT41eVPbQxxlhGUg1GoyhVVjdcLT+EwQcXMaATG5bMyn0JqSRQXXItRcf
vNgQWxFx5ivsjlWV8DpyrE1v41B8NzFG5jTVV6Fp3VOWYTyeW8prVO/Cjq/SVOyaUFj0edAPtcbw
qNUUXsM7ORopvvxMlB6JqAxMi+RCzEMDgQOpUETEDYnEG6HtI1Ln5Nv1oivKsA8gUA4DqyXst+j7
G+R2t4Ym2qZcQm5mk/K9NaHGd268+Eqvw4FInIJq2lpCcsYO1lHPlM9bAnQMxhKMI4Orkmwd+gj1
RtHj3wifIeosL9CjMYuWv6E8SzxPtQT1xEtkz9yibiAtZZcucT7eEuyTLxE/mqyfaQn9Aek/+Fg1
MTjMZAI5dQrsj5Agf4kLmmuCg8ACvCS91/B2ov6NSBfycD+spJ5fymQJHloiiEBr3ZoDGWUFbYVx
iSkq8bFYVC+rEN7ZnoSW02hvNSQEK853wQgSRQJPAsl+E1H0b3AJPiFWYZKBSXNtNDxFl8wkj+wk
115ClKzhwxblM4KBJWS2PWBsxfwmy27lLiFM0agbxmD1tcjvRp2doorhuiOL9ZD+JlEzPo+8jzr6
oyQBT9/uEvY02F+FAcyCvo28bcmDysZFckVC1OTNyTZbQqOyJT4qlpD0gzIaVyhP5C4iR8opovnW
LLIfHQ4PmtyxlDgquJQluN6AYpXQLtGN51QDp+5IscpGCEnEIH7QGDiG1Qi5oh1+6iKKF9XSZ5vR
IKvQ0rPyjqeOVXMjhOOinQcyOcfFvvMZchZ5cou+noCtiEQNgrHzMPsBYsFvyWnR9ONDn8v6tlhy
ugYw8/5jtMR3Rc784kvUHhUzrKm2D5rrbaLz4JL8RYLLG2DgW+ZbuDZcGjLuEhMGMcfnFNW95UuE
GCM1CnSOVGKJF8NCz1ZF4lhMTR6PhVrLJYys6E8tLvU8JPaGrLLiOyK3DPzreLJJMnNbEN3ZKM5J
7jEQHo9Rbke0N8U+iRzq+6yni1WZ4V6ZEZ4INBh2kL1BQkXdGU7kqJnHapj+TBX6eJDKr+ESudbq
+GU0rWuQOcxJXiu0vVtdhzZQPTjoeWxiyo0V8gCOuTGZbkywkBGEM1YEE1WjaOYHkmR/0HlgiE3W
IgjuHMuUK8M20Kz/lDP0z5ZB1oGJaHnjN6Hautl8soZIrUrv1SYQjLlmyEtcOv4OrBaToQg1kn/N
5NRD+BX3N8ZUbHtM0rMnx3WRJDXiU2DWbbeNbTIn+th7j+P4qrdyWuwIwzasLU9G3TzYv6l5xOdJ
pz57dWJcC2XsSB65CR0STcnbqzjRUHk7wTky5sNQQKG0bbgOWW+eEVfzPe4PyLxk+E38kfFP3Djv
skPEG8XySdtwv1LS//IlBrDJewinrwwR76cQjm8XQU5nLnFC/PrA0uM1/O+NS7TgwL7RZuO58Ocn
YO7AWkghRLp845NK6BjkSJhU6qQVektsoU1+4UDmiYRIE9sTriphbKp0wmBuW0cSdSCaCuuNMqI8
dgn62IT3jPJ3W6AvJg6R+XXQV9f8eQw+xATEiI1DOcSbCxNAkOVRqi9rOAaFJ1oE1mZACBbmX9yq
89GIUC/6ZDi6vMVTblPKaLX366E4jGT0UC2dHT8hF54kyIFESPw43aqLEWsHrvnakBppLry8kBhJ
Pd4FWribecHzdblDe5IqKsTwee6WGMqZPMpqCaZ06rUV3XAyoBm1BFdm9HBtkiy7nK20cq0VaWfC
irZVHLHwYFWJdP5hk4XZOuLKJBvTJiMzbJ5HohXtGL00CZrOEqXZeY9Bemgj5wlxvrvtcIYUrtoX
LaYMkjhT6g8GHleKhM6EpM55Qvuhx1sfNKdF0qLtlV+2do8NCZ92a4Fg5RjnVC/W5ME74RIzNaGg
GmLRkhG6hIX2GMr28xIgGpMkWnQ/bUSwKMSfglhhAERhVn6OeNnTT0ESabREklqhgjIXXDWh8+Uq
2waIp77j7LoaCDPFQMVMIcEcxCzwT7JEnsKt5uZhlkfL+jAssaiTV9xOKF2xx6m3GNFn8Tsj6dqr
kA4WTS6G9bxKBK1CnI1IXm0WWIWWgFc+Zh/gLfmsqg4/kAw+odw7eUtdaWpxKr4kqa4OTVDm1PlO
k/c6Mv3nOdW7ULGRJrbEdmEcS1bw0qDTY0S7OH81qvR2nrH4FcTLe4eSFrKFMG6Jmx3JncXX+aAS
kgSYHT211gQ1MGdpAfTz2JFaqz33mC4xtuQ9zDmRCxSnwcEbPdQAmA1Ghn38yUSYx62/t5ZgXNtH
FqpTVDjxEptblUTSzx5TzgLhShBZL9kSshv00ANpZzLb3bdLCi9pvAmpvIp0XsdCYlpYLm3HHCbb
7OAVlMd+ifRtSu8wpw/2b9Sv6zxaqBnWQwLmqG+u7CYBrZTx9vdufShkcQRIT0ssRl5Iz3HlCvbB
vEqGbWNmaMLJHOaSQRdA84vJI1nOnYGdN9JLzvLvPx2PADY5EmRCj78+eaiL//Gd38+JoYk2Xkeo
ye9P/374/YbNa4+aZPnf/vrw+52/PlV2tAusKT7829f/08P//vDvH/ZvP5OCQBF2V+zTrmixBC0P
xA5LEPTvP1n3Car/66G0Yx08Afsxa4KTU3YPpUor3Hg8pd8Plm/+419/fQ0y1n/+WgdX4AR2yAFH
hOrVe89/H+P3p+S//ujfvwb1gjqVYzJB2s2SuI0wqDzNeUdbMg6iBYWHX/P3i78/8/vBIQ3xNLoM
Wxv3scSkCqvmX37/r0+x4Uyg2xXiYnqDiDD++YNW6dJS5BUqFx7DuAAhIj1SJSNA2vx+TfUjza6s
Fet0hHnTTM0dglc9E/1ASnn0m1L++8+O5PKixYbR7Yk0uBhXjbxmt0J4z3kiAZQFuWVNUcrMsV2d
6CuNf4Y78QCA56Zk4LHuz1QuONyecKAF6+plfqEiJaS1/CxWHB1ZLTbzKX60cCQjdvIuLhJc96Q4
Ba3jVfyd3PjXzMTml+5qrNRd9ujdCtg6n0TT2yXwFEZXK4LYycld9dWmGnbdN/cvZ5WOjj7D27e6
Xcfn0qXpe4jfafea+dbM9yCbrFMLNpd26WfhrNNpRd4Jrf6yB+gMthV0ZNxtxEdzFcCtWTd78cJS
ghB0BzWU6eQqeK4e0zNuVVJNcKksOKFsYzzoVdKxpf0/rs6qt3UtXNe/yJIZbo1xoEmappAbqzQd
M8b06/fjLu2zpSPN1VVM7OEBH7xwyAOz96UXVd0iCjpJk6vSjx6wnnNO+dE8LewWjZ0F/QO5Ichu
JLP3I23/57j3q2dUwtp8z0dtX6595wWNNfl9BZ9hAmjO9iQc+CgZoC7t7hdI/KI/fJOXGaaQvEff
JkER5Ph3CRvLQUIJggpHctlm27WSZ5JgbhRZIbXeIpVuw82kIviCBY36Mj2n4lX4PHWV30fussGF
Rtnll+LGBp2foNBsKie/lJfmfHcQA/MpbZOaxRtAOAS5Nm6Gn5b/bljH2ZnqGNl1wV6lovwC/J2+
xU2UohhwcR/syACrw0jcunDTT/SFNq03v6vH2vsmMY33UIhGd36ngCzccjvbx7Ktnd9gCR9zGzAE
iJgt3oirWIpLeohLrnNqRhuesnvKHFq7a5dz/VilLgKwp+jHDAH2uP1G/YhezBCkbaCfkoMe6j/l
F/9H4fgXTlaYfyVXqQmiH+Hh929q6jJVoxOaMvZiE34xAMrG6phXd7Ce2xUv4v6Kp/INSd0TpyJ9
ez0UPDp3JKNucos+vq2reTJP2P+A0EEDXaUUvbUqN0MXVTtRRALTYPjU3nMb+hb9cjv2qmvzm0GP
dkCwuop7q56O8fO7Zk+S2+bOjraGdMTQMYewpG30CdEplMaRcwdp7ErO5CCaGEjPM9TMa7TXnn6V
5+dkCAXnF0Gz9qumO41I0zHxoHUa2DFdX9Cq0Vxph2kSKS0L7zzdg/yjVYBo4EcOG9TpRsfyMoSG
GjpA5/JIGXxfIwZuL5vsOkI23CXsOMGySyZGqjrk7gQlww+ra08xCel793+/S0HDj7cFvns9tZTn
R8UK8BsldTFlsOPtsrjNlddNj0CyfwsQaQG46U0CaW500VZ87TCPRIfvVQ2os1DrcZZvJtv3AeNu
H3deQOl28vQ4tMf+0itsIfPRPEwqc/w12UxQDO7+rxq2m0ZBPtpNetfw/pspv5kTWE5Ojkrz3m3f
vkEPbQBtvFDz4fyGVtUhvO/AoO7dWXXRLn2KXBTxJiB6bEEsZx4ms2yHPmK8XQez+w0lfjxeMy+D
olEeoVlEcWhQ49giZCdutW9K2ZOThcsZhGa0AfsKiHxqwuTpfgJYatG4Pkx2fKNIkjrLW+JhFudn
t8TLtqBski15TnUmYGLkqoCuxFCckSqwja+UKMUTDwsIz51f6T5i8cXTrapP8vnxDw4yo9IKPlDv
ZoOLqF54LUK2T5XlNJ/dU/I8001k9bpje5N/AG6K0iuRLqWsZvCSgPrk4kp4WLCQaz2Ylr0g0Un8
HH40dEv7Q9P7Ksae9m1xxcUx/yXiMVXsL5j4sGRVV3jSGj+7Qnx5ax7QX/kOMGatDBekO9dxvh/p
qFbO2o/6rYKW9i2WpV/jb6mFi+yhYssWlnhA6g9MlipgVLx4S8cQKf/3x3kMBuPI6Cy7xsHjVbXb
Lwi5iDZRLQLvi6Qiaby5zvT7vFeHj+og8Yg6J33PoPBpAfY31Ly2rEJsrSY7X/askcQTy2dl0wWP
q0Sraaua+x5/5+cUzQrJv6O3CVwTQnoATm3i0dOUdwmv1hPjonxxWK4yhs60y92YzWEE7X1r2Yc1
vmQMmoDOHge9P33NRKoiQB2X8g8btLM+e0o11WexXexpg6W9+KO4JEuLfrj7YJvWuQe/WMAhFob7
+tgTQrxUfqZwmb/cwAlWnyjAXxZW1DOXKP62F254vekDW88Uhej/sd7C1LSjsPMxZ1yekPWz//sv
HsPlC0jELvb87jphrAGBzaXO+gSU1sFX8FRdqysCQ3cV42wwizhAw3N2kOOaEDr9Fh8P2/xd1CNY
riZIfa4AQ1sLPlnjgcNDnxZuEdBFIcCUZbwWv5wMbCNvD1pB4IBHrsepj8xzjrdoC3nAw89pw7RK
f8x/OjJfmLYjsLfzmUIda6UJOKB8TlJucLKLM0qmPuBXtBq+5N9ia7Cd59a3UeCS4kTU5/LRTi+9
5S/aMdmGKgeR7yNbrnVbPm71JnALWtnOCpUyntLY60WInOclTH61hw7iEuq68UTv1h7E1/sLZJ51
DjxlLyTeX/0bFJUtPpMuPep4q+yaW+o2DpsnewZSLLKjfRm7cYH0Zfvx7vGpb1GADpf3+DO6CTt6
XjtQFi4FANPBJMLG/LYD/kM+bmPJ8RnvEgIdKiBOZHh/G5PL5oSgio9sc/56gnhiU6Cj2dVawxMP
p7uaUsAQOhhy8RBxWuZ+U/dlnaZNMFA1suudqdjYjbE7dv5EBxlLvk+gegt7HZQ1H21ICCOQsE71
TmAvJGmAg4i6XfS6VDe0GQl4+CgWm7k4qUO+QxnARQ4yy1092g9guxRfKjYGrA4zqMfLndJvcm/h
hIQxj1ZPQ03dpYkvPSNc6vwGpu4Im50rBoiq7oUL+Ku59UHFwCGW/IVHrvgx2K9be7wjiHSqN4YX
RD7VLDfyEY9wmOXPChQhu/LG8wRN4xg3COs7xXcjvLQ5ShM/CtmkrMA+heMpbqFeC7jxomYgPert
0oBheE2X6kl3mMvFxvxcGbQTUF9h0xufucnkeIRYxAHIjZYXtc49MYR+yXFFmWoyLpQ4tWhfYr7i
oVcilN/yS4tMmg6RyYck4qCFQ+37AOduuKkulQQAdlu2HWmT++UxdRd1g9Qfy2W3EEhL8FPZ2lj+
D55ccS5Nnq1PuNJcwQA3aF7HIYEqC+/IznMHw719/CIQcaU5jIhrzcbhEoISUNcDm8dzp7rac6Pv
qcfjUgqkKR6872UHjAeqhQmXMnMlLRg6PI68Rb7ipkhknXkIQ+ZggM4yYHUHT5V6U/vqr/orINrt
6L9joJiEER/1kXVuvGVeH4qdPYRUTGTTAS1A0Z/qil08SzCBRueO9DXqLv2WUknWUoG2Me6ZYlfH
Wwkjwc5P2MVY8QB7Hf2CaSzxjjzuNHoRVIIqLy1DmdUqT9tJPVJSWfJDm/jCc5RCo3VoVtyM90h1
TfVpAnFCCfhHkNz/xoO9L+dIyTyVaw44E5D7ZLTxCyPx2HVpWF8IXSg/imOICibtv3pwlPVZeiz/
R/aabdPUZz3PCNZyL439ouKpGe9R55Ad/TBvgWI8vHqBSXyaduBRwXxYfo8EZ767i7+Cuge0hO/q
LREdQfJQ0MWYE/RXgpID5/TynqLq+tSe5ivM61H2kWEYENHNAjBpAE/Fa5dg5AL6EX1RgrRQ0Q9K
d5mF12j6QGwR2jmbC1ie4taLNhEhQFwOPkiL8F8d+XkB0GpbPj5xeeMRYMx4UeLGsl12RVAx57Uj
hUZj++AUgMsapG5BUneI1tFbJZmu+UXIXmjqbOHam2OofXWcBOMJohqmPgAgScIeLomZtBnqTVuc
dZAr9UaJXvLUXx0WKqcEJbKGLwq7GfRc2JBd9dVa0M3ynUG2pZwe0pFwhvOxR2umc8Zf83ecUG0C
sOemsCYN1FcQBF4FLV/uOADcBR9GJOIDsLpUhuZIkzYegtRgb4OABrLPLzOAckge75rYBWYyPf6R
J4zssxdqIfj2UGqUAR4ptqI5o0bxG24//KMgz/zI8mDClB2RvId1QhkHx3X6bawjWsYlOqCFg4OV
9l3fn9OwNDYwtKVtne5BQqxBGOeI5tLpmc9x4+f3PeVo/AjrcZ9Bh4w6NJTmZ+B+KJ+sSneOLg7Q
uWz+pTm+x8TaPIDli2gQmSp9m2Wcy012KrJgXo2u6CXTLtnd2QfVT9M4taIPUoQjG+PyWv0abyq1
ra8azVBymV9OJVlzflfLqQpR5o140jyd5tdejTnLCWKnekvle/5lsxHR7MRsSfE5pmkdi3mgJpuZ
eFm4YulQ+PBDdby93lrJK+4/EQpovxxJEyI+YTK9cNHsOZBglHobUwvhKCJgYq9b8vMkuMMLxwPn
k90fWTfmVqGF7R/BGhO/NtTDfeKO/lJsqF85jd08xZ/ZZ7+/1WFl3+ofNF/fvhcysQ9owv1PrbKD
2xJJafKZsDHNBx7Cm0FMwxR9pSyADeOJXHaTHIpzWgO3A6oGeM6OP4ULCuvTRWeQPhV3OE54p38T
dmEMyDFm7F9qH+vDPGNDhe7yNbyxl0JaOSfMPTDPkAyCbiA1optEF5kolY/lsThkW27I7i/aZi0e
BFhsrQcvVfevVPDZbsj0sm15LOvN+Dz9IEVOSJNAqY3FDT6xGsUIZjXiAN0NfSbQUFHlWzJ1D1yv
FpjMLrsrA0pVgq9Gu1dDfMcz+rmnu9uMh/UgmS6sLd6JzD1ormxj1fkRsOAyrq+JHZM9a19eWLys
yNynV069gD19Yg+yZcKncYNOFE3wEG0dBJgFZ/5NvPoHoVkkcA0PFnuxbbI1kXWaf+JVwlNtw7tA
LxhOyPhkP2irFb/JuTgbuyow0Pa19cPf9cTDMf0WvWWPjPOaNhPk1/UmP0agjDFCNbad7HNTUGF4
ucI10yck59eUaG2YPq4KAZX1lr6Tkxu+hMruBuhcYwtfGXrW3wY6rmfZI9Jhgyx9kz2Tsup0Ymr1
RzJV6Y3wEiLUhyK6KuUC/yiGPHEjaI/USpAIp/KEM0GDLi3yCA5O7nhiS98UjpIOiWNwZD4d/Ryn
KMJPUotKpSNsJzf9o6t9Vg2axbJgZweCJs16+TUGP/bk6zT6JO2D4gHBNj+qQHLNwKhC0gwx85Ts
2OrHpPgn2RjEJH4/IsNBJZ0AeIWFpL2Hn8EdZt6L4FegbDmqtT1ShYb9eB6f0DGSw6i920SzqnKq
oo34oVP70E+ADrtfJlCI6F/iyLDMHLashyMv4eBmn+0enmn9oiEG8B3VIDWcAuACLAXfOqGzNKsO
/A4bwPke+eC35lsLxv34ct9Fb+115MAk6YQy1IEhte9nJ+6dS2u8VaIrVc7ntE0xrOfUKXy3mt2B
EMKFxpe5HPZNa2ef0b/hUln7iulVbyhzZcllhICuu6zESn9JLNfoqdpDyngfPznPeJtbEWjEQv3H
W/2vQDJBo95EzqYK/+qOpqqT3fLLCxB5cI9nopHHTee4BoYq7+DA8pdltQFxQZkR5QikpJzud4Y2
57Bm4UnAAUP6ahdYz8Tmu8Ijw6Qv6j6oYcof8kfq8yDF7Cl+mscQ4ZtZ3uEmkS57oCKyTzLB8Vxe
iAWKmzwHLwbdMGZq41ABoYBBpYd92sY8Hj9Fih3At4Pcz90OvY+A74ryDsm1ZAoFGhrdAT8YXHXS
fZeBxtwUxrWOvFE9Ydhdv1HzrQ3QMPZEHGp2u+LVhKHSPvPUD8Ad6wdmqNzq0WpXy60v3EUZMdhl
gKVrftvYi/M7FboSF0ljH6Ewt3zxj4qMBQRn/d+TEu0KBZokkpfGeep2+hqH6slpsJVNXW1essYx
7z/odg3CjvfAKuYRRP/KI7P+m9qIhTD3phtC0wB877Kh7cnx1/oITLhNBNKcjTVyeaHu2Yh2psbz
Qubdjj6o0xHCl9Q8iHjJlihY1lshckIGGkZGc416yudO/9Zjwe2sFbeN9mY9N+UzDpy7SHP0D3ia
JF5PzHv8C7IA/h/Z29vA9rOgNo7g/lt6JNMwy09xXGUvHTSAqoc75Qd2VN6G8jVZG4v5zq5O+Jv4
7Sb1wUqiAmKNr7zYF8llBg0ZBhFsk7+CrrzTUqcg27SnN+GJYwh5SXYYECc0fgiikFaMQQITSsnZ
U5JhG+FPm3VAblwRDl9GRCMMFco1i+ZEBB2GpWhmen87IJKb9v1Crl5fCrIaPX2avhit4Y1Yi20N
mmYKA4bZx6ZHXBp9PK73b1IX4mJquWyQic+2ZGzkdEdisfvNazf6SNQLIWZK0Y+eUEf/8YvdbXov
pACBgx3srAU/WVLreiZRpqjB0noias/DLj7MwPchtXBKv0mxPX1JNLEdpaY0E0l+FoSk9kBhwYpA
jXYHpLZZaWcgFWDS0xeUlpLME7A9Nj3hiUFO8JGgVqja0Pkfh/GqevO2aWziap9Fpnz1F7Bkewoe
DdUaAlDzg+geQ1w+pfpPKkRIIVGzIkbQeQavyMCjrsg5AIxF2aAc+gA1ZSMI8i+3fCKqTHcouavb
cfS0iBoMYQnIiHSwB6pKv6P2hhQoSKt4m4bvwoWaKFsGmoJbSkpcFg9Ihe37G1PO+adyKDYzbChY
WvD87THFupFroNTNeG1JkqKPeTwob+Ux8zjbPhg2MX2LiLPIv00qNDDGa1cQvybb/EhuWRyyNXA1
eER98UpsKxoJu2hzwo+PIwj16UUnqUVWzjervfIFXU9mg7vdLyOupesMzF4jrK+4+0OaHfGw58Xy
7sKuJTMy5BYXZTNcilc6ydq8bxzU5piE/H4d72sm9RcKa9Zl2rGQKVaDBHsyD5Q4VyU7Dh/YFK3s
MSDsXQUhFoxxHSEogDAe/h6A7VOLllIgZq9a+1ZAhK59mqHkr9kLv0thpyG4yDy0R3juPI0BIXoc
oikJkVZjiGKc7kR8jcffjVjOu/iE89vI+DBMbcBLWWUYUxzFIokxCEvro0JwFHQMTuBUmJIttfZJ
vyEwrcebGsYqO4yyKxBQYuvnmoXILdtgjjd5GyBMu06eZM082LJJrQG/AJFgVpb0fj2eg+qI/REP
Dq7oLrgCJwFT5UJgAlsb5yJAhlw918or84kiMZ+pp/N0GwqkzTo23G+vXHlDdjLGo2ZLmV74KV7r
neaWskc1kc9JuaqrODkq1CbkB9RhQ2O9Ynnff+rph0F9jB/8Oe+zpisuA92TnqPetmNYuSPuqybc
GXgirqBgCUxIFNu0wPjxArxm7ecYw4mzkBFnvFRhwxil2EWj40V+ZXMxhgmkgWIPeXHNU6REeWN2
8pr6dObci4RNJb5z1znFxiZ7pezPF1w+lfV+DUdQwcll6tbslJx8pNRSzYG73iYpSrXOEp4Z90o2
GKHZz4IlKsOfcnFlLpqCBtwrVjwdb6AtNSh4t0clX/aYWy0hc4S4q8M18ojYFZhKkcYOdxa6S+7S
orxZCK/66fcdqdaPodqIUDUp2x/MeINtDNdPnYRSJRSIddKani69M1f4kpKrrK2v/d878w5WH3IJ
mCdR01AR4aY/7pKe1IrdMlGhk1GMTcj9HRJZXhUJNIaft+fgLy/zsmVY+Xs64+sDhfnQeNx7mrg8
Rm6HSa94XBWLiJ/wKzyOEYkOWsPrbXO3EIO4tLyDsbwOAdcIjZX7X5AywXJQcPgjrpdJsD6kGtim
W4Jss9cHSA5qC/e1fSPOKKJuSTbinLOHKIlCi2MiNHsYb7zxcKFLIJAx+bwvt8O/pbvwgjplHu2J
x0NdOCNrVtWLoR1ZFRrMx9ovFIQVwwddAU204Y1ys+DfeIi82LowYAuyGDT30dCsezF2yCdjZsqD
ZYHwHvwij5075DZVmzvCmgYGiLxBdLdBNqg4N8Ak1/4BMFCiX3dYlzKqXxuUnZfIn+jqWq70ouc7
iidCRjHhwpznzSNQzwJQTm82TihfIx1bGSfuZ2QqEQ8if7TnMfC7FtKqzEXIu5SfMfAkOQX6SsWd
cIe5CqzzOv5qbQBulFHmKvg9HoNkbnkMCyUFJJaMA759lnLlD+5Yllt7+nXMDx7lhFN5ETSIVNAG
NGE0EHBv0ZvldeD07cZ19RmkfVwVl73saWywLCDn9Y8dkwxZyGcapHHrrGsxdVA6BOI5McbevSFs
AaUT0GKDh4KcIYZM90+xDLg61rF294gcp4ffpZ5owZSHYVOGz4uFiPDGepyH/iMFJtbBVs3DQj0A
aRNlH72BTj70vPziz2VQiSGtcUtBdwleGyxuZNDfeMZc5hC9sPaM7sKX3O6K4KodMBzE5ZG0MQa7
FaDAMm9pc60DG++QXmN/IHkC4bjU4d/w24VHBQcyKnPSbK7qFP43wuylQo/hNxVV2EwuuTD+OSOs
ntcpBOvGnSH8zSNhLTI+WodmOnrSdJ2c9qS+UsNjNLCGqLINPBNmIZgCQ3Zxk2HASiQGsFCX19VE
11q5e2B1kH2kqLnuQHzdYvtCIlV6NdcNc5ulWG4ZU0kl0FgnBwuyQ57K9qnJ/XB/PFemZUTfTl3r
k2O+s76ac8Q9kTgxGZMtA0uat7pVkHARZRmAixz8QTGoQaoP/mgE9x+c0LYtrsuy4+3XSTBQyoTb
jL2gQ/VcwwKIKidZmU3nQi69CQGRlpIaGpSzPVqNE7B7oo9KvR8s0HOCqh1yZbv7NyhVXO+YrwLK
W2hYhLPup+WN7IFJRoJLDqyStVXjS2Y56rQXUU9shDcRjOffsjNVXx/WkYY/w05Gla84c2YSWigd
UDgX3rlYhihcdA2ICm8dcOzu6UhZjvZ6J3dgLwfeRYcR9JSL3kk07wblDKS/eaHOBpLDMncSOjxS
SYXobKCIwzJY1w86zCb4QhelqfzUPrYVvuGmy6Numl3bkFS4+A6yJMen6JURFeUDyK6Uyr2MTwvu
UtSr4XttdGSsuk1rfq3zWjnzLCm0ijREaXviO9dTqAf0ImBn13u4xgC4pJLLDlRSJgXOhSsZ4zbP
5pZ9WJYtdn9S/ObJAN+PN4uFLB2GlBtNDfCZy2KP7blSUcRe72KIAxJogUCdBboKlDj6jXS3SUPr
jmIcAHA/Flk8Xp8GUClYaSAyoapVEM2/Qaywjam/zVaw0EB8LiqvY0wJb6x3oz3XHf6qmJw490cI
slyhf0qQcrAE7BF37bJT4ic6eyiHDnf8BlxteB961NAwFHSEu3dPiBGcfNUwopD+zGbKvGYt4v+r
flJGwJZZCepmw8TkUTBlQfxTkkInCu03UPvU+giyDJslUsZXDiMTJqmwNvFGc8eP2NrXmOMedmfh
i6/NO1azCCm/6NxCHfLUOMlxzxHMrZBBnHaKeb0LfhNW4vql7qLB2wKMRHUdsLWBROdmjaRZ9wLY
zw8qIry9ge2nvq4eOk6c2znHqVPJzEaa/ki1scFyZiNpKYfsJACUF3iUyD5QDNLOLEvA6VH32rDR
d349bGVeavH6xOv6byY8PZBIObN0+4TNzmVC3dPniRsC7MCqgHq9YI8tBlK/hVuC1D8PDAzMY6fg
ijhuENeEv43eYi2ceTpj7tXDTl02FHIYbqE8R0RcbCx/mxGLtT7lH8wZlhRXxk60DOvD5peYzGxG
7Bw8olgMRCTLUNtfC1EHjiXOR36N7bL7BBDCBsV5J2ghv/4IRvLmVYjKwRyOAKzCRgo2fHJoTXDG
xOZuLDqEDbwZ78rZR7GMLxlDgjNWiziRo57o4GgWZfu1ycBj5a+KGGIOmPGDJXHYQclJJ8Qq1FcB
LJn2tcZ7vBQhSBawheRLB78DgHCaUR0emP0I/4gPlCo31NNy5fMZTAAtGSIx7t74ZpM/URslWSdf
XY9vkCeUP0EW5Y62wgz6DtRfCNKCYjKHc0uFKSIib51eQF3fnCx0aDpVLW1LZPPQLOx44gZDHZw3
JgZz/VpoS7pFg4ZveV6ywaJR220fLZaVmIATIenj02LiRWfiUrPV4BjGSjq4RQaSEyOkJKh19bxa
jW2lR6Wg3yoBI0sBUZVqEUJYu6U9NIqin+VtBqs4wmkxFMc7jW4BUkuit+hottm4jfBo28aPKEZ5
XZZZSaOC/bbIJj5ZFM5aHZb+3GbHOtEFH6Lt4nejeh11xLjjCD9qVAXZuRAk9Ib7S6OaJFKxXHFa
RdXWWLSftog/x4hDplY4ne9LETwMLyWuiWOzDDNA0zaqqDmuu9JlMlGm1Ne//PvzCHkDP8rM49+3
2gwZCksRL38/K4ps3kxUbsqVFlTKU4/7KP4zY5MwZI9hn8hgKrP/90GO0d0iD+ab/d0ADCrXJkIV
LNxWrZstpN///aB0gaZVHCXj3BBuiM//9wupnn6bM+6pCu4n278P6EDAUv2/r/8+G9AklYqyCGek
Keh7aNi4/n2KfDmfClWdBmW57IQGZKeQoZswwV2F/WSwRhLw/uiTY13zd7WmACK0bTLEEv8+/fvm
f3+4/jXITn7yf9+sMeIaWnKwvqPWg/4VgrrrRfx9SNcnk/1dzt+nf9/U6ubNEukkTgpspbgQG/JK
Trp6Hdi/D+P65f/3vb8f/H1Pftw3KEIlAZpP+8LIJb9cjbaNBTe9Ee1E1F7hDWfNayvK2F03d4y+
6W/IMVYa4gApWdZBmWNHkZo6YndGFXRCfR2pzCAehIP3Wt6Gvj+W078OJzUyv+gLUzwE+QdcVSIL
a4NGozGygGlLKaGhSwmAYCjjIwYHwUPBYA35TsD7dwz98tpMCck7mE04CswNCu/Z/DBtWOSnuudA
HtBWfpQ58rv6TEqUP7XTyiY0Eb3pBnPZWJP5VXSXVqMgqLVS+SLSCklI18WkGH08PtJAk2saIRRJ
UD45z7J0asQZzx0V4GszruRwwpMZzGGgtSi5WRC0SAmoz1VIB93z1EtUjrRqeDx34CprqlZmhlQM
UlOhNoRiIik04RAUjibo5oVJrmVpwwZFCepQtepZkPu8YlqNxWe/K3EvaB8lgD1jn8VSS0be/EwP
ZCK6mDBIp9qGbzT9MSGjW88hBPfQcOgq3F0pJSsU6Mosed35jVkwqIPpjgP1UUtU0KMFEVJIZBhF
lbxWYh+Cp0/wnwbsSP5cGUYSSgsYJGS3EB9QKCRmEW2ix22oGLS2GVUqr6+KRe5QTkSb6OASSU0u
mgEAmW7wAx9AMwcQ/4p9V+7vzRwJJJb3GJ36Sg3yKv2yqADhX6ptJgVtjDoneLyXNGAeFKsQAOpI
kEgZkmUE05bGUJoeKK808kVesy6oEHhVUGwDJFOoBsgjXHWtkVUzCEYg3sePCitgVxAyQIGCuUda
UHsSObuMx31bTvFCYA/Ys75nH0ZPNCpqX1Zqafv4wQGHRcMdYZP4TdLJDMExP0JBnhHuHCa3Ecty
ZykDRAkRB3RDq9xcWsN7vCS9eCxzVJD/jdU47DuE6Q+lXJ/xEgQhRaMXCsqykwztvZEVoASDENSP
pGIBYWVjBrkcx+exPHaKbr3hOzMsmmeNirkrpjJMk6oPH7VmZ1Fd7TShPRiGNm6ypr/psYb/ydiA
VWHxOo2AhrSE91GezAlCDCY60A8MSLTEGKjmGD9lvYxYAsBtS1X1pxEI5+JC8XudeEQYyhKZUAMw
Q4GnEaJlaABKWohbjJsucwFSaYS8lz4+skSgC7Tg5JpKnL+z+mPExrgZW4h90D6elCGTt0q2bLHN
Jvqfo09NQXRNQH60G2LkIV6KxkBsXLKQkmz28Gn6HbyVXR5J/9BvhEBTUzhjy6fXACAJOTJNk9IA
k2s8l2EeFVKzFZfnXoc823WtvC0BR0DzC3FnBMUmzyRJdZo7ba53WxhSD0eMtB+xqIqgqPQgknJO
gra7jm15G5GLVoaHFCxK/rTOdJi6loiURi7vjfv8ZWZ14srJHV0IKG8jFJVG6oKJ+Fu1NoIibcak
htKsQ7UpLbAe7TImO2wdKf8MibtEkL1HsuIVtAgMxGhgwDaaEQoP4i1NrkRfjg38VAcOFiNCbf9x
bxxIw6EkCks4KuV8Vu8o0tbajilSfOWRfDBLwOt9hT5NQR73gOamj3TW0Kh6worpQ+2mjWr2wm5J
gGkIK0GynpbYV8zuOotYqiuism94NJQcQX/Hd8uZH8qvNpLfwLhCPdQiKpLQsZ7o745xSiKExfRR
U5W31pKwzcSGMGwThZiwohDVzj05ISQsvc7Am7XDauKigxu800UWfIiwilsh5OOIjX6Z4b9u51gd
gyTClHOWy3K7EMjoebV/JLVyfjTpSyRZjc9mnIVyesV7XXzqo3pvxYuyk+ln6Vkiv/TzQFMHKFbX
CtJuNG7TbP3g+5NsijH5N+OvAET9fq3cGMppWJk3IVmGvVVXhwhtmyCFdAx7QPzMV4iEGNHPQmZp
L9Y1fhPSHc27gTyPTgYCmwdJWNg2TdSt8c2+e1JRvzJLnboRanxze9LzYSRutrTcS5DEdfpYu6hY
4eaLpntQSn/TKdqnHSoU93uRY/1F2InncL/PyXbzjLZLg0esa2aSvntEAzpichfGMHRoPKwlErjD
cZsmhyRrfCwG/nWGBD9A+o4gqUMCHUfklpPM03T5rS/iEXFXbQrGodZRHERzWZs5alV03FDcc3Kj
Vf1CzF+lAT3luJvPghHTFFOGxSvMwkX8qIT4aGEuMmGg3rC1PFQ80kZRfuzlujiN4/KBSPixLTpq
BChaIb887NWkjgNkLwZq0ONFpWp4TJEwyaUqEGQEQIo+NlxD10pKnTMQF0GBGS1HoTwNOamFQHSn
CbSYdYoKTS/nL9B/juM87YUhQy9ctzxjKWBBENA3dYNsK2RJW0qpoKRC+VOmFbp0mkf8rn5GItxn
JvtzqUqUyg0zTIjQN5ibIWF/f+zxJXiWoCHHJVJBgohOp1q7QtWlm3rorpYusbULVBUlnWRrQdQI
yT6KMCaKv41OnaqV41AXKWlmpaGFPX7klp9NJIfSANSkv4M0rXpqc2bDmhElXFUM/HOWdDjAepyy
8h/EfWRYdO2zXt6bdjBxl0V5shy4fx3Gy7JYyWG+H02tANvw+JjVCTDrTDYg7+Yl3fVNO+1bAd+h
+/0n1nQCc6xncfx6HjXw6JnVNf6qppLManSx6CyJVfInvmwe4nj4jjsjCoRQ0epNU9O6lfuJMsBS
hahbogAkFbt7W6hn1B+/pX4IWplwozEpgrfm8p5EADEQgI7reWYZ34yu89R46T1NGmg3S4hdCgtO
EdNhVtBAedS0UM1U8UfJokFokOSQhuOwQsKb3RUUUKs7VEnjo02scJQfHxw4zxhWZMjooShRByPr
1KujSNvXVr6bpAWR7nKtMYnVZbKSKkzBwc35xE3KEHw1CvSYeNAe7BT4zzrOLMhHJvKC6vajOSBM
QFkfF22LCoF5xypcmuqjgqrkHkn5nTZBxMnuaHmNKQ5Js5x9mVWU7tvoAToozQJ04Si5ThoKD6NY
bUbDvaOIGlXaTpqEzjdm6U3RsyMSovpByttXaOuckybozRRCuoyMuzfNFPfm0jrhF5vuEIoA1SRj
SoMwux+JY+3q0pmKWZ8XqBv1TYFMAN4K+KxRAcelatRrzcvjbpsOQ/PaAVv0a/rrqDs8o9NG+UKt
eWQ5Ad0g0qVvpJLScKuWkPeqS58+SIc1CHcwusLkIcshBknYbonJ5pGiHEbwTeXM6JBzfVR10EHD
Bg7Ml0jNorGfaTd0/1P3rra7EZIxRUvp1qrNsagUCwTU0jvr4tGz2SN5ZHA1XV0xuYSkQuGX+jT7
eOlo8LEJI1CKD/NHi5IhdRD8aW8Vsa+nFP/D3Zksx41s2fZXyu4c19zRY1CT6APBXiQlagIjRRF9
3+PrazmYlcxMe+/Zq2lpAEM0pIIRAW/O2Xtt8TtvSF2YxEjM1NhEl7g+OR4XaaUTbTEafMED2rXZ
CN0oGHISEMocvxvDZDHitDBcvLJB+wgiyL2uByq7pV6eSpLNyE3K4GBZ8jIFy40QgzzpwCFO7KeN
cVGrAqTrgPIOE+i/Q4YgjA21L9Mmve9jLzlGPc31VNkiy9KBxAzB70oQySPzwaZqFgdbz5rO9oj9
yHV6Nn3QEPwMwjrzFehFgtMgiy0GyxOC28FA4YQOn10L3NKSFnjHSvkj/JE5WPATFvU721nSK1KM
WNSNBXMeaZs3s5MqvwDtk8DKnoSgLmKbUt5VLmZYk6UNuOR82U+ti1PeIEnNdEjC1NjaVMFSwMct
L/gYf9ezE/skv8dUTtqfvV2diZxuKTlkMJNLCE+Qlzee0xZ+QxmtCPljhRvedgYfbrswPouFjaEl
qFe7AhnZjDZDS4R1AF/0Q9Pimal38FizJM0ZPtKPkF0EJacY1X+3dP6C/6XtbjR9CK9dkdzq5qg9
st01mDt/LQ3p7iBvBzumYuPSa+y1h7JwzkHBRsHp6WoKQt5BatJFL5wbNkO7IjV+jWlko2uGsZyY
eUHbYUG/1f0YgumZsoPF9slllLMAfjlNjYHCq67WuFOw0ueUzb3vVA1jSx35LZ1+rSHbNK1hfGYZ
HyeWZvIm8mIDzkntQsXAttxAOBnSM+xZOhckao/SwH0ix/zs5J1xZ47DeaA8MoQBsQkz0WqmV9c3
fD8ZThNj2SWWYOx0O5bbtvau4yy4uDL+McVMqyLiauTbwgXNEhb70FQcGlkeWmSvrWQYnW2CH6rQ
dHlC81Iao7Hv5uanGBV2MI65RMEzWtHyQ8biKUpoFS4DbXnXG0ndyGj1B/O80KCuf0YxrHhjCmlS
ojVvK+T/UU33A7It2648vZli45vmjMNREA5J34NghbeRBFOivCqkGhqpdx2wy30T3WfL/LwsMxYy
uIrHnhCxom2fiF0+aVkYfsus7+0w/JoS2MMAecSmosyx4+VWG53ard7Cnp1y3CEoSGQ5oVdw/cFN
r6PmikDMn80CkiE3vIsDbYDIIlC/eTI8tF4+3JPO9tsYsZG4Fq4Q0l+sTeuk6Tcrzn7Y43NVltb7
Yn4r4vQeVGx9JsOJNlAyqaYznaDWo9yamtcTE9KeatTHUHvDqfPo5cGtGZjpF4LkaguMN8mOit/y
qi0qxMYe98OM9wyWpbOX6XcGrOHQJwFKyYLxvRriX3GZvVdOWFPVBYYtg/6qQEs5MKs6i/vutULu
bYUGibvlGQ62nG5g/e69nDcJbkV5rI0AHQAxnrF+J5vh5KQ5exoo3QUj+LaX09UwADrXQ4MFf3S9
5OVALcGhdVEtpwm6BmmYM7aDHnBEbJ9zXdVclDFxbChizF1FQbwnRWtcWEzp1S0eX1oXNdduVJs/
Cs/7beRaeUj69q2w+cT1OKiO82LfGpmkIp04h1ZjVeSwt6tcrDSmhhsQqDAWfQTjkwkJxMO3xafO
5WNGu3Zy0HqkZF9OQ6QzYKtUhnQOCCer3mPalF2Xf1jBGKKQx4PaIGBmpAk88arlyIlkuMz7OaOP
HNOM00ybLk3zVkhcUGTtzG1dnhuzZHg12coFQ/S9b9sf00CqQ2bdeaTHbdJeIzuIbB+0i0CVNI0V
M8k4W4/foWXtfZc20SEaCfv9X81n003dg2j2f+ez3abZa1Tmr//6j99FF+PkAXr2xw/9wWfzzH+b
YFQdSzekB63GM//1H+PvtvvPf2lSGP8WwrYdy9GFDtaNhwoCWaP//JfhqEcc6diudIkHsKG3tSCH
1EPGv21pWRauFvYr/Kz7P0G06VJ4f0e0cQdcNt3zJC9DGvx3f0e0NUPqwpyinKDFKgKETfw4V7jH
Va5fED2PzbJl74yRLJ30Xa99S6HAofLDjx2hkCAea7zMkOS2hWZmXGdp59fM/6QOm2cv0Mg5NvvW
V56mJmyMfa+fo7GILz3dMUE/xhgCczs23dtUYwtb2lLh2xb2LlSoZkl4N6Hapu25/mLknt+64QB+
FQm3XtqOX9nWc2WRL9G0wHrAsds++GTHX8++DpR4Jj2e/FnEO8vxtNP6kB5KtHrraT2Wjp+yXjuU
WvoMoFL3qzn84xC2lc56IGBdbDnYe9TNNGcPS2OGrtKfT14fWA+xesp6tv6W9WxmGmDALlhukxeU
Nx9RO9I0BWy1XUSWX9YDO6Wc1mNgn6xE31NP0Qm813T/86wr6aBAKpiXlEhV6XTnoMfSsyzZxc1J
Wt14nkbtIHYOZXBlkkbNoG7bGxdgN7aN/z4kEqATCFJcRGmQKGr+YCENiXBwUfy9QOy7qgM2wu1N
blsjDXGdsoyK8Eua/E4f3V+UOGj9EEq4t0X2g0UiUdUkr7rukDCWOvfBmDSkgtuwPRK3uLRlQZ+C
na/rai890d8b6EmHoaYnL71pOZV2fmWAPd2MTe9Ayaj167DT5fU0zjTGiD7nbYOvjDAsOYloTs8a
9jpHb9mwV73E0TZ/GIUsrllopDtezfXYFqfeMS9NYvRXwYzwt9PfwpFuYDxh5C8EfW52aMhQGvz5
hlUa11WDQUAjAGHD4PttLqvdlHrzFfF8HnqGltxczYqu9aHh29kt2WHMaIuPJmZWKms3ZuQ1myhv
hiPT78CmOR3o+IG2O5q1dmRew8ArCKLQcxKPnMC8MmycriNSYBeS7xUQEfvouMvz+phXjbx7mtjn
Ae6F9Ql2YrtnvdGOkj/9enZn41qqV9210TO79PmgcprWxxb1BDvOb0luZGMmFipHCN06syMQkwn8
qhn5s0Y75v2Aje7p2i9n6UIVrCP9US7U/+f+2u4brvmVtpEkBnOb3f7tvrF5aSKkt124oECP8oum
e+I0EzyjF2HnE6vQ+S3/OXYudbre+XUoIqKEqDDjVyQPbu0mSqZQqlEzFCJ6i/rUVH4qChgNC2sj
Ww9JJobHXzf3ixU+kR6AOHRGrVkCsgvLxrcmLhagRHdZKFkw9bQJq0w7pOFwY6Te5Pckl1GKbExS
AmKMn2Qgy7M73aWR3mErctHjuMAIkiD3R3b6p5K52ut0lx04Gw3/87RyzF0jU9RwQUUG/C8YxwNQ
S0CMujqM2atp8cm5nsG658+OXjMA3CPV5LTe5TUQOqQ0h33DPmLPkECyGlt0hOwDBAwbAbAoQ4zk
a8fMUy2ytTkGX+tXOg3DPjL02k/UYWYv/3m23je5mLPSjMYf28xNG7iohKR9yjuKNdVA1pFZIcx0
Ajw5DYaLNgTpu76khQ6njHEcfb6T/Yiu2p00hBe8sYWZ7WJjGjEpOXiIFC6ZaawhNAR75qQWbHWG
A1d0JfXjsETeRaVKBTIOfzQYOwFpyQ6QsumL3wq8oV1i5CcjHg9Eap/ioj5mvRcdQEfPhyHpnoxl
tv3adSe6SsWjHfCmxwPltxyANZseOQIBFYTKlGwu7c7wdiPN4I0+Gx6sdBZRYXHVDjXCxVh7L4zB
Q8iwJavcOmmWBrYO17mdj0wV62mv1UBl1GE9G2vka6ATEXVpIkIUNWGBVl+AWbFf1rO2LB860bP3
pEPqx67B72PtzrqpJPA86NXklQUlshocrjlo9h0cr5FuOb1qswBNYWTNtAs7A/bUoP/SHYcqex+Y
B2NpEe4MuLPH1jj15BG0L1b7O5RG69d5iJ5m0ZhFna0O8c8vgPQQ1UTxKHLtj9gFprY+MytNgNEV
q+b12amdAbVX7WsaV3snT6qTO+rxySK+vpnPdTFTFgSWiViHmEGXfF9UAOZ3PXsY62lAQ/O3v329
OcTCQZENE39uI/fzbSDVecvOfDmtb8p60NTbYU32VabPbyMLU0p/tuGbg1HsrUqRaxZP+NRE8cfU
GK0F3w6Ig3TQaCctMwaHRsexEdTwviJtAPF5MzlGifJXHtqu6H0IpFejVaY0jYhQ7sm4UCAwuQsk
mWmxbfZ+o0LF6JUTvTf5QhyqyYr92WMVIIbom+gYIECRoTYCEkZvwOlPgijQVcewHohYYgArC2zz
Du2wvYLAeNU5QizWcXH4eQINII2DU2YzFwDuQjU8lb6t0D9fh/W+dunvBeVJ6m4Mb+sBZuUfZ+tN
KK2Vn8canOTQgd1chsytfXVar/6/dMnX265neZRSHAu9UneVhIhLKwGC0p6C0V8PnexbWADBp6qA
uMdrmywKtmOoCFsdFl9lo9Ixxc/1/13H26+X8XVzga10LOz8QFAWC0LSRIPOPQdpRR7nUM9oTt3s
ewtecjOQ7OOvh1bLzF2b846UIjSvpFMTcNJZHznrr/0UadGF4JLdUlTTSS8etcBGLwXQsTpFJKWV
5JIs2/Xa9NpIFYvsRrFCaOYJdQ2OQa2d6QEmQyQP+hi+ZFgTEn4wduvx0Do6A3NtpJe+bNESz0vh
6wrnlC8qSGQ9NdXt9ZGvh/HSt31vnL8eW5+6PiEJTLRWw08jE7wDKAJOY8BYp2656k1J+qz2v25+
nlH/PBsjQ3tth9QV1JPLlF4T9SJ+pFJZTpekLo8mtXOE3wsF4WLy4SSLq2RAW2v1HpgyDR2mk7OJ
a4rfcU56m6TT5tdVuRyk592v8odVrbKerZKIIm5wwH6pI76e83+6z2mncVtqYfoXkcX6E3mBMBKi
uCpR/VV88XVzPVuFLetZP9XInzUDGKC69Koqj8fb9ZRA0AKXyYQTWC9zwFYM6P1UHupAZPS9S4bF
P6fQr5vr2bCYNLDWh9fb6zT7dTMHsUq61OyTh4XHRIrpU9iiq8nnL8KWUV1HlunSmW9HDHTSg0em
Dq6Y0Mu5XU+WEB0HohP6q/UwOaB9ZmbkLZkNMFllBalKB05MPZA5n7zcwQ+WMmhP8ZAGOCBarJgn
c0b5Y1chCqn1dPLUVJhpsvT/+dBfnhX3ySj2E6nOn88q9r0oqUU6jD77Qg3ArZq01rP10OcCHex6
Ss7L0lzWU3YtdX5aTxd1ocjILnNivjmdjYnL9eu36K1Fb9+h5UQcVIT/vGYvsCFvh3H985f/9Z6v
XxnELI/W37jeN7U6aWEO6lzu/sezojly589HPk/X//3zhaxPXW/HBKbMKLb4Gz//x69fJRJKJ7pH
QvbFUTEo//j9X6/i82V/Pfz12/8/7ivzS+LUcOgpjAbnhWpgy340DmEo2jvcCZWxnMQ4P04F8u4l
HqE4yvqGmJ5l141Yl4aleE5iFzq0Vz2nFWpQyyMGsGiEeZQBgvl0qn6wFf5gif7aOZiPl0gHXkKh
+VDqPB0wMEJBHV1h3EZPk4WaE+1H4NsetJqoB6cWUKdqW3sm29frDl3ZPRplzEzjUphZmFE29jA8
LqM74hEQ3+0SuVAn0aoPziUskosWQe1I9IKUcPVnmghrCAdtD5nGxGc7+GIxcNSsT7dTh54dWGu7
S9oi2g7gh0mU6X4HdhRz+RLIGInhhTZZvLftH27SoRytkpQ6MMSzBmXOJH8aGg5WkBjl1LPQRl65
2Jpxdnrbz7lcTkSN+ZHG+5a15qUsu56hL36BzFvArX0f57fMC46JUQSbIdEw+RbRdzKfio1jRGez
ZkNawFoLDeNodBToKuyxcUjmRhv273aQ7SrhWUc9oCKR4K4NG3ZufdN91xz73dJQAqoCBlX6XcSP
YnyZH1KitY30YDVzScmXPD0zs/dRZrylQXZPXGL6PORvAmB5z5Lrdu6z1xzFragbjDyxuKOBMG/K
2AAOMzvNNiNR40AaTbUN7Z+L5+KFLrz2XKZwXURmhuR64bVml32k9Mona2s57gclzzC9o+d2r2JB
tjQ14XM7eckl1WiXUDjpUId2/OlyOGomaRlTbu0humeHuIKyIg33NeGbjk9R8PrNAcVpFBMeJZ8C
R1c+Ju16sVmA5qxWC8uGotcF/igKPJCIL09jKL+5I9nPRlaeo7w2H2LT/eZW2Q3BYezeVYR1J8Pb
HmpXV08j1gWqspQz0AzTgIhtTwGWq32YU9AlieudwGKa1XQvmjTFrkR1FRYiAxxxOO12iRgmVRt6
U4NOKxOA8WbmW4u49eJGnEltb/DQJldimOdbb9bSc044cwUyZGr5vkqJutWs7ONQ11iiMxoH48yX
s0eXMOlOt+298U5PyKgIzdpvuw6aLIssVzjTeay+a6bLsAokNTMqmBd0Dawcn2RRdNa1SyrFhi4V
UEUP4KOpD8axHpwHFW07C0KaZHAsrPRHbVhvVmuRByLEj6otv1cMUdt5SAXO8p5cgmlpjvoyDtdC
XMfAl7fOxC7S1MuGZ4H/RP4f0Fm6QRJt2n2HyFve22Xf3s3Fh1gIMZ5b+8LIit0pYux7dK5q4aUP
DUSVOpxMClja+yLlMzktgC+ik1d5mJ0SF5geibhH0paR+6XY0ouhfQ+iDAOd6X2znLo91Rfam+bR
NBWc20YhG/cI2UsNeJNNAmsIuwb5EXQnz92PWgXtZAiIkiRJewz63yxyad5MxrgLGJwg5bewj5PP
oM289UDRRdOhJAygDiRO8jD9WaaCOcADMhJlVMRLRj6nZhHaUffRCSg5pFHwHaYxMW20lUmXOpHZ
8q1yFOoQUVXkWN6+q81LKpz6XpvAECZyTA/QSd+R3LaQXxtUd3MOP7pjj2tO7KK79qZIxrtwMOxD
bx/H0n0c+5SqFOKqnauL99imwz0b2FDG+HVBBWy6AFYDHRpCy/frUHjDdaA3z0ZjEVIp5uIwD7zR
+vMwZB9V3EKOJEsMG/2msDS+vhWWIZLMGKd4d2T64hG4ttjlI+18xWBJ33uw2Fs4qnTrTEXrMI38
W267B8/zdq6U/V3mXLUEcx/bMnsYZlmQRkfDeAy7bN9VMfZxsoOrRFmWJMbneHrtw/HnBMfAW8an
Lsx86ldkPkLf9eLhSaM7in8FbliLZ0Gb4KnYb0Nx6DKGGhKyfG+w6dkVVDYcRHeT+BijSuxGOXy4
sjilEYIf6SEgKBa+fnHlwGiolhup3iBy5NJDhtI6mhC0uynxkRriKwA+VYFhC3KLx/oIDkz8Vo17
ohxIxemH45j2qGfqBqMOW0+XqYrYL6+/zuhs7Q2PxmoVmzRKCvk+F7Trk/iHadZ4DUq872U7vPUt
3nPhVVwXSLniCPEVArqd/nMgg2YbVKlzog5VlQOw1968Cdt4Hwis5ALHCUGjW7tDE4DYAe+sFr2Y
Ft2h4GaqXMrXYxkfzaB/MY3UL9kNH5rRuvS2bd/IIrpuBDGZoWfid8zcG+rN7iHJO1TGISm7PeVh
LBIVHjt5Yhau915nHhInNtDskQkQQUWpE5UvbevFLmLRuBlJhd3EY3pvxyWtuZkaSTS9miR+7RI+
kbbNnptogZan6b/18i60KEPRxYHYaM4Mhc+EcF/a1ypKnsxFe+28uMaTjrlLLgP0w6m5mYOCpPIw
ujUGeW1GsjiS55sX8s5dmg6uTkLCqjbtF49c3bAL5Xk2GYyjoD70g/HU1WBS+4h5mQLCg6kZT07A
AJnGlbivwqI/NgVECyMk9aOU6KR6bzMM8En7DhZGVJoq5n7a6JEnjkvX3qUNN5xYfSGWq1jkd1Op
iHN8ZLnjnGdSjbaBmZl76RAxWYTRuSxhX5tNhm4Hh2qG4XoWiGwc56lKm0tfRHdOXLeXcjDfTHz6
smr80oyxfeES2E/Y/acowYvaI2dGHFGc4i74JaPpsV94H8lQA/0R0O1jHlP4qBaVV80KdtABaBm+
FSY3C4BDXTOAg0QOuKkWnbdEt2EOxVtWjuXBqhs4Wwn9cK+F3WC5ryiMYoqoLAENr70VMzDwqTKg
kjjHxIX7YZXhb/YcVPHNsPe+N1rxQLQZuFsznikJkxQZ+4RlHcfCQRqT4A0n5BJEKIC3qh8f2OUy
UXPVNVJjhLPgahAHgjQb04ku50c2e99KvU2vRjLDwNFTJSvwq5jedaS2IUv+YLHr3KXATqSbLsiR
qnt64fKiYdGqCu3SJooBh8BhKxz0Rguq93tvaKg1u6TGhmjjlrCacN2WF0riUR3gEW0c+v7aD03J
O1r2XltiXBSnyj1QbSruwthzbucYc2np/WQ4qjcGi3mcYdLbZ/0kb4YmvTRC+J7HDB7LcGKmLUhy
y2I6MMAbZss4l/r8gCtmugNuD2pYk8RgINLHeFNBNqAyeTJtkGGyx9BE6avIy8vcph+OBT63j+ki
iL74VSbmO7qPeZM5tH1DllY4iMR0O074zMfHgiUhsIHKJsoA+twooi05aMvJYGhgQPTE/dhNV1Fa
67eLa51tk9puNnp7lknANAcclexhUUq3N6kZgQnn127KgQKl5xBiqok2Pg7YnpLYbM6jbDD72XBn
SbiIjw5WSVDk206P7UNJ54a54623kbQsGaMywY0oAlrUkmUEgD+IPuL2OinkgUyaG5aRwcnKqwfD
/uZ4Uj4GDax/dK8Hz3UwIhFvW9cv7UDhvO/0ZxN1FK/IuM9D63tltDsKePfStXP2fUW3R0wGrKnF
cSfK5aHUtWE75YYGq5QwkwixiSTzbZNU/Qlb3UCw5cZyEJ+a00OPVn6rlYjFnMlHU47RM9fvOhqd
205Mv6zCBVLjjkSH9Nyl4XvYkAv+7DpqXxDoiJggQ5gBrqRRQ38T0pnD6ABJtgLPPNMXIw4n76do
W8zMNmOXPc55QyhmnL8bhSN3ee7Y7MfcliQVUC9lrft1/VuP8u5QW8G069Lej2fvVDawwhqHkm8a
ER4tgzrbJg4t/MxL9uxyYEj1yYHe4jUiWPT0pVXh60XfNRq3omfSmmAsVPECziSGeJTE/c+esX9L
fqFi/dsvDYoyBjzlvcL6IBsIlFP3mPbevYmoBHsRNQYJTBJfXNNKwjbm6XUuYErmuvd9yBNo0mii
lwreVY8ollCTmbQ6AK0U0i6Oi++NFhMlfQpAueud00ZTf6W+Ca3kFhGCM4jj2OaDX16GOH5D5E5c
SkOCo6U/jwnZKguzkjVZOL+H3+ZMYGyqPkD0TnxmbNvIhsnyZj6MXvnk1swfc+59TxeJZnT4TXLm
kx4BWg3NI8v61yCN5jPZ70rmbT+ItriOtOkxJYLXzrQO9Wp/LEoL0NtysFKBx8TlgiyxjOwGY7ou
wxHLSwDC1XnVlwCpHRKk/YKmDTAdjeYwz+GihaW86gUWXNuup0tn3tAaAmOIPmyD/+pJoGjoFzhW
fGTGbs5mJBggnHNLu3SsSRmFPco1ouufl8Iob9il6CnZTO3CWwbZApcd0t856n7Rt/2I+kU9pDC1
Ol9t23xilHivaZ4dqtw4wn2ouTAQaKCCAc9p4UFfpvBq0AYm0dCFQsAbHSLapbGL4ESrn+1QDIdd
ooXuA1fPaFUom8YAEQhOoDyL38mTWPAfWy+oYVvCMbZFqnwR8ZvTWBT9+E62jjbRW9GhLg8O9RE0
tZqkmEj200dEhC90yxlv9/wmC7zc9UAsY6BegBiKk4waLJ/Ii2vtRx9OCEUcBw9r/93ojG+NPtwR
Q3mPwArAI59SniDtSfLxl+Etx7pjfmIjX/cGxsQ4egodAnyr0jsQAe/60dzhD9XwXEdReOfppQTS
F7Hui6DP91kv94OHNizuTCrMjGozsLwJ8LiRkTcsdVbv/YS/nLeCkp7oUDxa3ZbYXPqmM3BVMSPQ
j8mru0qpMMSWljJqj69G3b64PYKnBWt5XGEoyMbkeZavkS5fQrKjN11r4YmcmZ077KyDbG8kQbKZ
RqNksq91w7EuFWS5yewDGGz6Qrv/QvUpxT3lZaesFfXNkIGW6PuneCbepRn9zLWZh3X9jWxEwFr9
0B80tvGcjQ9zhT+nE/Ao0/SDrG8ak7ABA6cID60B0yVywKESZzbzF5GPknewi+bZ2WVaWYLjeJhK
7akfP7yIqrctn0aL5OzMRZdvPTmOzSxnoCA2S+cUZOwW6RMRCcYI4JBRBc0epTfNr3NUOTdWJWBh
laG8KuaBJ7FSrROQmjo5LVNZAVgDrqGJDkqr295FGk1BspkYHpI7L8Kj2os3GQbNceYlbCvJyMdr
jgy33Nf0zCXL0cYT12qPin8WjVcg4SiqyJdJTN/7vkH7CHE80XQ8/qHF8tuujU3l3sUd3hRtRBLo
hdVeLt5T2jYfXV5+KE2Jlce3Q1HKDTuVgM8YxehzRK4Q3hJ3C7yR1TnJsHGEkLa1YA7Gv8wsv7Py
xTrXKHgxbJF6vxgzkEsyYlrtqZ0lXWKb1OiB0Cj5nAc99l/EX0G5FDvZRb+0IYyhOZ3QWRGIk1eP
TJrXRkU4SsjXM98b6nOSaeJtx8Hgb8x4A4daJ8gm5NuC+JfQg1jfh1HF2sx7MEb5UiaYvjzkL4Z9
rnBVbiPD+RZRgMbTfJ1iiYWkT3MwjO6ox40ba0zvHIv2KTKLuh0f7Tl5JJXsYZri+zCez3FX3XQk
sTTNjZXqLyV/QoCNyanBX7LZGDXIG/hWDe1qiiv0NotzUBvTpUdAiICVdB15a6Thqx4YT4veQ35Z
+mOf1B9J5DSkltT+kIMNsbQn15tPlSWuh96TEKHIXSDLLN5atf3TXIZ7nU/LCExC19BemjhVFyyx
U3KSLzQVjIwFIrvSrZMM+aHL+cYgqQYcZDW7bvH2sWh+Lo7z085rSgjyWsj8o2+9n0bfvxXF29jC
9ytocOQieKKNdF8D5szt4kPnxWZL9RFGKdrI8rEYMMlQscTYUDhvHt9nwGH9S8ECG4wgQ1JSz0Ri
d+VrppS1jYOekRaRmVEomM4mPv1Mr75ZVnJpWvHdke230YGsOdEqLt3g3p0WKstD85G66b0XPo8k
S+utdhV1BJSJ7Fcl6Co1jnbJyC5AMoLYM4zMQzPUWPZbD76NrL9r8V21xC9p1/7OwxujbZAyVRVo
9s69LnVwe310G0gFgTCuncH6sCRC9tBUxSrduBkGGCr00KgisdKOQBegRA6674YJWiP80Uyhdsb5
fK8FbAUdgQItflji4/9qHZ60pS7/Xzq8y2vRvv49JfXzR75UeJbrYQkUrmWani4Rwf2pwtP/LSxT
F7ZLWqlpWgj+/lDhmQIVHv/I0vKwTFgGr+G/VXgEpXoCcZ7QDTR6SMz/Jyo8KQRav78GpSLCw/7N
ek7aluHqti3+rsKraa1mSUhgtgyCs6F6gXw3xZXTjZO/4K9khWwfi7k6yrmvSYpQjUdcbhR/HNVV
7B03Ys8WU8tGNX5e70vVc9azQalFvm6Wer4dcCGc1geL4Ges2pyjaphK1SBdzwx11qjG6FCfvu7+
emy9D7kzvdWvhzvVeq3owTZrNxYj0EhwYLi36myfa/HLkJewzikdqFbu2shJRdpt2RxxFa89335t
eK2dYDZA+8WuoR57ImOzJR6LcALgTwd5VK3kTDWVKdd8DF1fHx05ROYVlqyT26P1WXJLEBTEgbEH
uzS9apnTzf/sQwnVyq6IvF7fI7iNWucisFJ9eF01bPn/Kv8fN9nb/1xaGOvtMt0y0ycbS7XVM/rr
GYJpX9Jxr2yckXVFP3c9ZKo7Xrg5LAd69QikCeJU7ftEefnXg7YoD/x6aqlWZcbfXKJEJIoKD+zX
y1hfC1WeP17VepPX0R1aMd57FXiGWukPvg7rfR1r44mIolOR1EioSbi3lECB5d/GLslgJJxPiRuo
9phoXxRkwtac1l8PgmqvLJPhNHVLs2HuJMFFySYW9BP4jiYQ60gqFnGIlcTCVmILBM3zGNEeDWg8
6XUld1TnMwi7MZs9Ns1H12uvRDKyN8NxOypJx3QbKoGHp6QehgT2QhqqszFKVDQCKQ88FaKN0IhI
JRZBgi58cxWQ1B7oowDmzyixWqskeq90r0hTQ4ezinHUQaejeRIuyBx1Ky5L9+D20XVSZpTlQyX4
Wg9r53E9K2ds6jJ7CNDBOEoQY3NVxUtE87eWqPCY8ileHtwoiE8FRtaTh7LGUxKbRIltZiXSGZUA
Jy2R4mgC+U6k5Dmd7n14dU6qfRwCE1kW6Vefz65Wdc/6TLP9PbUvDPtxK4zTkJik1Yr+nrWreWAl
L/aY635prRIPKRlRKZ0e7DLtnVpxLnpkDruqKhAeUTDe5UEzbqJVoTS7aAxqJVpZ3wYrldUBk+fD
P/72tWUaBk507IIGFdTIUrpT6qhGHdaz9dq0VgXVeqp2HtRaLPSWuBKQWxEK/M5kGcGGvLKVIEvv
XJZWBJlu6oiad1tPILqVhGtRYq5MyboiJfCy+4hmRV892hM8ciZe8qua4SlTwjA204jR0YrhbTk1
5US7J0CzoTQnoxMs+GaxaSE00xXYgh5PxfdXNd91JUlz5xa+lAVXZlSCNVdJ14I5aPZYX+DyJFGz
qwec5I7I0feNDUplLBaZ0v106maVT3I/o5LLlaivUcI5XUnotIlwvZkvaKnkdZkS2pFheUqHGCeU
FRfISVv4gKQcSN4/31CHWCn31rP1PneUwz5F27de/a6S+9Wr8o+FfU7hWFX/lDAwsATNjRZGYa1k
g0IJCN0GKeHnS1Lywhqd4ToGrXc5SoRoqrLZkL1KJbAghXX0UyVZpBBiJgBeCvpXJwe6nLUUVEfW
78LnqVk7yLuBy3pK5Ibk8adXUNZOjaDzU4K3qXxD7MU0BGRlNHedUlfqSmeZILiMlPJSVxpMiA2I
B907T0LqW99KE9mQ0m2OSsE5I+W09fsl1/ZxSXRYl0feTmQNi/s/h94iEpeJUt/nuOyqglSglKNO
ExcnISvtmIbjPQQLQhqoD+D3uY5LOo1V3AMxCGIYl+gHtkZTYiBeSJNtJnSMVtJcabo9Hu0g7n0I
Jb2/nhkJUXAO5DRK2+ReqTS6r0S79Wag9++4Lns2wViLZvVfYfdl2HOM33MKs7KMsWKOkUgv1aHs
ueCskIl3Sv6LuzNpblxJz/VfuXHXFx0AEqMjvOFMiZKoucQNQlKVMAOJefj1fhJ1+qj7uO0Ie3kX
xSIpkACBROY3vEOG39/ydHlw1Zu/n5kIzAUO02YdlsgvO9Rjown06soSqNhmVnmEwf0HOHwyAIdD
q8QuRSPfy1s4mDS2QvJfppmx6igFIFbohwou2AZRooz2KJP4VxD9/KuQUYRgaP5QNPBEWuTqwVne
F0N9AOhmIgrQtlciadDQBhBIUZu1YHlvciStnQxBcNwuRxD47rQ3dBv7cn28sqveR1CIO34f+PKu
yAb3GDvZTU+eeBjohwKt7MktE1LqwEIIkaIHmlB2iIMlGFzTpRhohfuKra4TafbXfuXjzrGFirox
RhlQtgKMiRwGVyqv9T+u1PIyIhBCtgXgFGi4dh72IAEeRhSoE8e6beM+PHSVQhC1rchA0W8yGthX
ywM8/WQnZPGy2AbGKuxZbP+Wh0KFPR7e0UcbrIJLY51ahHqPkpeSUmrz7Fc9Dne5i+GAacTMXy2q
WiZuoE1tPCTlYEIf7d/NiBwals1KZv1rHJbvEx0fAOI1cmtah6DlpO9HywB26T7m0jf2BlTLTTO5
V3CLtsE4vGR2ZFD/7ZJ1OrxOKeVyoKKQniXF+6jeer66pTXml0jAaLCrV0iYT2kwpkAmm3nvIdxg
ZxIcC7cHN+NqnuKbFtLk3gTr33mWuacYXaOL4b/kBn5wwzwdHEHrYRJfjenclhN5d0etduyxNG2N
eH6p/bBdhXTExJwETNAUvHoQtnH24sKgvs2J8YQSw46zdGUnkcChxb1tUv2kx2W/IyW+uGWL31ni
A4vD3xtzbjyzivyQuHOPfqAO7d6rDlmFWlLmIv+C0/embPDI0Jx3WaI3oMkKvnlpoiNZbY3DmLbm
uYqc57yAi62t3CiXd0E8oPPdqtXHZ2lRsmJFMFKHtXwqU0EKFjaFFYuSB/wrK3+K6fpvZDzMuxHo
xEvDmuT1+hfW3EjrZdpnq9NP7rNqU9eJEjhzJqxdiP5G5yclQhzi/PbJMAC/tB16dXRMcODoDfRC
CDJgODjbfI63IF72IW3zCiYlqn/HADrFKgsdimZ6fhkb8WOaBuO+p6y2xtK5G5WYhIla/TRe8CkH
N2nXR3+KVYMB3UnbdUlcRXEEBMHp9YN3r7SvrBYJbNeFvV3mtN7E2cm75CGNKayaIkNOP3ePwpvA
+9g61X9KFUASQb8mN6OD73JA4LDTbEpqUxs+mxUoAQYBspsFMkItsnqsqrsCJQRaJY7Y4eZNQRQt
oDgq0InVdnGcsOQl0RYAIRUGcLObPNIzHN76i9fRH/Uj/WUAJcU9+kBxND9YpfeGFgKCq7Z1W0RY
lkA1MHuo+iJNtu5YDjedU22KrqczMBlYHytLyNl/y7zhBrEJqjJPXXifOvF15NDWZKazV3VUw6mb
omfLw1hANjp6+AAj4rg8w99FDBhuB5KNbD6O2FXacXNx+TfQZl9PNQBl6i5w+p4BOIK1mpNTi7IT
HlEQ+SU64xBNYa2Y/f0URoAaJvSuawzzRtv/2YQ1E6E10A3BG3XvUJXaa/rooHRxGAPnrk9Kn7u4
Q18kB4GiUcxu3Qo5tA5oVofiXIBVUDbR99EDDPSiENtERBaSgd5Vjr5/bv/UNLmXBj9cb7ydQHGJ
evxrOBYfYdRx2IPXrUGYKSo6BG3TjT5Kd0Rzpe/ecPTOPuD5v/c40A2kyzvP6H6gZkIO5SK53hY0
BEJ4I4afRZPMjwagDZQ2gcHTnQAkuODg+5HOm8WyQYplo0qwWzb4flg2+n5ZLJ9csOPLm3/58//y
vTyu0WmU8YjuSyuIjkKV1Qi14hojqHHUJHi9PMR/PlteDotB6/LUIWbEZti9qYMCosVMsLc8ax1d
4qSF5nPq3Gg5OcPy9vKQq62+N/1+b3nmOI3SM/vzm/7y5+Xl8pCU9h87mx5TVDx+73j5cl2zw+NE
3fEvGy4vf+/g+3vAn7LD2VIo6uXTy5+gd/f7IGuP6G2oBkv1mqg1jmYoTAcMmzdpbaEesGTby5vL
w/c23++Vk8ruv1//ZRu3D4Deau0bBBWYuur7vx++t02XhOH79bJNpA7p+72ik8mM4rIiZ/zLI+t8
VFAVU/GPjZaPZnDvd/hK30urFijWDu7Z8MJhVxgE2n1D+eP7wVFR1/KymtBgHQLUZlCIItbqpSqj
fP/99+t//Tca+X98y7I9NFmlylqSy+K1QEzO0Tk4T/Q6ygNLKpwV6BreLU9nyyWpGOkfjwpYbSut
wOXZ90OsRO6+X+qAsDOFxv5+a3lWKNS2o/Db6T9/YPn8v3qPO4Yq7vfXf2+jAyaXClWuK3x5pJDm
EZBzOO04EygU+v/XlUdTtzz3v6s83rzXE/Z9P/+JAfz7Q3/UHl37b7pFek5Nz9J1ARX2z9qj6//N
AkoqfNum9meY9p+lR+H/zYUxbLie6QnHN6gv/ll6dP/mea6AG2y7lkt3WPyPSo/8mn8sPLJ/Kp+6
7uk+V9p0LFWY/Hx/iIuw+ff/a/y/Qu+IRKJ0Pkg0WzZdT8uis5orFB5wdEaptkQBa4OIHyK/lW+v
e8DAV1mKOqlXkaBOzk8/wlGioFclcGD+h1N5LrMpLIv/U3T5uYyLVu2OX/nXg3OF6+m2yc/0LOcv
3OQ2AzGrEXAdtKa7Ml1kTQXqA2u75ZZCIQm76/plsty9lfd7I3dpljui+c1Z/xz/LfxV/ouDUFfh
rwdB7dgU1Iap85rmX0qzrd3ofWVH42FqWauBp+qrSoLrmSQnxQ2eJClpHorboHZ+fSRlIbd2L5IV
EtAph5jRdLZ8A7N0grCENqXu0bGQenbJ2oulSTRTGo5Zo8a0/u/Pngkr/D8duuHopu8JyzO50r75
zxcXqIIX9xPOP7ZwgW52r71LSmAKccgQTV0nI6Y/Xh5fu1Gio2Vb2xvyvN6Z32LyE6o/2RlcS79e
zjWsYzz8sCEyHfpA7O8AWwsJ8CF/7g39aTSj+ir2ERHogzdOkjiAlrumNcoEGcX3rd8PUBHh+Y5Y
+4Q6DhF5Z+JCDFL8ECPegguy4aom39iZWx3g7WoqEYmSWTrvPPlgWsA2A0CWaKwy1UYJmlMk62sf
/RGh09Whme4V6c0YU9rR8wEOnpatjR4dSQ9l2HoK+k2IQS4Q7ccw1M7Ub+R2Bv8K/sHhyuBGh7iP
B8LERN6KH58FnodLpbwoPA/qiaiC9vk+QTYMCrANzsaHbYVSHQxidSbV1jU6IE5yln6OJ9LcxXuA
AGgtyNqGTRtMayMNr6Urtoam+5uocQBAZj/CwkVaNqoAYgQ0nHsz/ALilBwJ+HLSNNykzKC7hIP1
o/TQ467UAA9MCpJZXNCdRIpx7SfyMsQYZ+XptevIz0xH8VMkWHVNWkhFwb7j4/R3KcGuK7MaNvCK
MDqLi7VDK3QXJy9WB9QhdrVD4FM8sEpxchMafs0sz5VDP1ZrMFzyEjoQPnUBUv1k3VxAYorIu7MA
apIqTPt2kDpaISCrJTIqaQtWFCL8L8dFUbPVAr7XY1EMBkRP1I/QyLE0UpXGYyfcDqFn03Ck8Oi5
w2vjJBe7iG5lgYK5n15qFOpEJSCc5P4TlTtA5JENj8XCic4qV1MIAVkJok51eD30zi5uACOOInkd
7fSy/CU3uEz9MGDJaiHBxzX3O3whEQhdNyma/KnX4UDW1zgsa8jZDs2zpaPyOiXWC6stsmcBrPWi
P6S0PZGpoxJQce5cyW1dzdGXi+kLhZ5n0/KoocOxiToVVHg+JELcd1KPSMxEQ9Zt77JBw8jQZfKo
Y9iLqPfewlvMoLmA8DNId1orJHEpdPpAAPqGkjJ6Dypt+QVhjL05YNVHC1GWdegzUpMa/wi9j8+p
uu5zb30NVO+sejiJZHgaIOhji6kEfxShMXWQhS72hmRaqrUmheu5jgBMjVrkHosBR5TAwdxRdGDa
hTxTsDW3LmgyH3QE7DzOsGeBXk+rbVeqgdG7cChnXO7cMO8xGgBwaKOOl/TTACsUt+gx6u/mWDls
jGyPosk0Qwl0bUi0FSBcX5vu+jl7SWzDvjIH8WEaYF8I0dJdmJfPdQ0XW1kEdbXcUlsUyOQOL8WE
CYvUcC2KZpS/oExtk4CyVSkYvbGPyzld4ec2B+EdZ3yQ6sCh1lpkJxufS+pRjlum8VK3UbsFML3T
LXh97VCefMcDG98zlLjMyP+CA1cLTeUjVqMFJt2KF0v3Pjvb4g60vFNd9euohnPTKl217qUzmNmQ
ewO+oa6N7BgfpZ9dpllHIcrblyLZo6mAe1jHTTLESMLA4oOYBisMUKvqnFsfdc4SkaIssfW4d7pJ
1kzV3M7JXe8OiGO1LL9Wyq29XJEO/PmKYsZ2HrVf9hg91CO311QwtVsc9ZhhTgX02gDniRxqQzFE
UQ7RKBgzvj0a0n2eB5uo4BqR8X2VchmmDuO45aTIEq8tSKlj+TwP0U+L9vs8pBdDQPxYdkSUwu+k
FtgJaPgM9n2mxy+NV92hrIwgsRomrA2AKIbwYTYVO2Hm1qA8vjL89wR/3bIKfyxDZB6Upr4efjUl
4IyMLIhSMWkqyhJu/KCgItCOiouf1SlyeumXqbMAyYbFo0vGEaARrJPeyO5sG2gClaltE6aouakL
KMBXbutNWvp3QYorhEW3bJXrG1+tFVqutO7Nz1CgyISCEL1Ixr4IciYCKyv5DZxQCIP8sSV5H6zX
JjMo8yh/ADUwA7qL0JHSLy1ALk6LMPwUY4qRVfPRUs6jnKq6DN3jMoqAMgy4z8zvIsKnsPbw72GV
0E0uZ6UGeJMq26I5PyG/jGVNRSHRKacVRBdwjjVju06YyTSnvJiZTyknBCDcO28Fl843mVRyNUWX
9QxG0jEUEOmqqKjyLH+TOdIKYfWJCAM+9QmmtlQwoQRhsJQzFc9ZDNSec6pRKFznfQW4Kn5x1J4R
xYAgmN7lorhIllXqucjWY2QCLAYZ+VyTq1Ki/hX4TMm6zWoo1cLh9xXsA5SUw5B1J6mSjaHNiOgX
ch0nyU8QoAxiWT03nNvAEzXyZqncVjYvWzM8gYa5OACWaisVePVA2ARfvFlWbFr52Bf50a8kanYN
TalNVsbJ2qaxaAX2c8+vB4GaX5Y4QBsZ96POMsk1WQEGZL4vbglPAdsoJoQYX1s0bWF0C254sMSp
7N6k5Z4BFq7tsj1N8AvoD5BsJ+lXMT6ZZQmQscJjfGRwTRSDmaNPcN8wyba4731nn4cjWEXJRGbO
+bGADhMRtWzUORN6+N7H9WH5IZiRAtibaIaxCs06gXRVe58Up2If3ryaOeeBcxqb5p6KK8XfhpP7
OwQxYsXEzsH2M4/JhmHReiB3pZIKTe6kCPYOWPIo4jZHeeuxR17Ld65Gbug0tBDHKLZwPGic6C6B
7Iicee/DZHUiSIfouKMCkq26QNuir4ZFVHpTi9up0n6SlKCbnXGrdEELBd8zr6VFz7OzRuwUa+5I
Na3CQQXOKTk7dSkvfshsVwk+aN46MGMQP5uZzzgXTYduocwDJh8D6D8ya+i4E18Jm0NIxquIavp6
uWVNBMjDBMBam3Iva0AtEfebfoae3oF6V9papCJrAjF7DSbzl0+zA9TeeEhnXE962ixrb63PIY1B
IxsxydNeyiH7cj2WVttn/JQxpDzN/yLf2NkwqzY1S/BUmD9afI4nxBB1N7xvokaZSNTTflZx/Ggt
ooFPUsvmnZj4kUUZHqIOMw6TWVmzgSmnOvDEyTrgq0BYhIQNbbAYM9Y0vCsdGI5mzoApmvwTGvqD
WaFMU8Xc5sLlvCb4rRFugIq6RRq0URN7khjXsVdi0D52074bXtJOOKuq/4I0QUhrVeFKjN01t2CG
mFl71xLorYIs+vLU/vOeknvqgt8bhm3m5Oeuzi5JUpyl9pGN+AeagX9XJss6Sr00jPSD6zFEHNxA
uwz3mJJ1SMNoPE8wKkxKHdO1zrqeYqBSFnqsocFYhdKkw38iRKR7uAw/v7eQidc2OeA8Z67ec1C3
3JQ3rppUl3iuHPPzEgbF5ls2oKK6TMaJ4T0tMcgyiScNi6uR6PeBaPlYigimntYXMwyo/WRfXdc8
+wBAoINzi4jCe4KJfh6L5pJQKHbMfe+Ot2P0LAAmhDNhhh+yOuc6UPSgST+X2Nd18FkKUJHwhHad
98Tg0qpgr8pOot+YfemSca8C7qyB70V6szJ6QkhHD67iLv6KjfQSBTXzpYP/VoC0VYI1kHVlTDU0
nICuIDCwwiPTTpIGM+C0hd5IiDqr6X9O00NYOQUWTSra8OrV6BpvQc8UUKN6FzX2JYWEurUm5zHz
0/si4Vz3cYYELZaODjQ7cLZWA11q8J662Ie6DCGga53rdrIvy+o4A84kgetuUYi+qgjBSSgQzE3s
s2VlFziLLB3u/JMAhYI7oznLgycz5Cer3z4OEQrU/blXcYOfW8SfDTdVmXwRJZKGsO7ZFiStiR9k
qCXAT8sTlQ+CgOpUNw40HYL/MLbfzeJXFzNJzKVzXWTmGcyQlv5axr7rDHQUgpgSttoiizcWsfK6
74hiiq55zKv6xi3U+pLOBC3xDxUv2Jb/lHkk3fAbVgkCDKCbOTfeMN9gGTKu7LH/KNtLCuoXUqKa
xqP7tJsQzkvCeVfb0Tk0vAMCZqchYu6puuJiNhxrjfhVLKS7b2K/3MnmUwcMO8UGk3XypVIkSG9q
QnscZma7ZRyrdbiyrIM+cVh5R9ie5mekpU50dyZ9hEKYECJNZveLUPNiOQ4uY72A3JF9IUAN+7lH
2w+loZ0zRA1eobgiky1RWB0f6HJbx6E9SR3nGinTa436HNmat6vgNx80rXoTsf3c6t47YItbNyvP
GU01JtaGjoOT/SwQB0Y3tEl3dwgsDcQkT/HsSCYltC2to6bOjK6ylLiEtYF/+TxsTJtOEXLMNBMK
2DfB2vFply1BpaoBGA3pemkDGrWM8HfSWYY7h24+YR4BoSHjl9QOfqD/fOqE7DeeRmhhOsGzwwKJ
pII2kn+xSM7oP5e4MeBEj7xcZSJbHUMFkD6WmIGFX62Bi1MUCprM/ldPe2SVgjNOUjvd+R9mWbVQ
QrlruhBnu14HBt0VJxbrU+gRiTVzhjokHmh+DSUhQIKDtiMKmqUxvQMA8AgpgidXCYX3ibvSHemv
vLx95GakTutDI25diVXKmJWYU5UImepFrtDQM1IRiZchxamkIVIBqms4F1lUAhHPPQP/MufWUR2I
74dFEkYvRphcg4mikgzLGO9IasFgT2HRuDZSvUW0s6r+eZGJWQ4iQCkXSw8F8VrepC8bcacaMRaH
YMKyPr4D4eMADUadoicQA/iH820o3G6TLhi9ReNoedANcxtnXnT4fuv3Jt5Sfl/UT5Y/aUuLQDdj
MuAAKFZFb/n7M8uz742//9Cr0v4in7K8t7xcnn2/91ve5fvN723+y/f+8q1xXlCpolLzx8/7LfLS
2+gGI1jPASxftBxe42LB2LYQgZc/LA/oj1xFCdYmRq7VSO2qT6Stb+X/eFL8nyU4t6MocXg10NeL
hKOl6FDlVrI1alHMuG3QchL9EDTXqcJaLa9D17nvpIcCuQLQ+EFj7gdwQJUSLtKjS9e6NC0UGiHo
QkkvIMByKsocMJwWuA7HaxEkzzz7anlzeajQ2dqIMNFAkQjtiioYqI8gRaRPqR2GWeKhE8IzplPw
AxJ64NhiVGo051YCHisntAy1GlHCSCkTBhNg78nvd4CrzG1TV58poa8MSDiOYe+vm7Ej+3LzrWPk
NNmzHCyYjvVEYPMDdVIR1LjQDXQKlNKwoI7EvHeKFOkMS4KY8C3Vrfd/dhNOSeKqrid8GRRFPQyQ
vDBlvrWd3NlaaPn3Jan80bcVR0rJSFco3k2KIWQGGm63YmW10S1MOIophQZ1vjEBpHqCmz4mgMCl
hnriU5L297Iv4V41xa3mZc0aTfvbQC+3bvxMGw9pthZH5QAcRTAg7t8Yc3AQnrabtOgmdYYTtG6E
A13nswnSsxSoqRo0RgG1zKQ0GeXONCxwNJ2Jw4PwbtTjexqN51nDP04ru8PcmY+dl6bXMDDhwlSY
2gjh/TIn69MrXMxFKtgo/ZAjc9vBNqrazwp/jrFHDqmCfqbZcl/G7dlOuttGArlDA/wURuBYQAOx
iT1sZGeh/4eyX4ELSd+UJKViGDGv/ZkZU//QNOgwCytQAhfutoJuryQBrrwMojo2H8fRHsS6hTJV
Z6K8G3MXcWmDCHAK3UNex8aqlUZ6yBN/3zoI0tke7ifw1ouNWUcPY+7AUexS61q3a/jUGT4GIXSZ
VdRgpjh4j3ab4o2RTz/MCO4K8H1JnwBGl9dgMuoLnD9COEFjPt32uWYc3GRqNtiH7IAr0SVHR8T2
wrcKGNHWaoD/KG5y2Yvp2Gf1ppHDSqd6C2KovyA8F1CB6TeD/2jGlKEH4mNz6A3qtsNJtsKDMe/B
AimqgxRejsYGSaYM2p8cAfmKEfj7VMhrOw03Re+QjcTBTGoVKQOlvaVjSg3gexNGdcthJNs8hlUd
xu1TAt3pNp3dExi7AvG/FWqY79TjMGbBtLXXW7ziKncj+jbABk9+khoeQmleLJbGfUokVqCUv+3Q
zSKNoYaY1OyqireUU4E1hhh+655321O7ZgBBbK6h9lRVvDP1/mA7MziV0trZDbiZzjYunp3RmQ6t
Ox0Z66LBUs5osIFoxfDitNGZMsKzE3j7TjBZOFF1Lh3/JjfcpyCgJFJ7AfEqduEaujZao3+QuFJS
cZLrTitfDfyJQJd0Z9mM1LIUPhMp/XUZ43lZ+NUH5KuDMaA4MU8ChbrKuXVbX6GTwGu0Nf6t4Yj7
jPigNIRVZHLTG+JayxwGQ3HroJKZdLs6pE9iDDGLsdx7cFy1rGSewUKzGLX7Jk+BKwKta5qQYRtQ
tDFuMSvqV61DuSp0BqxsEUL2iMsPdeW+TqOb3Zk2egqs/IUzN8eqrH7lPuhJlfPO5nRKC6oI+Txu
AwjzqwQENYY0zrlGBeQA2W03mdFTK/MbP8FAYepU7dE37oa+v5kUTnlm4sZXBONGf+ZGzfBmTryj
14CFDhRMB8VouqQR/pwWfCwOIMJPNUh1/VRkCZKhw3RMRi0+tnl6HtpUMnca3bZ0ovr6XvSW/ajF
ZGeJgyl0FJz11qfYFGaIP0zOi23ZzyN2RAHZC0oIW63D1dQcXqbJPxPJbRBzABdq28p7ez/H8DPn
GztPnioMppjqnuJhWPcztb8yeHVp7q1dG3OUnnpvZR8wDkINAh07DA9FD2BE+bylZYiloageZY43
FK2gYDq0qFDktAqSgBwxp9cXxehnyP7J8hwEYdyzjtjhGtwZXKDxnt79pwCfGgfl7ZTTM+jgwhHF
V2O+rgzI6AaK+162H8BeoG/ziZYvtYkKoG6bY6NW2R+WqmVoVBgprdMp0aDybumS3SK2eyNL+dQ6
xgX+7B29Lfx20cBFpsenQ2irIW2Eye7Ue1p0akux1RqcscOAVTo/tRJV8+bNCICju9o5lvWdZ4kb
dN6fJo1pA8+XGywKATd9RCZhsFlB6taNlyE0712n2oUtl16EE2Utu4KwTVjeRPHtiFdomoT0AbqD
1bdX6pzndXmIZ/MHAMazkYUnEzU006F+YLsU2tGaQbig3cRZfu/q2akOidVQewc0FCYp4DgDK840
okxlJfOmydwHVDJww+K+zGaw4dG4Ter6BcT4dU49orCsF3Vp1FfFGFBVzGzK8M2sbxLvh6Xk9Uqg
ZHHdvwWe8zlW7lOzsfyOOXl0nzMuRzfKt4l7aJgRgTSe7SBC5MY5YLuwCVAUTXJI2kbmHsPZuZIa
eqhohBtpZlJzAYNl44BuGTuPEng3tkdtvIxTX24EpdPMw30e+05rDN+ppzxMD1OYkTMiDY0GJuxv
C4d0EHPR7D9oOR0KpqV2n2UVqeo1Kln4W3Pip4yZLXbvGy9/L+bwqi3PHkWdrKmPdlJdtKSbKSZp
7w0zWZtQWbK8HPaHYSQrOvc3QrP39U07mqcBTaVVnehyZVTpw2hPv6iJvRKqbCopP+sY31iGYcFy
taZ+cATeq1zArsc8P4xwRHW/uUYhAUgq+r5ktt79RIHDHeyIDHs4QDkR2yLF7C8z3DNENH0NpB0g
nsxPgQswRLfsa4fymtKeg0CsDdZ1m3jutshuiavDzQReHixacKnG6pdELMppcautMRfbII9f5Zp9
PU46jhIFs0HRqi6T3LTe+NGk1YfTsOoXFoNQT2mx2hSV5Ql/O9Sm6adFQMlK9zQ2w1fUy3wPPGbd
2Cba8IUkjbLDt0FjrA0oRgcR4QG4bjSAEFnJPRv/8K6t150bNTivVEfNTZ7FRH5U5YCGIdbiFlPg
HTSSUuV19mINwr1GTRwlF+2BCve9owloDwDobAcFKWiEXPlpuDIS42EiSFKVl3QD/oGCMulgBPZ8
6oZDounXyZhae2a/T6R5Xmysi/at7N+6QuDjlUO3rMfuUtJAjUYuaXwuy/lNHwsUmgvWdDlhyDTk
e1tjxbbgr5fla28yRoYkf+18CqepwNi4iAcckSi3sbjeoCPLmB+wG4qiHXRAmlol1JMZ4MO6iLVn
ANmck6x61voJmeXoOYfK7JruuJrmGorM0GH5bO8HB5GTybxLA+omrvKgQWhmSxsEEszcf6HEnq3w
0h0EUrvRU2X75yH3nlEPcET6Yc3E18R6jktVasrJhdM8vk/Gaj8E1sEy5Vvf3RkIJ3vGRzXTeeXf
BC6CeH3dDSYduAG9zv5Rp/u+8uQAXxnr6p2CgFaKG2LjGQLZRx8Qb+NjHmu3+cff4tFUgjOKabxm
laP5jIYXA0RnFw5fr74tBptYSWPfR+84DW7+/lF4jMxGgEXUJj69qxHCMbsr8TlWX4F8C859+Amh
rDLxdUTy6qUpsHWO8ew+q+8NEevAMW3ZOGAfXeS5aLmkzIQc1SiKlznt1nH6BBy5LinMUTvzi3Rn
sCDJCL9jngst2S7P1d/4J2Ge+Iwc1B1BTbMNQapRdds6oWChfwzwSbSVENHyv6S9S1YBHGdfw8L3
tRBJ9Zr6tbaShotoU431grPx+Z6k8G/qvjng+YpTi2ndMQ/ha0//vtW/1IEV7ZTSoqTMGw/3Ehtf
IfpdyyeM5NrnZZ/7lHAKbpw90i4rtYXan4zkVYQ8mDpWu4E0h1rRRcT+Qe1c1ujSqB9A41qk45Fe
8ohUkvo6dVxqt5r6OXgHLb+d76jsfUi2pT4defpdTSfbyKmYsGmNqp86PernqVP495/qc1TmSDRH
3ayC+eUIIjgaawg5bJm/dxDNVznvNXTAJjffqOdqG0grVE4+dNIWRMZg0PW7Jv29eaxcl3EHCvi6
FPNoz0RahDoWFYoqcnfqLfy/1mXjHdQmEuGUuSNDwT7DMrJP9VU6UPpcOStRdJ/q+mMoC+RzGFFs
45e32XyntlDHVJS/otu/H1TIm+qAoVcc1a7Yxc3QJ8zU8zZpjGV36uucoTvwNaJOV6QoD/58GCJc
b7oEikV5yusfCKTg+lIU59GksIi3zlUr6OoViBAUHY6mKAbQ8hXxl0uwjZkiVvYamHvNkfso1DWW
++m8NPBlm3yx3D5pI8M1t6vdHOVPYWL61zpktY6OuQmFIHISnbFELVovGIpe1N4kQTDugSN8SQSH
x5Fu9lzq8a4AROxA4z/YtQE8JMHW8D2hoMdiY96TLXzk/ZjTcHfvFhiEVTFQ+/yWRZJimWqKWNUT
7BbUmnK32dQNaj6xhfdlMR8iM4+OGAc8wp57CmbkOs3WUNZVA+WG7Kop+3v1L/fxZpEKJqagYCgA
I8PXzLse0lpDB4tFZD1E0Zce9OUudj81v0Ug0J5eoZn1dGooUesxle+ZiM0WwA1E7SIEnrwh9AI/
EdP0jIRhgAzRy8tkt49pSDw02xTZHZSKNgKRL+SnSOP0ozsW9nFSC1adINcSVhSNHUns6YX601Lu
hgTAlmXsblCFzPOTpvqVhurAULBDjxG+phkL1Oyt+ODXWLNRY2V4UxSe8uncdvDKkqy8CTMCW0e1
zPQWBEVTpJ9WHTcoiZA9mgPHX/wqvZJmrcjewE+gYtQSMdHcPw61cdDRXNmbsZ4iar6tWvlaSKOA
8YtbayCh1gtrN6PZxPreIXrYIYyXUdOmmXYJlPT5XBXeSjUpSpyVDpUg11mak8TO0BKpHQClz9Ym
uD6IQGI/B/CKfPyZEp+iyoQxgXDKYofv4LWOBM5RoooBpw1u7BBj4qSamdhynpYSfnbMSw5zQV6V
QMVWuoRGw30djw2V0oBatqHa0IMB7g2DtTAgSF0GuudG46YrnG1t+DaaQUG3Q+iZKQPRrKJRZmW5
bIiw6Dt3ashLtDrJx+1kZ1cnZ0IHatK4qh3mgAMymvRDvENhT8ONS7REW8W+090rv9Re5mD8jLG7
2GJRtlt2XY3gL5xUw2vOVHKmVlgcdeJrG11Z4AyASJAUvv1JKqjyShccIzcrMDcFByuKmwS1100T
4jwbMy4G3XnJRq9ey4HCaZfZu95X4tfxXVCW0z6e+KSb2GtbJ6ICEfaEGoO/Gpijk3jXjhiuKyTD
vrCrp7yg1BwNroZkfXAlLDPDkhgLOK5t/GoHpYfJsv/oIP4LhDkqsJ//JOIst1MymXswDdctTu7B
aP7QDZoT0ZCdyAPt9TTO6a4birOIyk/63dEK5A1SVRa88KA6d010Mpzky8tufJ/QqMpqaz1pVJ3V
vRB0jG0NpR+wLhBpHeYAA6VRsyeJMPT25BtHI1QSaxHorRwfP0dB+n63U1VDcUFJ5SXHQ5CH03x8
cQZxYxDvuxkQkXYgPEI8JgFCdswp20SQQFap6h5bzkCrqyfQy+KrDvcz1S5amgZ1Rl+O8OOSEjCh
z0jHQL3SrfJsz/ZDDoKQZg+NG27gTpq3bSde7IQErtD2Oi3HtC9PPc6HLAc7HWYulb8u3UEDPykX
5VVb7tLgPOq4p9SIt80zuLhCEJWpnQx0ovFrfc1keWky+xHdKFphCsWj+u44lm7mtqA6xA2cOwwz
jCB2AZZ9qn+2AHPmnnmYnV7bAtwEteKbcAro05KjWVG68eITuQdVJJXnjiH1N9F711WSXkwjPwvE
1WnnR2/aEMEoo6ltdthLwavjfh63yPPpGztgwUd0ozs1LRkoiixR2LxFqgxk9yB5/oO781qKpNna
860odJ5SeRMh6aC9AaYZPCcVzAeU976uXk8m3/6Zf/bWVuhUJ0wD0013mcy13vWaOLKblSc5MpBQ
7vUFjKjgEzYTXm59ZKbrJArZskOIlfgvvkMQMxmq4iAfApGJ0OFG6OFEOM14GHuy36w6869y4e0q
27iy0uHnwugb6JALxBn4ELE8SRbhdKyjzbasy3brleZd1frSdIAMhBJliqPD9CgTOzv6jvXDLO3X
xDH+qvr2l5YwQzYXaoACw7944BT4Fv1FuEb0/DVmrPPoFGHMCaluILQ0pf4NUwzdBk/ytOSYqW/o
Hqze27nMpHKGc03YPqaTv09sjlzjMtN2u88i8e6/yFNj+1ZUn2K8JT+TYIZzmklerBz5kcZyvRj6
iYAKyl/J9EwjUt9jHHBQ40KoaRtII2HxKid2jhyyTwxvtvMcf8qhoONVj60x3qWkfXay3yD62V4D
BONUWDm3XDc/C+xzNOx8d2p21sMSwWfpuRmX53FiASoTZp+1H7EI41WMhDf5ouD/HwnNJoTzPwjN
uqM7NCYmO48J7/w/s4Ib9G4lHNjuEFRwKOZeDUWZ/HpeUmzYQe8WyKGHvAVGtDBuSxYfA01uddzu
q21BrpWiBmodC9/Exi65SjVZY5uyKS9CMhndkLIo8Il4lt/hxyYv9+yVY1KfotCRCkQHO0I6HFwW
kqynfxsYR/pygFcjsKAB/bmEHLd/T4i2/5lO/vWx8X3S+ey+PDC/cd2hcZWI4+vuQJt2yFg4pkW/
9l3Io4KtebU012n1Wc4TjkREcK1qTyeWVJeci5IQbodODlYA5UoJ/26WNJ8IJsCWydInRchb3coC
bPF/eTVZ84OH4xNHT+2iAGzrFELBkLGt4d92NzQBNwIU5EDE+EGBqsnrFPEIa4LJ+fji2kuCAyF6
EH7r+UKV9TI2rNhyhcsdg5YoGo6eVpM8F52rjzpefjS4xv1fDpr5Rz4YtHGcDXR0xo6H5aj/50HD
si91B2G2BxGb0qkuuF+YUbqyJFKz3Km56wzGYopMqegRTF2OpQUcJ7cWGpYrl0gdaZn7MBTiJqyN
nSLHKFrTsrB4uM5c0sZh4tPhfTg4XDSRFt0Ck758sdks82EwmOMutEiS3BCO8WFJm9tumNhUo2NT
7sIIUFregf/+mnH/+ZoxCUZDKsjHR2DwpwQBvU+KkXTYHjStNciQ3YiAQFI3YpvIRch8izgtRabX
DMSXrRefFUlPmJzKOJckcMkmx3Lgh10tV2btbln8Dthyr0l1OLaVzJOQBcNUz7cTTINSbiqhlb/O
HkeG7MH7IiMkzNWBW+BAsP6Ic0CSVBiho1TUIZS2UOZoK7IK1Vo+EtHuoiIKPZhUyQTDA4MAF0dU
AuwVDykZLfTnbXV0vBpuodzbcIv193ZsHUtJxCJkrVrrGWMgE/gI16WUfETYn+krETznOJwfUqgJ
i9s66AHYXRlXVRTkKf5Z8qowEh/JZwkAZh1rmFibf39GDPx3/mkBc00D0Yqpeb7puNofshC7F2aV
zUjXE6xSNgPF6h556rQxLDg7xXjjLI6J8NtlK63RjDu1sWmG6JM9ueohNhuoW2fJqaskz6qoi3Pk
59eeHTpYWvIkERdPJFwDLjC/+lqUWv2IG9oKR5IE22PjTRuXdzcOX+Ge7cY2vjf87NNLWThycQfw
wYbaGMxQYJWljaOt29K9Tqz+dcmxnpyxYkEu9FJLHqcVgA2JIYq30Yx82hUPQYdHYF714w/fnbak
xZ5F3Wm7dDA2XlPYZ/JV7bMN3TVNyVJqGJNEvPTVkE+nwB+Q89sFscDEFcR5/aMFqzuYU5ZSeLV6
QBGjwSaHO7upRuDGDH9VljbEG+Wr5OC7tQPYyYInmWGKzmZ2MNBt810SYpuMGkkWaU6TfWZ+uOs8
1ibbYmtQTCr1e0PG2DbiVhvCzyLPViIxCcRq31VBGebVxRFMMJuiD1dKZyGJW0iF75eguZJ9cVjF
zy7eXn4ZYD6Zv8rWlC7aJIsabCjKuufRt58Drdqkdg+ldwiQjvjNHhjyql6ouHyC3GiNh1W4lC+S
GETFv7ZERJlmp5/WMN3WeX42tMihSYRDH5tU4Ysv7acfwyY7KKZqF72VYf+LgF5eK6KH8K21WyCJ
sPN8ot0UWABypSwREzutL7cipRON6+Kqcdz7VMDglawuWXG2WUvAmOwtIZVfeVl09PBdxDtW8dt6
2XcUAzedlvf0kQ0W+XBIPUAENwLqkAQ6K2LslOK4Ruw3/Mk2X3bMnuDeW9V9r8Pnr9th7clWmEp2
20KM3LW9eesF5XMgVyEyVkkM7urHuDae1Q0eNWiZ7WK6xc4YBkAVIoCpjUuVTMGJgEqduYqka9ub
2GueEFRebFOw2ND3YGdHSBw9uScaSjn8byFx0xbprvZzqsufeJZfZqmb6Bgld7THfsvmT1zxuImt
4F4AnhPSpK8bE6MH1XZ3AuBk0IECFsp7XdIfSzToEN6PZAdc9eEbSL8Q6rKNorOuN+wezIwy0ztX
Dgz/pDNj3N6gxS0VJImieB4JgK49hGzpyOCayfhDn5Y6HtJb2xblehzT+JIY4xGH8PFQGpjNeW7u
rPB7C3a4gQFZ9OnPshjYT2SqhLVEF1wSkqMgUWtTBRoDQG+8wgnrl53Oxl26gCWnw5WI0IItiFg6
98GLapajJtcQBoA4xfA9tQiHGbfqgLcwSMW13toVUYsvjWFiWNhhg5girOj7bO90Aj05VtZEi0wS
Je3oVC0Gd50k9kDSLA5ua28VMUiays+EM3ImtpMdBSdYZSczrepdKorTsmBH00yauZrEcm2Amu+j
QUBkKQppMmecFn+5jgo8bpHAXESvV7xctSAmTveLtWgQup6rua7ZvOtwN9rt52TwU1uAMZSkiZ6g
pJkn123/fsTYUE+xVRKGdksAnbGDvnaoNNPYRI557/jlcvK7x7EmhLdYoKKMc21LT0MeYmSS9V28
J5QG31d4xmfDJd6mG3G3CRZxxr6eYM/lU33Typ+oRyjqGII2FjTbYk627OOYmpre9QJ5/WBZrn8m
JDPZe4X5FNd+ejWF+H+bC/bfem4zmpq1c9iW1z39z6Ecl5sQ+4RDlmQ6ypEeunlW55gBFmJdDjHh
HqVtn6PBuECiw+pAvkv1LkyXsOrCbD/LAA5LUBYN5IeYkYpHEnRAG7ouR9Pe58T0EWcYHZ0MU6Ku
TrEEw3qShGY4m2V8LjStO1QZwLnO8HBr6vB4WxiC5Hs+1j30OgNxeOo2zrmSRUigl/DppnbaIza7
tcKuO6DrxwgNSCWl7mTQMj36ibZb4nkzGca7OZLZkvRGc7bqrjlPkf5XDTl9l09lfyYSBJN6Lw93
JYkz5A3qR5eIqrMDSkjWveWuk5CxIWvxXRB6j2k8xIjsNOgsAaKj3Fn3xHCCpSfncb61u5nga26X
yNcvhqC1ADGBPyja5DDdhQUGWB7mYbyBfgkLgKFA30NyGvatnp3Cfu72Wu7QJdfkhZxs6UnWByaR
OwxR1smsX1R4IQT75JiUAdxjlAtghDrhs7SFKSIT8rlyTomRuF+hbiFU3sOILGNtuJhBZHF0E8MQ
p1gBAqUZQ8hOaVa0+kkxgNMWJQqeHTCzREG8bAis7kYHJeHCKQcEOB0+Qwe+DjyzK7VqFVKbAb36
PcOPBO+QB1Vd5MNMbOtk7UeDcV7Ytc9DCNvRY9wHkzt79WaWKXzcNprUMxBpB2xk4dMWbBU1OsMm
dE8uNRNaROZN+msOQ4IvJX5gZM7apZBmXNdwMyJaGx1xAz9qp96lIkxLiAir5csUbSA1kgul3+gE
vHOTksfS+4y/2ntVJzUz28cY5ntiMAm+CvxmTRqdquax723XdrHcyu1TccgRv8Dqb1j7+RQJKMVP
LL2h3Lbp6yipwRq0c8r05n6p81fJh5Xsc8eEgY6wiVEioSBIAmJEkPi0lgo1H8N5w65PKe3wStUI
NafMrtqA6rJDhIhrA7YoNc7G2SkBV1z1PX+ng/qc4rO3En1Na8VPlEgG03pt9aq4/bhndbEb79wM
jCBPx73ej/cL7kDHIifcJjaj6ybDPVhrd0qzpQjCU4OMoNHoRXH0gkZWoyyDSPlpViGckhacMzfp
b+tp8Qg8I22rQ/malFKD6huHSdQ3jebfY4vLrNK40N2iDXHGexvmLh7Qn0udca8ygurFfTqBODgO
2oFmfh08GCqdVm+Nub7UrnUoZgehiX1QDbQr2cZ96/6ALfFjzFtzN7SwuDq3OWYKTZN6QF8cm6C5
aNJHHmM5JBH4dvTlSVqXLpl5l0lAs5LqGpGAx2i1j11VT9FiXtkGvCk6/aFF+cK/8QhWObvkMTEI
XSdanZLaBopmTCczIDhJE6iowuBjiEbqYnlFLJEJFkkZiZ1hdUMRPa4U2DIF9CfukD25frdP4uYZ
adoxZL6CrjgdN/gBoiTiTbfHvIeuYk1UT0VIXeQgGDD7hZTZPH9thdi1mXhSfyC0Awg93AVmQaxK
Yrf3UrRjsT6w2tZPsvZU+AFeLJuutokLoT5v6+YuZXSNSIbaNwe0SRLa+kiUVzG2SmtvdH9ms3lT
i+46dmFBBw1M57bx77UwhlTL/NbxOXS+ViGcSW5sw/EgyINL9vb9iI/iOpyeiHA2tobL4ehGTk9o
Y2TfzPxHHfSZUBL3HXALPv8oRWB5Kc+Q8+ENfonhW+xfdVKKGkspUqCZvDWLOZ1qEQUv4bvRtTeE
7yK8LtGcg1Y/aGbwWYkFcxb4k1jRYffo4kaIBPMyFrzXYE5CpkfEI1lD+SNj3srqg9SFwMxYhJiI
cwxllcqGvXVm93UZ69dDOfsvWp5/6gZiAXnfdnp063j5YeiqjzRIcYYBAMlBftH1ktw0N+8DyKkp
3+NE/Vu5fYI5+kLKsfBhDhV0HzmJeaelqY65aUAXcyyNRuMwCm4dP7DsjRDjJhpMxI3Ydu3tCLau
OSWfChHxYDqEImgxRc4J5GDorn4sopl0eyKsUu/Nm/wbMKitrJeiod9qgxdIrhVHQKr9yvC1sC0U
kn1KTsxyTqX6/WstCznRY5m8+lP65oXRRxE5NWh0hZK6LzaBizfopO/miE4ekjj8whbdxMw0lHgM
xFr7quxpcKTmrhVQGofa3UnRiuzHZUtiz7TX1GT8kTRa1/Bn5nKmVZD6+sR8i9MZwaBUeKj+qIrY
taXZdFti7OIO/r0STikFhi4vqnoWD4UBNQk5tQLgFG5tyKrZbRGldCPqGwwV4JWGSH4p/HKJM1tj
QdQ6N2oKEHkghwOZfRp9DQCUPkdD57gKYH/p7gCVVnYdluERTLcbtWODfyIGWeVl0IWF9vnW8W/6
pdvnJa5nOtyTY9zqkLEcjylOnJ3iOSrYWh56y+Fk2OeE/DPdMuy12brZLnEc+jGI/4h0xc2wOD+7
qgjWJEsw4+lwOWzNv2a5yqb0oGPXBCvRQDynX0NP5lTcRMXBmnYE4RQrTHHdLU6bRsdZVIpYLZ7Z
iQp/i5x2ynDo0wsa/Xyk21NvwUpYcQkSfbEiDX06NzfhUj/aqWB3ZUVKcprF2kK17wLQai3FQTpa
2zqYL/qsQ8BAdUGiTHE0K83FHQshEWKNkxKIjuHBsgnk8boNUk9R/FADTtXkGphtV6Z71ZN+5ePQ
t2ry8sXsyCUpl5t25EZVqtvAZV5p11O/M3/1/nTvi5YoCwuBWjwV1jHRRnSLznuJDAIPbveKiD6m
5C5AfjVr5KYEv6wyAnvQDJS+RNNKm465F/O1YT1mGACu83FAWCIRHzu00Py1XkEkuXVyfbQHE0to
M4+fZSrgf7opN12ZrLPsksSwhIhhBT3gtlGaZaU8IY/gyIp271v1ixq5zTN7ndfNL4uvXxGUeDvk
2LpChQcY81PJUig2tZ+8KNgKpSj7atT/wsPzxwRveyzde+J5Hq2swKHNuR+D4bop7b0n+9ceqALW
GJot6esQhKLc5lLlJcfNTo1Yljev+kmh4dcwCnzZojIF8olLCOf1CsWB/7XzJVVzaXumx0wzd1KB
qO6u1Jx3FvlCXmFAXUofrJCPUib10e/h0AXdKpPlHQ66xlbdcjI3GQ9/XlQOivrhl+tg9l9C3sXA
6zGz6N07Li4zucS29l703JdCRLvB4ZT4OW4HEjmWkS2t5kP7kFuyl4a/RFJCVeYof42kdWniSoaV
1ET1i7gKhH2nJr3qHEK1YFafADo3DPObqjn2LrOJ1r1n0MTOImskUpfkXAu5HPzr4zRh8yaH8UIT
H4M1PHfBeAscxsAhDUk9OcQOt0cFgKGuBtHE1VbdFwpDEAxYGPnwguCT+1kjIY+aGdJmulGTCzXA
6uy3wOvulJbIR9q8Ipt0ZS9Ju5m8cAZIXB6jSUBpCKIdcfESe+S9WoCG+Czaa0aNvHwKBFUTZ81d
H6Ae4OAAJGJjIOGMabnCNx9paU/vLGvp3sRPgR70KJri4ntS28vCq2csvmSGIaESMB5ge1MITQdT
7ngelE+k3NlF1mNmOW1yrGukXhBvCIl9yUpLp/RURzmJrKeRutObAHyUxEt/cBe888JUYy7ZCnYx
DFSpdvSgP89W+ClnfXjiXbAluamGZK9ey5ZT3aVikpo09T2N/2chkERPwj15nHkSshEW53IdZ9UH
tttnRAgpDGiCdaLw5inUIZwyk5BTF/hnzlqj2mOCW+0StIf12C07OcKEasbMy+O05M0FefNzS3O7
1P4D0gcWBLAMGPXGdZpFz+oeqnV93LlTg2DFLbdhOW+9DoWJ9KiRkjhnKrn8vfCihLSeFOBLNa8r
3jNAClRM/h5tCWWGvDO9IXsFONIW+mC1UvQMtPUZS08KpSkx5MF4VCOOJceUoHLuMOrrP+y5JN3S
Yu8J3Bt0Oa8FLfXKB7rAn4HxUpF9mm7xGufjJfZn5JahrubflrurTbjHSj8pPDZVo2LnzNviapZm
ArmbFrtq2lvoAUqLvkFerHNMbd9JdEqWLczIYhl1vFOqQlnPxdIKwcyRv0oFoqKN2NKR0kqAjGuG
2tCnUGuKg+mWawdV0JZARmDjhKtW3liMfU72ZN0aIfMyTczjzkLsPFbWwQzLT0UYgGLPzJRYwtEM
u81r0wjc22nU4qWnQAmdV7QwB3nIWOmeNX/eyXYmltpaq80vkUt1LIffctVLqn4L21/GvoTmapyy
d4lBjj01pFJws388hnjp4OTAde2lSIM1tD6yTq+Afnt0oktgH0eHaCb1ESI8/tZ+sZDTGTnwwu/U
BENdm5MX3CtfixSZNXsk7N8uPJR4AqSV1q9T23j1Z9qljPsqLsHTvZCkC8HgrMa9iN/jLUAbUhno
VcNWOJCB0bRYqM1pIepVqNc/58yp6Xhp/npOi0/i19Tbq0EgJOayUMUKSqhLQXwHkYSf8ojKvxaZ
DR2ZVHS0hvaFSeeWsWF6Vq1sO70qQJAXu8h2CubXaEz1TdHk7wSPXcvKaUkp0ahtd8SsoCouuHYY
qzziMrw1AzSiuT6OK2N5qnsEuK6MW5eFhG1YOv4dy1mtGa3UpScJhKYU/STO0OY5aKYdsPiWt0uj
xzD9SxZPZTP1Lq2zB5ar47DUEGG/KqdlXlNtpEgq6HbDfCOdL4CJGO9IhUPedB8aAw+BjcnaGFhI
8k+oo4C7gXvsdR88hQ7MkoJbuxs2cMkw+MTaCzbG8BeJaXt5uas1MU1i/hzJV2oeghPiwSKJErE3
Ei1ZZmqRB5Xf/ssrkUD0+VViRdHa84rgxExzPdYCS0swcGVZ4MX2jj7qRlkV6FIUH82gvKWNWCqn
hlT3DxkpCDiAeVd5lpvbZgmvZO1lucxDq3C5mcY0WLdxA4vPfZjrFgNm70GBCQrHEO1Mau9g3Clz
jCabYdumLWxP9EBDyjLq+RE9tOmeoqy8NSOunIXNxjG8cNfeL/hVblLMA3e51yPX+JwtDJBSgfS0
tu27iAk4NoYLRvdcAwVhfJC9B31Xpode2rzkbnktegsPEmd+88YPpVIPiJ5vCWLn8IDVEJaytqv4
KkKp63kDW8GCrssfjXotiQEdHREwfLXOBhZ4Uleupoh1yAxqtuu4Y6hAJnnPHK3YyOm75oI+DnKr
G6vHjiVZIis5EUlcjYeazog8M0Y5XP2qge6W9s40+8cBh/O1wflJyQzZK48lXCCfBVPbsTfJASBO
DcRy1RL6yWdJP1JyZedMowR0SJzGYPULqIdd9jLHORbGLBFM54b1uGisdVC2DBdyhkCkE9dbq4LI
NWbOOQ60GUqddUsSbH3KxuGmboyFeU18Y3lwsJoFHlwuyVPERWqFzV0JOLsd2FrC2bEIUAB9q0FJ
NxpJdIpy0TkenacdXjkUKevaZz0Olg+XwhZuDqqXwpVB0rKJ05b8Oa9RY9gNLkCNy+tNib3hDoXY
lTpbRR6KHLh0c0h72gYsSlaWPU+2qVgMrT68JV277mPestu8mgYDWRtK7lru5HImppx3YocBSG3z
osISn8LStgpA4VTXVCVPylwlTutrUQ53ct+s4aAD3PdnHKqQkcsWPmE65Orc5m2Y/VX2T2oJVetZ
kbzGDk2BWcGltJ4yP94HMfiAM0z1amqaa5fZ6442/1VE9lbPq9uo/hi8/q2qmat7CcOVzKBkIzcg
JV0NAaaZXrWWJCex0CirEIrxaoWbH/jrq+zuitA/ePG4GiDqmIUDyIML93JlDJG0B2jBa+Av76zK
PwsR7HM9/aVMOXLBCpdLaBoNARlCQJZh4N37HRVYYFKBeSznEv1yMQVQnI5xiU6jFz/DOATcm1YK
5qwY9azRE+79wY0PyhhKMb3GemWG7AOKOCCHf6kDidYL0w8oT1RGATFeVp1+KGMh22FH8UuTjAbz
qU+sj6TNHqSBkdw2NYIr4AU3717ZXkOifFfjOth++7mtnhaPOgjXnQpvF+nbABlNcoaIESlJrV7e
I3nzNV15j0TzqAbAOk7gawCaleX7F7wAf2DKD6IoB1U2hqOEjd7J9mmaKO9LDJkYSQLmDa50sKI6
zCXFr7fyawdn8/VSiA8FDhuOlBNPA/BUv2ZCApHV5rzrLUz4ovHgWEtzHSKsUOXXBqKifjdAflur
i5TBKJHzg7POW8K6GcT/7CPYs/Loc3HD62EAmXfVFTDhleQqoV44qNpP9W6luInzYLt4zDQzJ7bR
jLjovxqIjxCzTQyaoOjGWJSnODo7T7rBkgzb9FckKbWR3mz91mBESh1iNt5Pj572FA/VU6d79Ybx
ztp3uhu4ZhDhpZWY7NImaYmE3s8ilOpFMqVJxMY6QAB+Sni9bO9b6deu2ptOOo2pMWrfG++EqJC4
a79n9oSiUNpJyM5GoqMxO2DR4sdgTi6yRFq2jF+7Uj4rqSAExR6TwSO9XbuOSrIuB5P+zLLrE26d
LKOF+yZviCSHmmagq5FVtCLApS2VlkvIU/0Dc2dOtPygkawAuv6HODhNXuDR7uESore3yr8rXdiu
Y28Hb96jAzTw7mPcunWghrelGXEvB2JHUl3+ZQJZkaymG869RMeX0n0vRPMmHa1kz8jg4wFNy6HO
6ov0FClj+2oB9ABEpmbENH7d+HfYlj6jIkSHyUrOcse6cskX7V55H2by7fskhmlC29YpGuJWutHh
JJLvAxOabnsGxMSSHpRFn1g5onahEW0eSnB+hKcxNMDYJLYOqvqSEu+QDD89SeYpy8BkgAIJhlbL
zIrHTFNTdUWhlI2nunMX6a4nezCFPYFRnEyql8zKiRqkoJdH2auW67zyTm7FuG5x/srHGpkMFF0t
/5yl55FrvZPucytPj2k7BIIz3mS5ZxjgcB1yNgQgEzOb2qU+5Jxa9U8kfGzojPHkrw1KtAmVxqqW
lZU8zKoilnC66q8nl5teuRXJ/z3jDgdbnJJZdYAd9gooj9PzLBcKuYOjOUo7nPf6KYEkQTx6Pwup
2wTZNsXWzumH6Rpe0SW/2C0Lr2gIhqvwqeFILLLU9iR8j9flD2dCryZZnksP47qpvZ9qJxlg+WB3
pFHKM99PKioRLtEXB8PCfMlPVhDi2cYS1V+nRf8i1xq199vBcmNCPNrCE7XmnbRi66HjkH0Sfwb4
YKxsLT7rFd6GcVE9d+XdbNr3ykFKFr2OubxmhX9GgSftB82Y2LvwqbvR2uilEuZ7dWvtUqskQbXi
hMqqQm02wkMNOs87KJFeIEtViV4YNy1mCStrGI5JMR6RSf2Aov/Yjr7MMeNKH3+SnYu+UTj3tWGY
DBITlq70VdW3orDIeQxWcWs/lA2hUQp10HXAANtG2WiE5v/nRsSmZuLu+t//1//44nlu3rq3//KB
bz2D1Lf843/+15uP4e397T/ZEH895W8bYl23/ptmwpZydHymHc3H6PcfEWgGlrb/yDwjDU2D7OZb
lg3DClfib+NhjIw12+GnhEMYnq07/0/Gw7b1h/Ww5kDgdR2DcDXTd7B8/IOOGXXWNBRNhQoXQUcy
NPbWbfDwwdEe8k7UY6knYIhjuYos6q1njI/zV2RjuTiy2BvNQ0CI8Wqww2nnUKQUndFgK4GOADYg
KuEFAA4ngtJo6Mr16U2Phl0UwI7DJkqnzaJV1Ig7GSj8CTAtdiV62CYP5q2fsNf7enEJWtBH3Ts1
adheD8iNWT3cDUOMWeayoioim4rcT+/QJN2d2U+YHNnWvWeGzLKxRtsh5afgHQd3S/Vy1JiVnPSK
OS6RPO1jFzb3NlV7k2nlk+mPO0ZZN74XtCCOY4OdwIjmFDjw5Fn1j8hFWzDbTba1Q/0vV/jhFkF/
wJDO1c+BYZ0yrc8vwssRM0Ac9o3eOxOcAFswyW6ZbtMt5YiVDO2pd+V8Yjn7doY9RFi9lGV7YRpx
vVRRhBqh1vHCHU9ehO1CDIl6OwHjpuOLTQQLXFiHBIsFLBOt6E9kyXghymc4xMmvPMcnutEr4o1r
9z5VWZYDMENF6CagtCZhDIPBBhnd1b4r83Zr7jAC2OsUAbuytjjY1Wff66emBEiIOsqNMCbm0iyI
GLDeEbvG69YLmMebsBFQjN3EYC/6eZkRgoxalyPp+gGroUd3OE8onMdPtx1fJjuvDyIIt2GC5Men
D4z7ycV8K8beLcHUNi6y9kgIjUwsBqdkiL92AdRXNoZ/EawHtq3eh9sK0G51GC6kWyKtsNjpc5yh
XGYsOJFFZH2Y/WYQ+qVqxvTanJuEhCb/mkwwJjFuypYbSu/s4USgQyLiawQ02FtwbMolEfddsKky
YL0FdjJU/4H7wCPcBvNsMHhy9LJLVWvnQPoQuncUbOEBygrCpv7Thv52Xevlr4JSfN9qxbADSHVA
6yLsZSrtKbRaTFc9QAV0YucFc8djNc4ElIfWahgGk/hKgPc8bM6mWW9KDDif0sojqsU9xI2dnidk
2Rl5UueEfWldBNaCVreYKeHCB1/WI35tctl20PEQQdwY0dTuwTbzbaBPoPecxTHu/T2eAc16EOm0
ISg2O2hmdnRGm+Fc23gX3vXBI/UDj8LM3s5DSEWaFk+4ObZXXlkW69a8N7Oof8GW6y4LiweN2fOm
hEt9YMeBiDqdp2EMz40uKqITGnc3xoG3nvVxQTkeN8w6GvEmzPhal1NXOF3tttJZQ7xgOOAwcEwt
U7tp4n7cQytyd0AYT4abl9egF+WmKpndQAoimAOrG3Rz3lVkGcxCWa6QE+UmCfThIl60TL/Geav/
qPuqvHKB2BaP0Js0yexVpAfRudU4BthNEGwnuhJfMk/bR0H5YhCjcQ5rogzHiYQbu03rEwi6uXJo
jjeLmLIfgZ+2B8eNg2NcWWjacTxBJYswKmzaYWN36MnttoVkNRBOhWGzQRZB4UIrnYgQ1G3krAOd
NVnP8IiD4LHrrOS+z3FaqT1nPRixJZnn3qnUBClK7XLhc3azyZEw5hkzXJJwywSKemY7X1+yJLku
7ODYEmhQF5xyeH1wlsau++Gb0wcJjuhmwtjCha3bhkix4d5NG9vuqlOtOa+zqBB2h/mZtb+E7hJA
NtF9sdGLvD2pL0hYYfxELfPn7+/Vo8J0BipZj6C9r9/jhtFwvPhe/f7726//qX7oNj6vpH7120P1
q8nG7bGd9It6CfVf1M//eMXeTDF6So0H783w8APrEdaffOh1OPfK8MWvh6LkofpePVL/SX35fg6s
0YTyUP5Hr415+vevvp/z/TP1bPULN6NcRKwlRdQZyiX1w3/9DoR6X+o/fP059Sq/Pfx6mvorXw9N
n8BcO83232/+t5f+fmP/8rN+/c8/Pqd6ztQE+Ji6DcIdeZC+X0f96bYZ7oiBK3Z//qmvD/j90f94
6T//+5+fTv2Z397p99O/nvnby6v34YZtt/z2DqsKqrXdZiX2f4IjrZ6vvlhO3YL8yJP325tQv/r+
bJWPojKzmz1L4EtoQ7D9/h2zZgeUeSC9DZTYSWGC8kcCm0jKQoelEGJiH8X9rp6AgoRentwZY7ik
yujPyFPnclE//f5V1xjwRQNx+uPn6ltbPlm9wvdvv16FoCJe67dXDCLMcSrQy6lO6zN+RQlO/3T0
XgWbRz4U9UyAofp+jhFV47yITfD3D7EjG45p+fT1X9Qv1PMCwODdpI24Lsc+64CAXRHmfgkkPi8s
/SjiMs8/1ylKIKIa65N61FhedTJ7s8UiKks2Rn5KGZTHvlRAy/td3aKVWgpQ8TD9N7gjS0SsC9tV
yjmjBi6w6cHMrB0+3PaDlRwoophfM7xkCKx1MWtb5BeMff/+4sj4oH/17ff/U0/jbOCYOBS4z7s9
QuzqPLWte5TmZ7E2/UJ62+yapoX67oPHry1zfAly564M2OZjp0XeLl38lCFgJ+3j1Lf1BEPH6YrD
PO5NSpyThyr0pPnCOfku/jrB1Pc4A4XkfMovrfzilSmS+zwn6s4qQw4M1n++iw+hMgFU31bdgleD
V+LL4kRn9WUk/oopK7t5CZ2DvODGK85thn0HpZu3sWTWnfriLuYKy1338O28NyljvVh8kkA1bnHj
KUvm8Wa8dyYsldBBnGdzMdCWTpiIwFpwskAcMsgbgmjJowXpA+dxAfLaO0QyDgulY4dn4qaWVGLF
IhYhPMZ8JI0iMsnwAXwB4h2l7n+oX/TKuW6oSNjOOG7J9DPXrfkYVRE4ElAT0tQaDy6oHsFRQ0s+
QzL1RaSfdAsYdgTz1j1KP5uVPJGxOerR6NDdmgTRAsgjmgEAXWV4/W0L+pZTHvYGO5b4+5HPMGVP
T3CtDBbVOeDKRk6GSIiZAW5s2Gdx/F35Zew8/VhnP7+sHWUqqatSSYPMPGh1O+7Ve2DuWJ6YowG7
jvKh+j5bCkoDyrxvD0O7DuBf6UzP13FshutOpiSr9KzvLxCLPdIuc+tmFIW+I1LN58jL69tWEbCa
MQ8HaH9r6z8cKdUFqC7FP342dz3c3SnE80Cuhj54LjXjrqUKhHQ3oCw25Ef67XuHWTVSOMyCCpU1
RHraPz6OPNiAZH8fdr8aiS5dxmCjLifjPy64LwvHr/MgLzQvOFqRqx01m/mI+sDq0fcX9bMuFcZ2
9Mxn5bYIfRWHIvmZ0dt7KfgcFozqh9hk4qLUtcQryKtHXULq0fcXdQzUt+yVlKuJdVDmn982nKE0
BP3+luHJyxiGYCezxrB4tBdMsFi5vh6a1oS5ufe/GTuz3saxdMv+lYt+ZzXnAbh9gdY8y/IUDr8Q
Dkck5+lwPPz1vUhXpSMjqzIbAQiiTCkkjud8395rW5itp/xtfYqAjeejenr4ZbGozQ3QCn+LXFFw
Met/fgBVyHBnei3Q3WrLYXFwe1w9GBz0H41KaF0+pbPODyGMR0C77K+6wmhkmvk2qNvfyigx1/UU
0TVvv246fuZn82ufi02aH2pd4CCyTHvbWiQfJjmH0YiGX/Yo8u3WJuFyihiOaW+h1bBIvJbc8+Yf
ZHJKW/BmV73a0UurmQSifMTnritS58wiQVRXzE1skk2r6lfXJzdL7xwbzZipU8HVJ56Qmh4HI0bl
ET/2fROtg7pMAW6SjjJ/2Tahq0ykMxd0ktR386/4OAsUdUVER0lHqaazXiGVRmwMrEMSbDIdCI2R
JRvIq48zrPNjT7v/wnbOi05lxAfzIUdzsRR+oK6GaW5kpm+DVhgHb/JfOdODwmQQW1ZCA4Gc2Ga+
q3kglUFB01rxDjZD612khpsubJ+B2KL0EmmwqlLDB9Udkv2oa9aJ9HG0+2EfHxszb7eU5G5Vogjo
/47CeZ7C+7TgZsuqbemqqAhgXPgTdBVyMsj1ZBeq0U4ra3JC9JYJQY/JdDqbGpNLmelP0aXzsuYX
Fr4tbrUeYv5DntPmNSnULz2XYTMoW277012VDCRmqq3ybMQRxYLuQkpht3Zq7w5mMeeSEI+9vTWY
9mJbmz7dLHg5pZFFQBT/bw/CY1mppyx3VoEjSPih46g1DSMdGxF8PWfqcZ+ve5C1oTYlRjbaqdRU
lerz9JqYRgEjTDgU981j2HKtGcfgyfdTfxM3QXGszW+jqciDXgfaESmTE/EGQCo9GeHdk6XUOvB4
JMttCnJATcZ6PX+x3I3rbZvop8IrroK6wFodUSkov4U1HxpW3YtWB6he+mbtB72+6VybaFAPQcJ0
pZwfckUJaN3h84cAf3Anu1KtPrg+7ttJ/E14bjo9zM9aiQ/B97TmYJutvXe6q+MO8ToOwxZDJ5Kq
XKQN/uhpBc7efWK/OZ1oN03co3QgJ6RriJJW/br/+G34zqGrDz3oBnu66E4PXUbYdUeRZZW2XGbk
+KWQ4hlT98hke9SWIy6Qqcn73IR2upaJny8NJ5LnuCFRB6I1KkXuDvPWyeaUPzPSsWgoBWm6PYmE
TDazw/zMdSOHDtbvL3rTX2jIHzNFDbfz6wi/8o+V58X5YV4NTcm/3jsvz5+agDfelho7cPrMn9ab
n6o0xVDs2Tjpp/fOr2VxvyftKFnm1nuiZgAUocSt+qIBLidNZVVb8QOC/vHsjVpyL4U/7uL+Phae
sjb0nEalM5XQFLlBuV4vAthhlvS+BX32PAuyxkku3w7kxJYj7igobzZZzOWXoM23UJzXlCzMtQhb
En3zALUdmO5VIIZjn6Xi3R9gcvSl9zo76wpJTclHBLw067aHxEdNUlGT4dB3o3I/6uG7Fm8H8rpe
awNFSBP0/tUJA3FGVKAt8ySSb46ITuNQ2E/QsTCKBlW70Tqre02U4/z33kgJftb69ND5wn+otPaJ
nsLwZoZ1iKcY/VQVlDXumzafSy5voV7c57qvnoK0QNVVRyTowllZT/WYN7rTuIySN/SZ6aYFBr6P
Ayd/EuF4mT+VrcahHlnm2YuK/mpRF17Mf2hc5SvG0+yhL4V+sEw/WWcSypZKwM8dyJhFNHjj10ob
nE2eW+0Ozcr43Jfhfv4RsumxVNWRcSrrSrtj9sMJwXj9zrUhqdVyQvIjbrvRg8O4N0Cwm7/tSE1h
9OzkBWrzuHWgHG+1tA1fLJ+C47QRWgl0JgQtcUSf6d6sxEW0P2+dIGwWmO6MO/w32ik3JN3AaQNI
jBbdYOnPMo8bpO+Ft0nqpv+aIZKY3xkWbrxuasM41IhiH9pueJ1fV1O6plngD1ddZsZ5tJue7hzf
QQuLi0tgNiD2sNjXg8g2mmLDQOw/djA8DXMdwcPfd73aPkbJeD9/YF9agFUsl8YpER6XAoHHxw60
3PxJV4k5ARSYrkmJSA6aFQ8fO1Cllxfq/etoE42b6Ia/Q7JhPZHPjnCPbzMiFqMjyiGGj8vHEMxh
N/9ws1LfqUbr96Yqic91E1zb0xtyjeGl7hTPUYFmGsvgRlaluQ8x8d/igAKrB7nhPW/NgxmH+pfB
HasNE+XgEMRiuAWTtnNeowW6Y9lK/KKgUd2YUlSHkgvSrZ6YkfT5ivcIW5RvRfKlpXe2Do1qZKhG
dVQrwE8aHGjz52Sy3QxmGn5ltIV4MjBcctn9+k42LqXN6XMsNL4xwMKvqTWRFR0LaqORh3dCBNHU
USzeg6wg3o5gutpzEJaDNz0yMdCulImz5fy/CIiLdSGbVwSo7G5f50bvYqBW/VB8fIbtYMtuLPd1
rBxvNZRafMoL6tBpiKZn/l+If8aiNtZvbm1BqU5NDD8yUi+WT3DN/L8MXAO82H1LC3dYgbw1TjUt
xItTC5Sv0xcFqG3TPzzNK6jgUVZOI6IzHi3vzC2CVIxpLTJSylg637rWxshoO/UZefbIIajFlPDr
9B1P/rReW2jhagDJeDbMvjinU5QOgEDtG3XNj+9Tqe6yRZh88RXhn6KoIRveICc4U47zJ2gjurmc
WxtCVqGe2infyCcv/q0zv8wr1HKQmKUqMtc1WZ5QJ9qrJmjUS9GyezDdLSndi+8MySlF9o167wRh
yb1trHfZmMOScRVUKJpdfa9TFMB2a75VRqYs04jPqDg+jznfcd3FkfKsNMH9x6d54UNJ4PUzilNl
TTcrOTpYEy4cTB7HuksaNjtrXjUxGoCK9OLvLSBhuyLxU6B9hXVf2DQ05lVy2sY5xdk30+njVZlU
4qJrZn9M6OSuddKJvqh04udVOXseW1U0z5RWkg3SLO9QjW547Qv84ZWa19+MMF6Q6ii+G0xqF3Zj
KzdNSn3H4EnZjrYRPzgBJWkimcT3jKMSpZnyGitkqgX02+vgEjoDZNDAHdZRxulljuZl3jxo2Z47
VUTPqCWrDTZW7aBHubgOtQLv3SynkdGXec2x9U3Ecpp2G+j4Y3qEoNt02D3bqn3onar42N7AWNeF
6UkQqqDMu7axzr0ahKehVemR+U74MrbJef4tXum9qF1rPDmh0m3G3G0OII7Vq+Yo/TKibPOuded5
A1WUDjDej+LW1X2yj8KOXMAksB6iSTY+r+LbRHrRrnr1Va7Vru5B9NLxYIEYw6Ad1c2LlmnHeVUq
dW8IqblPZn1xdPw022rKUOxtBLo3iLpkGgJsf2/BDumeUL4mrQHxtylquFhaeLEAxa8YRDbfMmit
bWa9w9fhpoj35ApBVCfX2gw3ftG1X0Qvz/NnhfAblTiIH+kvEPsxgJrFgaZw2LaIbKbP6KAxDtLX
XgDXd+vRDodjPObBNasLlSoi32d+mBfbwFMursrBpE2Xpvlt0/vnNYzgMDd8//cfyD713AF+L0op
wIE3vyz+z+Wta35U/z295/d1/viO/1k9/N/H//qtEP91ftg8/uWa2x/F1Fyuf13pD5/ON/jnN5x6
0n9YWM/96Vv7Q8j7HzWD7p+71/+/f/xnl/tRlnS5377Dml5xEIjovfm52W1Y7pSR+5/741/e4DFj
KCjyf/O233vk9j88DT2JTfy5wdyKjvXvPXLzH45hGzq4JPrw/+qWe7TEdbQ2GjNNlLEuJJIafVf4
f/6Xaf0DQLdmeIamO6ap8e3+9ev/GTr7sev+fQgtvfWfmU2mC3rHhaRg0jRXbS4/vyBPYItXLSG4
9g3TAZMzkZAw1QT7JlD7ZdAiR8oMpL8uMvzGg9dic77kKsFTc/R6jQVn4wlvB2tJPStp8jeQHN34
87cDW+uhmfFMmw30C1EqQO2eOvTzb5hgQCAV5jn1wBMyRrT2mNtvhenfW9zWgXPG7Wrm7KFT0HZt
UMPVyNxonQST5xH4Z+ha8cnHnLzAWoRVX+vDa+tHmywjHwZe39LA5vTTgfDPjf1zzLA+bbyP9OH9
d/bUtHEhH3LFcl30Eex//v4TF0oE+FBFoZm30RvKr+hV40s1gnJOHGD0iBX1VYDT5y6coqr6r4SN
NnfEBR4zal4nIzSjE0r/Q9W4+cUpsEAoXG/dRnvycOREhUJoVuZnm0ivxL7r6nsdb+nRx8BQ+FnM
XEx1oKult7/5TdMm/+NvcnRT1yDkuPw27dffpBtRkHtxatw40POtqOFadMIJNqTM7FGGo0cOqUAk
HB+bMgGt6BeVcuCqKU+D6ffbyK2e3EFWR4dAPS+uNLS8j3oUgQuOE/PeTgXG7ZxwRS9o1n/91aeT
5s9fnXPH5IzirDJ+OZpy7IAko4AvRbi0VBlC3ktt2xP8hNsW5KsDVOKYj5jK8PqdO2oor2U9mXo3
FhfZXRxp3hqKCeLFYBw2RgsquE+QGvThFH8bRUcl1s/grSM6aXTHdZGHV1cx1g0Qw2Noeoy5nFpC
b0y8g1/gWOTYYKhgguUxXIRLhlbD5ckgLILcmvIPoEVTF0Q015cFYKyrFXAnSKnJ70afoKnS91eV
35SgAoApVjK4YN3xzvMDwE+ns8FU29QGKH+c5VBFeytSUI+AZabMYhLcWshXr7DhOffRF5wQ7ZkB
Q7rmUjHQ84eL4MYaI2y16a7zsz7p7pKYu75qKPW9oevFRa38fQHjyQWF5PU9sBM7ebRHE1DqkGgg
jbA8SoxJezIWxapXyu/SHrx9FtUveh70i3FwzVuI/NzKarH76/2t/7tDFXGrZdm6pamG+UvAtkv1
FlFGqN8UHY6R0+KqZri09WsKnC18UtfRL71BCEoh66cwsgzMRC496aDANqX7GtrOctt6CrQcMZ4Q
89x6BUqgGBaGJ0cEO97Zs3Lvy9987elr/XqG2R7XDvy0fPNfwWi2ojrxAHX3NloKrgs7vA8S+2o4
SbbS7YxQLgR77HjMdTDU8jPzc1K8kofaeyOLXT/aKjLIoBC73oVIWqNBVdC/ro0K8P1sN/7rr6v9
m61saOD+HLRfXBZ+vUZ3HqzsKhm0G4iv6k6V9dKVyWuE04ao4nZyd1RgrQmOyc2TNubJiTCFp4iJ
xf6vv4gxJcr/st0MzVMd01X5NuTA8fefrra+dBpuTewlJAwPVaKZJ/ElZc5+KiJjEapK+5x1X5Mi
Nx+iMTmDocax3+v6dd6UEqNWJPv0IvKGWoDENbFU1FjflxUCXlFrQIti5cTOwTmZ50ztM2evR919
h5DxkpPk1Puatwl8rMGUhdSTouTyoMTpC9Bk5W/YeZOO7k8/1VBNhhQaTpY/XcngkRVepfrqrR6i
d7Ol0Nu7eBhGnCqrNLbuJ/+WXbg3otvglvsDbgMbeKrs7DUUYmy9cdNuAcEJpt+k3TSZirIcZDgO
ZGWFxThY/PW+sf98I3ccBhfcM/jnYF/6477RyliNFKPTbxRgoSBmUbflIr0dnfa9lI1zpZtBPin0
lEXrJNa6ddTimInY3Nf0B9rEutNCQLxmMbxbbueetBC4v+XiJldR2XID7rmEGskeddm1Hw04uHZn
7F3zi82MZ6di4qLRS+El53/YtbVxCKGFruAEhxuhGgjqNQfiayazk1pyclO8dfThPlF1F3ICGULU
qbWdMjgEf3abfHSxorjdnruCe42HEcgKQI68DiyG+JRio1K7KS3q5LgNDkWsPWheYDxlAy1ITSe0
0aqLCaY+nH2b1K0sRF44/ShdgHL/6+1u/nl45zjUZdgMpmV4XFD+uN1j7NqtKz3t5nllihFl7O5l
OBbHEfHEzlbs4V4hBnsZMb44SYnnKCRZxgbUQBEoE7uM/OpNW5uH0dW2JpDFtgWlYJn0YWM1QJFb
hejSC3ksg6e2o51suN6mRKm0sg2YPj6yc2gjJmAe2yOhKL4Cj7IfXZd5eK4fEbfpZ7eAqlIR337W
E+jUfbJjBp4+dNVoLPFDbrKwhZTAfRAZNzUWIly9vV4gUP/rLaUx2P71lHIM03RNFSObaam/bCny
dtvOZq54G8r8C2GnBCpSAAQoTHeg0sAT2JMXpRcVzio4b5aEkNXCpUpMOvXST2vU1/KMvVSu/vqb
zSTIn69rtgog0mXigKRKdela/HEfZk2gx2oi61uPrOkY90l955FETeflya8UosIdFPnM9BdoGcUK
f3G+9Svyy127VFC2cviWYMR2lhQW4ceKcRYu0fZR26kn6XtAaQsF4IqdbkmBUDZmkxArX2MsbdpQ
0gCkC22q9wj4epv7ooJCE1inbe4Sp3lT8rTfg//D5RZts9SqmPnnOP7Tcishli7CCp0HTiXUZ9PB
b5BBqtLkXmZRuQLf0oLa8cIN7mCCkMwEv0DglRum0MOqp9JlaJq8JAnYednS01qXKZdmxh4FY3X9
Ock0jY4K/syuLDOQwz1yIM8MsLnqgIUKc1wbeEVXBF6kf3f9hZ3yy+HCdEnlhDK4qoGost1fLmgj
ZU2nimRwU5K+uGTK2G1MBVC1lU9RI8rJsqrvkT/g/h2lu2/i6OBROnxsRkXsexRRy9D55g4iuViy
BcaiO+O4MvFd0b8DN+8IarR9I5sNPIV6GdvfUtxd4MA7fy29nipYHW3aJknuVO1r01TaPUFJT01n
q+e2uIu95Kp2SoD6s6HhH4v3qLW32QKk88K1rPC+73T7IWsUkiWDFhcGns/cXA9dNIArYvxrFFF7
ziU/qTM1xqoxAXQeTUvuOER6xXFATue9E6VEBYSMkjrb29lww2KXXltJxZewQZlvVVGqE6KKUJjc
6U9U04bTxzO9vQ0ZdAh/MNZB5Psn0sLXdDOSq1X166zA2W8owtk6KYkViCAWtaXm69IdtF2Q6KQo
9P4NRYLd4jCk399U8Rd0l2A70QIMAubNmFCqEqPkSKNnuw1JrkgrJ7oGIcXDKi67LeIXyjCWauAX
hiHQ9D6TsdYkjdIaYki8Eoccg95Llb4A4tD2bY6Zj9ZcsLYH/dCBajl5pZatRb2uPcYDwu+Hm+/i
RNTiNr5I0msXg+/Za2PI3il4yV0uwKXT8LgQbnMiwDm6psusDcTViMJqqSb4FDujx4Tv2PmCBJhi
PWjkJVrdD5iC6VHt60vWperWdkl7Ei1m9VFpb2bP0cPuTbek9H3XYgTrIpTKecRAaPlqd4k7j95E
E9MYGt9ylwTQOEntm0Rsyz1D29OTvCMC70XE4RSXgqe8yCJY7RwQsalsiCMsdhWAwg0d6e9mquv7
wQG+ITpXfcTKtof8OR7ZbZi83UnDILWdQaDVkjTYC+GyxGGUU8R1kpbHVNp3JafKbii95lyumP/4
Wy8PUeO2P1yNvFlP1PEZvQtQSMJpkdXX9cWXUX1JhbcCnyj2ruYC2fTkmnIGmUg+91sPEzP27D47
+2V9biMHn7XpDjc4si3ZBsqyy/lZNo6Hq5vqdI/dsNxE1P82hVWg3ukzEGeyJdbdZxYWjHtH1ZIL
vvgi5QQbkCnvNLW6kCF49hlyFUE9AJn2A6xj4AEjnZoO4RW0rb0J1glL4tjYXbvtBQ4VXhLXcAzq
q5nCLULtwGadhAgiLQPybc1yFSLdG1wVPgnvOimqigJsVNwvg8Lv78YdvHOwMaOp3qVNo97JUfZ3
8d7KaVNHDRupJrpp0YI/AskDxQalTEBR3SfQyrROWWi/EREYrS1n3EUo5q9a2oESKcBo+hYOrcDF
Pmw7BpRy4b3LEGF6Z7wOvqtsu7j2+9WAYgfLGvrEYUjGg4EfbeOFzQ+niSeBNg9OqeYwrSkKMbdz
jgTOJdsOXIDMAvIsm77ZK7p/VyCyV6rRfCzy+izQQJwj29AWrScQS4fiGf+h/mAH+jFUJJI8Fdyg
ZS86Ax+hwmH7LRrH79JXnG0xZgjtGq87jaUG45ErJfDO4VhaT0i26kMyhskywz9veqNzN49lEOlf
60GJLr4jLkHohwQpZv42SAipp5TB+K6rzCUXAnsd1l1x6B1nWdm+cwfZ47Wy6cFXQ/hgonQh4rde
d8b4YoWy2mR0bBZaW+HAQjzx2JvXkphfLl/aletUuGrLeFfDVqQmUvsbJ+lWhp1hNrNt3tYNYgc0
80fYaMYezvwd7YOJZ9OaT/iTnpSQcEG4CMVCRhg0sF8V4vDTU2bvLG8HnRY5s9nq0E1iIKZF5cei
Xg9Y8+a/uLF35ao8bswpctjK3VFdj+iWDh/LEJAW+ILdpTeJaatJRTg/gFM5607tbIZZJjTrh35/
EN5BjUprT3gzx8fAVRZzgf7dV9F7mAbjItvx4WlZjjxE04MTjBLngIM9CwJFNcX1cbs7EBANulLP
6A4rkkZv9/bxcojnHVzKFqZpexDTQzYpkdooI+3EtOIV/Mz6kJn+ymFKD9t2kAixFWQn80MIXP1A
lF19aNLw3c56sQGNib7bq+VaL1S56fP0KTCDJ2G3YuuiRYLKnKXreJLtpBKvsBGGHm4ZLTo6OSfL
KDC9laN80OEdrzI9QzTTH/J2sPbdJLCLJpnf/PDL4tgDvx+VysJdX8fr3iyHRVfnzzoeJAYHk5J2
ehgn2dvnoiAoZtfV8DLisGIayQP34vIwL87Pgt4gKXpejodig0mhRomRXxEyPtAiDPZKM/HEU0fZ
9lzsVzruPRHq3grL8LhFavyIljXEBEwvsEvknRohmMRnfRRVoawd7YeKKrLvARIamLeY03baMnFt
YtAqiIRmUKGzww62bqpeXaXEE7p9TF6S99hQY98EDn17CLxvvVdvx37yAZs2mJQusUlCKzcO2mKa
LCSbhpakL4/oqk5JrOyrjA1FveLQCxomMAG8CbWjEHgLRUJfJE26F3G/FuBBMCsS+Nf1a4chzslN
JH3hAgxyxb0/NTWIx/lbrkSb3s3bFTADsFxW0CJw7076kM5z9RQcufJgWyT1hn5DOTMorRWxpjg3
jfpIaWiXTwKkdA6wjuYw5+mB29feC0RNSAtL8aR+m9ebn82vfa778d7/+OfPT7BCioNNp4T0Rf/4
f2ZzXvbnf4NrJ9p6cjj+9NnJvI5edelWy51DOWtvPj+8nEZFiLF/YJ3Rx/X8h4LL07hMiJ/1+5G5
3vwJ818+3zd/lXkxCUqdMX+wIrVFWVkihmKcDxA6OEMKF+2tVJgguUXzPY79rTJAh2CcNq50hLx0
6LB5HeYHIKLE/sWqsbRwt9mIJjboR5spG3FKCCRC0J2I7+RrqEfVTpCAwcxYUCunGFbq72EM4xcB
nHUA9mAdEnJ9sOtanrpRmvChd13O5PnP80PLPOjggrVY6mgNgM8YeFLmv3AXtA4yxp4Qx+N2Xm9+
aX6YFzMrN3cY8Vf19CHz69Ycnz29s0SHgaQKIv3nGxjJp9yJ6TxkpXSha2I6d5VmnyXNeLAEN09f
gfW/TEdlYgRau/gFmc6DlRGrSPmpOPiBhWFgfppnymSdLidp/vzC/NDbaomEfpK8FiWDsLYyYJ1O
IqmPSPBJn/q5OMtTP9S6ny/OwtXPxc/3zWt/Ls7PhqBOMeQDnT706miuWkxjePGmwxNvkztOY/bH
oOkJFaYHwAAoGxBe/f6QVzaY0M9lOQlu/+Pi/Idf9Mcf0uO/fgvDAYxUWlKtwpZaB5EifAla4OCc
5qejMfAtPv9vYrmbrcUtxzJbrvK6v/M/FGHT+z5X+/xPlUmY9rk4P/tlvbkb9vnaTz98/ssvb+m9
SlmPxtmb2PeUTxsyBaf/HHSPoZUAFthMJUqG5mHWoPoZ5IndvGVK/AHZDpAL9CrH2s377HOPzove
rE/OipRp2Mfz+eXPVedn8+6Nig7B68dKXadBn8ydbNyi0twhomXcD76+RBdUrCom4rNoHI6fNa7n
I2AYiWN7mbXWQPAwP9jYUtdahQob4wKWxzzbJzWDp5mpPD+I2sV4/bnsk765VOqQnELNhg0yWsww
OLjmDw2nO6qlawF1CR9WNhlhliI2ker2UK9R+M37RTDw3ehV8YhyuNv70whGn3bw2Dwh9Vh/ing/
98782k+7qJwP04+t/vmUXG0Om6htX902wBob0cVCEHSUxTgsRkCeC9K58xsxO8fBBzKajtZwXyTJ
BDhjxqW6G1epcTzGpYORxm9R/tHDNBMCMvF3hOuyaept5yGmKxhKgrYlJYYWxHmo9OqLdafYvnFy
85uvTWhuT+4DNQBHjZVn0Ybat1GrzUtVqNB/u2ivNxdoguLoZeatcoW+o9DyLdpgepcX00HbNTFb
uOfRJQJWuy70yj5HJIqNggx5JzUf476Kt3blfiu4WKFyjdVF1HfhWom41w+R91qJXEN60zvLwTSw
QUjlmPolpTFbfSX7CzW3Ho87rAlfyUEf1wS+Eb6G3IbcuvIK320jkBEvfdUfNnnPhF4x5Vs0Dq+5
0hXHKKYCpaoTKZo0CsYGnr0RdcIMP3HQhAPS23vaFFk2wqrOFG/rB3Vwh5qEAKU6NwXyMfls2YWz
lznICz+TEDZbb+dbkDUc1buv8iC6d+qx2oLNe+oys1nTHE5XKIuAn8vCXeNhtN7Q5ChLQxsD3IrR
vudkuAYF1aoonOIpo4Iwb/WLJU3M27kPyTgbghWb/ZJLl/xQkb8ruZpj4iDxO83jHXXQOy5I1dFE
zLFPo/QSxzaxbGjVCMfJHpF1GQyLzG+DLlX82thXkSUVCk5qT1ELJCxy29pE/jRjF+8Bs697mXAr
jCvvgD2cyLm2fx8d49J5pQUtifugDwplwjlksA6WKFoh+dUYwIDspwusXGZ4ylo3f3aBYinG44BH
5y0NImUR6K2+04og3RLTWzZDe0pAGy2Q4Fd3ei1xaNca4EDNO1UFNOxGGRhn+6QhFN21k221AxQi
76NQ7CyoLCjlWuiPE2TIkPQoM4gXIDbh7KYxEz1udIrrXEbYE/uc9Em6Q4G2DNNt29yaNgZo05nu
Ke3Ay3UO+ShFtK86HxWppIaoWvh/hA/O3O2kdRx65bUFSGre5JB4pzTMUIpmYXeMtG8K7F9y4Ggn
SFTYZOQ23tK3K2tv2NbWu+tA7emuwuWivHgUsdfk5NXfM6LLLrGnPdO/YQTLDH0DxXDN2V1chooD
C9QKXhiRHzXhPKC30U/Z20jL+bnxvumlvJdR7t+0yHw1KnO4AyVvHQopz7TwsovlxFzEPLUjWGhQ
yQWsn8UgrAe9Ss6pLuJTrQ7vAHrQH7ahfZYKOS9AH+XBg0080lx/dJV03atoNJElQ+uti+fecMs9
89M9ogh1GxnDqTMl/QtY5CV9EwIZxbHTRm+t6zHfjg28EL6JfUqOT1jOBKzwRezrw11ibAI7qG8u
LHVR2FxerZRSMV1RUroZIqX6kqSfYQudSd3StIGJ0qXBIiQX5OSGdrEtUvoHuOSDoweoJ7cMsj8Z
FIiksUgYwCzVjN6XoUNAatZwzTq9HeE5UiOUsESBlpnGkYEXmrlMj3daRWIkcnJfy9sl6fMvsueb
M9vHuyCAjxX4rPUu9c+Kk/+QTf4Slviz2zjfADHi6Fbb8lhhbrtHevCgC516AotoDEuDbotCvrLz
zUtH7ZKX7qUNk3ovHczWzIovTQkOVoaE/xp2dEhSYshou77ravHoDXDtA+lugtLZFdZ4jrPypVDE
xbbEsFV9eq3e8FVtEg1kayLXsSf81dR+1IwfarzvMVq9aS+6n49nJVTWQuxLp9UeI/kaOQag3c58
7fXW3rVxd99Y8W9WEgt41vRNLBzjKZTqjrnsI+4CqF6OFPtM3kN3V9fdYMMfs/Pxoe+oMILeInnQ
rrcOs9bUjpUnTVd3jnPS01h/DA13NdAOOFkV/g46D84yw4awkG6nHmWg7otQbDqSVEfItWtSXJqL
1eXxuigqb+05D2pvilOQNxT6UdoNkJC2is8MUCpOsI2pRyFwDrBr9adcTZWz1a7Mpi0f9NqlpGWU
17DtM/IKtfaUjd+KXoqbS7muJd2OoZy97ukeDGkvX4wa5gGiVdxg4YMX2OFWC2OcnLUo8QD14ZNi
+N3NUSmEkVoIms9ub518x3Agvim1Xa3KaoxAVHDQUo3EuhX3Opb7SVjaBT01oKS8IRjHs5DW5RKE
N52SlGpCO966xmwP8yu+gVHHGPIfSeylO4wXywym6FYd8pNrWspurBlD6SPch9rnhCkL+A0l/48Z
d+U5iGEu91bPedFmCaXhJH6SjY11iARY6WYxLOcW1eaY0fGASgrvNoduaKUHfLRizTGxrNGctzU3
BsdGTlk28rttNRdZaIidZfSmqMLZB/l02c6oRcscUolgUMnQS3ibtBko3RNEzLV1NzKGunPsZnsw
VGKLB1dx4JlXDbdeU3lICed0TfO3XLb9c2nFKDHtCKFIGt3XaYCfMwq20M/Gu9BL3gyYmee6Q0GJ
fl09NDfFoQloVziwuNBvabswlTedbUX4EfXujHsYVVEdZXph90+UVjh8sZTAAjOWhRGYB9e2p7FS
/0ZxXt2mMVN4l8zSsxl7iIdGfQFGfbiI/haUX/kvR7CiVrOR2vgS2oKAWTUsAS92QBukIUmVpWSK
zt9Zlrnz1ACeBnliCbC1/gQhT74EKaZZ2BDYs3u93ghbUppT6e2WPvQnFcMDALP0xTTTp643GcFS
YvX8qgHx2tuMB4bHxMrhAQfAvPs+uA6C6udEbVrGCrS1yAVBb0h3S1mY4gq2QNV+o3mnXVSn3bIh
jSzrvxqkgqyBEf4IBJ25gj7TbRgUhpVNeHK8uyHo7JWepw/wTsmBjkgUrTUu/wxhOCrkeNVGPGUe
c+X+/3F3HkuOMmu3viJ2YBI3lYS8K5VpMyHa4iGBhASu/n9U3/4j9j4RZ3CmZ1LR1VHdIZUgec1a
z1J+f1ssknq8ZPrI6JqZIC/ZW+wNl+QZd9jiWd0tcwhWCVZsHv7O2qncmSO3q0JAFOV+fzUK0oCm
2YnyXvhfTPGXqq7ckznsw44kWGEa5B+WOQ93sM3fjpExSA69Lzy90L3P/sYS6Kpk6b+nS7X8IIwR
sxTyVa4PPCvTWAQnUXhPj3Jr7EJgMlh3dXjoE7AGjvlhtvVPnwizEDzhMc6shRjExWDMFg/nhUS6
s/Sqm+X51PWoRyIidMD7FXQaHbX0mVZ8CAv/Bao5lRdC7IFAiV1hBS8gJ7u9eo5LTCwe7NZks8Xi
I7d68jZpIgbGwliy0kojgMhJ7oiL3PsWJuSnpMS8uKXXnrU1brSekpOpZtLmC23uFXkeMKKde1BX
wd2tAXyQhMAuNDuxEtwzymauInCphFVzajkMetYxG2tgDNc4FoORRMXHdnAeOZqZNfgLtW+NnmrZ
K8oDyyr+9cTCrqTYT0uiZczQPiNKYF4sJjhn79InAFKZqoyUbyJECoO7nML5WNjmt6kq5aa0eKD4
LFVJ9jpTKihegXT20p9+t651m+at1B5ndeXHWOTDOyrQm20xbLHa+lAsuFRV1W+yyvXvbd58k1Zx
ygZJCC68PjybPuGdbN92n4R5yqocTYQaD6lVPXLClQ/4/woI1MFfCh7Iel0fr7pQLIfJ0gePZ9vN
9sIDuCWqijGoGeFOP7yeBYwwhuzdNYtbJbAOTjFlk0fid9YBRS0g5QSN43LTC7VWpXetU4eEreK7
K2f/T93HP0TzLXPM6eHl5q0cnG8N0tKbH5KCHRbWUdmiimzZz9SbGrdk7rp7wxpOTaFllGZI/dLa
gqTY0gHzYEFuSZw5Wqxj+vw/K1eRlEtseGi9jaXcg4it2LQtwVGlBP0EZvAoOH/LeXBP2Bq6NWlC
Od1KW+1MnM47S0xBhNr2L7PxR5rW/LIan4+PnBtPevN+SaxvjY4vlEfYAB1v1+Xga80MtUE33cfi
7CfVt1Zo626nIbmmbStJ9WmW28QnsZJOByzWYI5PWGVjER8Rz+qOk2U4FC7Za+LVwxx0wTMJgD2x
moudji9lDjMCu8IljMt5LVFNbUtLHpPQStd+EKS7T3lmkuGC/4y543xdMy/pWXK4HdsgF3JjOspN
9yzGC2O6/hwd9jcDySCf8pIqbdYBKLCrnvtfVkDgOAvq8xjovRn0ywGvfgPxESp4ki24CIHrfl7j
yGQ3AAjkQWf6LzLEXWq1/NtCsO1nWbOabNbV2URNaYpTO5R/2kQtIO7IDxtZHR891KNeXFmPdJV8
pIFxZkvTXJPpuyERagYMIe8IovNN0vK8//xSIHa9tNX8hWSVYU/lV52XCp5f0NKf1aQ3iBwlUhmo
NZlo1Z725q0PGgqLr30nkEqGBH3Hnoy3At1IpDU9yOfaqbHHY65j55LH7ce/RwOl4RwSLHcNfzkV
Z35u3M7ITeH6hueafmSV0zhvCh42+yIMfrPx33MYDKe2LzDxFtYpyT2xjfMZJgLB5rHpGhfsRhiX
W9vbQF18CD3/ob/u98bs/rSnutxA8U73Om2sFT3RqXTdryz4SJsr0hBBrvm7WaRGG1QbW1O4/WkY
8LRx3+zl2BRsxAwCmYwh3pi2QqUrwILXgrkQNsm96Ep8/5q8zzKsWvL0ZptsTr4l9UugI5jNo+ET
cNNgHY76GvhVzuJjR0cMjoGba83YpjzVjZlHc7XcIVkbm6fQZujY3dQZnhIrnBAjEQ88+VE/DnsW
Ec4Xt/ltLtRHc6PPim7sQB3+hWumP/XOQzHVeCmK8GpIpjTKNKvtkJrTHUbSSmFbXXOZZiuYKOLF
DQ0sXRQ3Iq8vpXJIDqicvWfGOWd0kMLVhz2WxkO1tpm8Hu38ifwve+p5ZF3bpK7UphfZl56Z4sXt
nmkjhKU9B1xZVKY+fKoZcyk6TL0zfOpMier3xH82C8Kw/LmdMWV5qN1AtayM54CkVP1vmcHemmRy
t5PxlmZx+IEdEYlybVonnrvEEkkgjhndookw8FgLCM8VEMx9iFAwcnyo4MIFRx0X7bUqmxafDHGj
xiyryHAIM21m/DIKe96c/2k0O9akr6ddEbvDOayKcO+yKFvXyvpr9KZz8fuKdJuuvWmt+w3Yq+PC
VbqeumDY1x7rcwCl/S2NS+tqVPuib9KzZOWFEJIYFPZD07EhBOSeLvnRYz5jpPqme+9dSuPiOXO2
Fb6lNkNoHhB3zBeVhwJTTjJc/KS8GW0HHPfZkCStm1+rZfiyDOnWHwv7N/Q7ECWhvYrFYL9rjsRQ
ednb2JEyCe7/2vZ2+z2sxm0nyl+2HSb04/Zr6xqkGseoKIAHZqvKGaqXwaMiwaS/jUG4RE249FTm
pDkhPrkjv3QOccfdUMo0ohgjXE15eeQze1ij1sk3aCmfLYMeMF9hmLMR0PnjxZ5aRFENRHe8kXsw
zeIZxluh+AbMgzWbbv1ZlOSWlR8TSY/A+pJNu+z2bYr4csFpHUlHvzkudANI3g4Lg9iOIFBziBbH
eMK0aWOPF/YQ7/LBGthgYGHolSCysjV/hFRQbtvxOy7k17EoDPjqdv6AhkI0SBSIbiZTDEtC8CQe
mKL0uF/JUBmT5KdwC3Av+SPhuLgSUve3mu2169CSB8WElIdIW1hqCC7xAXPuL6W57mj11uxRjO1Y
Ztg1+4JMU52fg/n2pKnSN84xwHhr2QX9uwE8NcI+axxYwTuomRbCxmJbgZ1hZ99Xwj8WithmcDv2
VjWZxcJJbLmja4SS3Kgdu7zYuNn1xOqqEwD4zOFkFgGBAqibynuiphROEsesnoVYKz+VBFi1r0Xp
B4jALw4rfBIQQBqGtdj+M18z+0ceUlF3MpxvkGmNNYHXOYa0+MssOxlBx0hWopT9zdFEiTbZ2ej9
r58jmNLXYu2mtrUvvkE3JuZvQRDUEKnJfSMmloijuemTYtgZ3R/QdwS4Zlrc63H87VbeKSxjHfW5
iVK/1BCGJ/fV7UmFbBsX2UQ7Ux1gjx1DCze/7OhZnQknGmnivO0Xp83eK5zjm56R6dpxcTjX0qU4
Gpmi6KeEI43N78rK8w2saxPZrao2lTNx7aS1d7MH84nH2E5LB9YdEffGW8D0Ejfa7vHpMv7zqawd
R5YP2yrfgzF7hFMiDkkCU47YUESe5lhtYf+JbVO5RIj4w+nJsDSvoonnoyudPwMSi/MzEXOycrUh
BLyPMrPjcgPyt84rPL1JwRMuo1LZLBlQjXawijVeHQqMEY1jL91LWozVKS/im67NbeA37g8tL/aS
BmenYo5U5bhP3Hz5DeEiWVfmwPXUkSA0ZFlMzd38+RTDQ1X+WUuv/0JqGYhm8rDincmbjIi77m+e
njeu/e5Ok/67wI6b6ZgQx2HsHK2fFFzZjYAe5n7dBCUvILDKI1OtbEpnmzfIUwvu5jXTZhAHQ3dp
dHAGp1k/mNuSTUSU1IZq6l3lLVjK0kA9kLnBGcHRNyFld2oTPBID+VlRV8b2Ctq4Isq5R/EQkC9i
d97Zi731bFZokvLmFI+DyWY7ZLcfJunbzEoCqS76kLqx1nkLdghV8bDvTeu8lFJcyNQ7TDhVxPwK
Q0Ae3LSDOZxjDP4cPeZJu6wMdbeLiSm98YSzq/xrSzN8zj3jY4zZvwRoPk9JIW8EKSBehKhnO+xA
a20lRx0+pJ/7p88vJRB7MI3Vo/RjB+Wm+JPSoyIcRj23Ah70Y86vVMnNuS686UtBvmYSp1FNdsXN
qYvwTYrwteRGOCV9GHmgA7irC4ZxU8mIq0jVDSVcf7MlgPfYLDnjIxPcBINeJ/IJ4mvD0Yx8ufAg
6+XFKSrzxJJFHeYFnEjapOroovm3CuPclkP5nk158dL9tPt2V2dN8c7TGQP/DGmoA/xs2PmribKe
OKiZlQ1EqEtoARRcin439bhRxx5UwOdsweoetCjG3tQy2xFXsWpT9h9m0GV78/eUGumpHTntC8d4
rRXf2YO7mZUVXuaqOBgNANHWwMWOAe571g5BZFUdd1TQEqkUMOXNJnulKWpJTZ32eByYYaW2sy4I
gWBgk+3nHOSiCwtyj0IEudBcMVuqgmA9evDNaUY8suXbV7N3pp220q0iNONR+/POUWj1msC6VjW4
5OWpoBll/6jJF6y1hqBIr3aSjRtAXmZQaGWNOrVGumsm27yldfPBr0ASj0wJPjvW3Ul5+/WTYIa4
vdq2Qf7MbgXE41AR79DodseACUs6NUj2PPs8l8ZPQ4/erobavfWJt9/K7EMl1bSHpzuvVO2NDFaz
S1wTcZeUozqTFiRXMMuqK5GlYYOjM7CrHzmn6erJ+8Lxk1xkoXRU206+da2c08jLmo07YeIwtOV8
dUeGw4X6UjRlfCx7482RSl77hHPLF1a8azsLPlW4vHQwhO/x9LdmKR+NKd0FI5/57qVxfpvIyjD9
+mtnyv7YYBlDmmcio8mWEY1srS5DLQnndukfiJS2IK9eMB25Fy8sflUJ7P+GpKgby/7XsGT1wbiu
I6lkFZgxoOyue+WZA3qlrfwT8dMxsKOVgUtzP4YP5t7Fq2H8LWfV7NgZAtx5tjpaEv3BZORSEtFJ
OE7G1QaK9uwVzi0XTXMLLb+6lv37P9/YI9cFkuy1kSHY855pvIbzJHHVAF0zQUYZj53mLbM1F4mV
jGdHuWo1DjPY1W7x95+GC1tTQdk9HSWromYXmMgbcy84tyMrK5sgtbOe8y+DZpJnWua9YWHVp4MX
lVNrrH1pdUyi7P1np8hbQPWbG3u/V3y+Oed94CoEtp6/s7NlWPvmHNOjM7yb8unuJnScSfzSpRaQ
jJ62LA5mALd2GRVxM0VofncQ5+lpcRISDDf7F29pfyxVPm6nIXCPbWJ5W9EV35LneeKTxbhulfGS
9GOOPn2e9ugYjQ1l5BNS10Y01S9l7egLewNj15J3wpqDtaPseezrEM2egPFfPyvWmrIYSQy06IGH
A8OuYEV6VLiqFVSjsW9OpuExfOI5DBQeTZZfR3ncn1rIxuSlI5sbR/xmvCc0iWrcBQMDOSz5H2ND
W9bqXwwwi/0sZuzlugrWluzgB2fI+R1bwTzR1kmaS36jTwYg72cu2EeXXUQtG8yiUNc65VpvDPRH
Jt3MWPeur+c3kYv8JeHISsCyjqY/v+re5SdMcgfQPq9H+SzPMiuKF/vMcAGjUW6wInkGTsbdgC4H
C81spfabT2SlQsJLRBL2Gocxrw7kHw+I3sGgLr7WWgJ9EZvCyLzvDh5F35vW/uAoDibQ0tbz8Kx8
c9gTy94arb3u5OxR/JH705Hwurcbn/lddRpR8+GiJbVkwhi0QkEdnlliHZukze8waYlYmxj19ipX
R4ncgp2md5VEDW4WGi5yae0vsfd9Sjz1wYf1nulAP/FyeuU6A+oCkslWlpmKbSrs99Fpfgq71dc4
2NlV2NM/0wDJOKT+8KrHkmJInrodLBr5zfaNSFfZa2XrOjIGT92XpjqINl83oPjWn5u5ouRWhxMc
7CFb8OnZZLh3QB2utshP/vw2CAToc1OGHJDlfGtSQpxjD1J24PAm4e3ajbM36JTOpfhpIMfdJUR4
s5RoeWwO/oYNZrIm7So9qYaAAIPg9I8qVVGQ4h6Bh/NMN1g0oJiMaUiCgrlcRLLpZ0fualJYQqVP
wzzq+1uCWOlEuumqyj8ondoNYuacB3JnRoO37IPYYVVieM7Brqt3pNLTKRSTPsG7iSZAJcdBE1zT
IVjZhcHy03eS+mTaTnX6/FPjyvqkC+sjaTu5jR0S3BPBl88/TSAil8mYmSWV/cU3GGw/kwqVi06g
s+J5bdvIxoIsQTk9NA+NfYhNMh9zPZLrN+UhIVl+jV+hWKy3uUu6detjY+8S0sKnOp0uHev7T3sZ
AYr165L/evKSWhF733r6FbLFv8nJHx5OmZHXCvBtpcA8Ss/wT07xNBVkDAP7ZrnYo9IvTv4dWaL7
Ch5tJ+ZwRGBGwnt1amQ/bKzGtteFImyj+ppS+e9YPzDVRb3OQ3nxt9S2R1Zm1F9VdsyS6aswK465
FI5LGAB1Q+b941MfMSUz42mdtZdF6AQ0uo26XMMka4NA7oJ0fEvD3D4TXhtHjKF+DLyQHK3eCjXF
X0u5QMhdbuPO9J56FXUahfiorOmBPC8kCrH5lWcLGIzY2My2ax3dxb2IGJ4LyATCKsWwIa2TxjAY
Tx3rolMYV2c5EOyqJTZe0VB1O4pgWxkCIHad9wTf+5EyCWoLW26mpzwdFPCUfySynX3N5OxsAdW1
x9oIJOvAklD0oerXEh9dhL472PYV05NMO8Z6rlN2yfJtKIM2SgJOiZpssjWqAGLb61mti6Ei1WZi
YN6FFmNFDbBz7Io86qthZLXXuC9Z5pXoU91DfkEDGb87fcsyntOeTBkUKZlPSuRUzz+QhrfA/46J
YXgXRlmU/bYRkYEEpLn0/1Qtuiiem7uKzUs19C2qd4L+ypyZ7uKSOlLPzR5hld7Dw2HuxuC5HfeO
Ns29Uf3E6NLsxia7pQxkVzhL+n3fe1Hv6V0x5P4vve+bLtKLHh4EDNzArXebzjXKjR6YfwKW8FZZ
MZLgXITWE4hu3dpRXXKBbblqvlaM1FbYiXzOF0m8ivTVVsd0eT6iiTms22gflgrfi+dP2ykJJxR9
VXmZ6uHXlFvMJclgdmb/vbVYkbR+YRCdSDahAJMSKekyUGVdSSVtb7wgtC40KC9dbHVH6XYk74Bp
bwgRVK69dTKdXPrAus9DujCoLeMNB+F8TBMM9WZtsg9j/0T/99Q86qshwHF2S//49BMoYb0h8GwO
SlEXCZG/5l0z7pfa+1CCEDVSz8hUbYzfLpirfZUWbWTMYYjdRmPTY+u09qDen2ulfiRdq07ZOD8F
pO7/50EflvV0kv/fQSaX7BfWkB//hTGx//lH/8aYBPa/hGWznRMhIBPbdACj/BtjEpr/EngTQ9iv
rmei5cYv978sk+BfVoDxPPRCx0PC9ESQ/C/LxPoXRnfT8WGs+IBIfPf/jWXy36Y8HruO5TiCsTcW
cCFM5+mG/Q8HeAsjTLXIlE5GbL1ybjWXeBnR37A1anT4c7Km7mgOTbrxqdeRwWWMfNo5PYH3u35+
B+w5OFZl+DKXnXip0uprS3bB6fM7F/0cT9MU6ppMfonK/FPb/UtjGOKc1h0pkJYsN0UdZ0dbexHA
uIqe2XNXfdugd6sGFNJuRcPV1u1jmsZvko07S/3x0Xd9coMW4bzH5D2sjMnsoeAG06HR1Y3f9b1H
b0XD5mVbz4tJYQ/NLl11QxWfsN/sGT7hLrIpcGJzV9lJ8mK5w7iZZ1gcmdsTsbro9Ien2n1FnMHW
SRlIzZNVY5HPU/LdA4LhJ1KgVRrHKxyP4mUxhwygv3fHEGW8Vrn7w3F782UaRXfKXIMX3f7CC6pf
/YrJ9gL8hQyAZtW09vw9MU25DoesWBFtMK5E5XVbYU8s/1OD+E7Oujk3x9cqkfukDcJzAIRvVaZF
dYifiSl8fCTcO45/DRCFb6y4Z+Jp5VjExHiTpOdhz58PFskEqBEJ6xYJ6h9rIAFb9+FrsNBxgqXY
jcSyrfqCPWBjxx5GM5Y4GXNQVk39eIae9eqRALxjI0iakmfVtxq+SuFX3nlS8x5zZXDW/XRkw0go
mDsG24Yfv+Y+aL+ku2dk7C6WkWHOIGEeR22/5t0dzCDx7t7Cx5K6yUugzeJS+ZDIYtN/uJqEOA+d
Jo/miTl8iVFMu+5LWMLRdok9SJXxHUkWiDgVtqd4Rn1Xth9JpZqTBfttnZqSOifUa9cnNXd+LtSn
gkwye/JtPHxJvw9sC5+6XazFbFr3Ppz0Wo95sPNBqK9m5zZYUv8DhvovLtR/Am6s/7b1c8Phlgb+
E/pmYFM+/J83XNAPuoy7pTtpj8p3jBtvU8XPdvFZQA/ZpTeH9OA62atKE+tQZ/03EeO2TEVOlGVC
Ttx/HFj3fzzR//l6bKLM/suX+3xFeN0tDNyuIBiGk+C/jwAjo/MxhgYNWpLqQ1lUjAFcZJ2l1I+h
qMTBHAuMIGzT1sHgfa8s03iJkU92mAza0Om+kM3tsUuzIlWy229LFkDAL5PvWuizR7lFJJf+xrSJ
WbWTJ2/hLxm6M5vrcD6NA/RzC6DUSlgFY408iFFTuKsBV8d6ZDHR4/AivMXbtKjTt2rgHyaeHDeQ
fTs0mL0m/t0diMwknVC5w3Lz5xwQTbXHzuEjgqSxriXCC+Gd0tHJItOiDs27ZLoK86CcuPppjAsh
yTE2Oc9IL51Y8rdkUGeaMx/OmR+wkB0VQbBYzoTlXQrDSi5YnfFHPKMkB5mqC9rGV3s2vuswQVzW
ATwnbqtg73du2Ml5YJbvS8dWNmZN7OYa02Y4blQu7TcwZU1Rsy2dzIOV6Mck2RqkKqRuwJEEdHs6
WIZPxIn+y+hf7dp8eLc6j5s7g5rROqSv9GF6nWuT2/hJgEiS/Ey+bBg51bcKH3yU6dqNRBmqjaqs
H2GAzpzxi0ftNHyhlewYqxXFATXzRlZhiQUKcqIvEaqlKt0YVY8yealO4jlh/5wKd4UzvtT+EPV2
feAlgWufqb/wEkV53lMe0uyfp2VgCoONnKa+pb33iTKyxt+stZr1Z2muUoIB2FJEduXPKI38c+oy
qR2R9AZ+359ShBX96BYH6JrVelDdN+KxTMJNaM/KxPN2Ih3Ah+MNX7vYyTdyoM+hJ9fooxCYPYXR
fTx/GekfVuOcb9UoaL/VHCIuEWG1mXqb9A6UBCVAvUihfCP8XIiTvcxvvKcbeo1XzKUhht5svPSW
dy2XlsDkYbKun4nyzxA/PwwQtqSKgjoUGDpilgKW/TG2bLoUd8eaEYy/9Z8buU7la7sJ1SmlqG2e
bakb+y+M1Yttrh2AziUtTPtskBM3u3VEsEDsem9droEyZKVBX/PDDUmBTJhid9JC16ezZ37FqzEY
zygmv72IZxZeFRYPtybBUjG+CJtwF07oDWqns9ZYPcbdJAAOSAIeFY1MQO6xb/AEiHtjvszIhGox
1QdDkCU+SffVmSxxI+lSopt6YkV+MV+Q68/lR5HFb47wPxgaVSvDwQdmMI5H+dKc524jrWmNEHq6
lyJgN1jUV5l3xia2zTCK6+zDtmqHWavkdkgxq+U5qeR+uhTY2kZnxSxv2zDsZY+OLsAYs5qhPrVA
gFdXBdAeGb6m656nVIuY6hWcN0vATzFQ+UJN0jMeN8WG1M8kmmdW4UHfvCfj/FPIodsLJ7nnHe3u
5zox6+bHlNXZDlri99Ag4fbz5GmX7ntqInAeU4NVntt9jHX43g+usbLwZu+m2hAbHGDZrunck5kb
EznTNUy3xd658Zs/fO1CBmOudVemgcIV9C765ESh7oblEnoqyj17P2gzOzepS4RHabg7LcUvmZXi
6vyqIExQM1QbBlhbLOd/dVZxLfZsy/v0d9ZnXvQp/Kjj+I6ab2/VqKSdkYZ/yNL15xknC4K9O0GR
0fuMuaZRnWaVEQHBKLGyXMyRuvve4Fakx1p7koT7zlTfZdW0m+4Ju0AHFpAEZ++KOTdAprrOIX+a
DmwxH2fbWyKyA9Bw4Mh0q4cbE1EErJIwuMm9KnwA2887snKydToD4UVZdZQ9BVXXAx0Yu+HaLI18
GTswqmLpznIm8rhVTA55cCB0aNUfIp+w7w8gl30GubEtr3FnBffQTEATB3PHqJL0M+Q9QDSdgeUQ
2RUC3shSOUev9b7TexOkwS7n4WG9EHJmDJVQwjZZelDhc3hdVUwljefCyQvfCIPw9jVUDKdcfDT7
m7bN7I2fG/mmTmr7Es+kzPWMrjb6uZ4ogvwA+coEBK0RWA3+X625/1JVAKUIMvM01s4fkoRzpCg0
4MIiENoLE3/ran6CqiQmuNHFJ5kE7toZkt9FWNSoVTJrFTfNNzMW+bFjiNr4hTrVHCbXjiEakrLF
AFoCq53u4VAKvLTKdFfWc/oJcVFuDQ2uuL4WeFMPhJCtnKpkpmDHuGiRuCshxNZzyh/GMtAQegwh
h8VP7n7CZiUzKchKrz+TdI5tYqV4GN0Y/cwbumaaYZNlXDuQ7UESHOEhjM+ixpJXbabtJQgCAUVE
/xgUiL4W50I0KmVHsDjmUxaos8eZtg1G9Icuv7HnyFhv+1j1G9ACPCCeIr3W8XlvBjejwPt78LsO
w3DOQgCPxnhGifzyufj5/E4XeHeFz/aER029gdEiXks73bsL+ditSxx2jdV3rBKcw1gfNiZD4shK
pgNSoZip9Rqazc4JgvhLJQdnPY9ttVWTefsc0y85QLnFxejhk3YwzskQdTNtyfgMJ6oT8T533xlm
KpQPHLDZ86gdklxG3uICF+ZWOlgDUuxqSc82wWZbIa2t7m2A+Oz5N1478IiHOLFO04dSwZ9PYE5h
G9ZbP1rHIaRqAlsQUrd00CkkODDfukrHeuPl5HuY3X+mBOzh6GHLKAgLGiaodUnSvvdYwnYZkjHg
1zHz4bZfNp/z00wTAL7o6aPQcIY4isxMR6RIh1fVGqDc2ptwir+Z6ch9ms4ItcVaoJJ+mdL0SmYx
D4PF+pV45cktgpZQHHKUuMm4CTe80AltA79cjKHb0q+NB48u4c24BDrzDvBo3oulL4GakNrdpaV/
cMPqm1+2bHEz72VJ2/ohO2SkwTSIqKkGCBXMYTI3nB4ZjrrIyjksnBIIZYEPngTqbos0xXnvfTsK
yUjOwkbdq4lF/ujl2TYliPL0+WWoUWnlOT+Ob4CoiGQ+pQoW3XMzPhABOPM/oEIfD4NqWVKCWuQc
5p3sp3Zyd6qvR6gDbnP+p4HsMn951CUQDJfh5BOFJxn+Adhchk1GNQjPKkbz1TkAD9LnOm6JM7ys
drIfY3UrO9AZklC2jY+CninTRODqjIZ1qco/cYwUwRhHzY/iy/SSVBwyH6n3ZCug+8zIP69K0BDz
fdTpuTDdWyhbeU/bpFr3iAq3tjv9TOmQ1rkicbPpTHurQypvKWa5lX77xaa7W2ti/FiWu5LNBJvv
sfbED14ZL08R15xQ0z+d7tUuH9GvTCUbk8XRR/959Kugr6NkkC1KreLQhNqjDQXEMemY5xZT8qZ2
lo1fS7WLGXZxpS/7kOEdcIP+mnON+h4nWHBA3NVGDIT9Qz96D7RZpDMa5Skxwl/TYJtH0WV/RNb8
pMUVhDm1/p7cWWs1BvjNJBq5iaRIxBzaA6jhFN810Mdydknfg+jFQ45bmb9HCYocZuPFA7ALxyhX
n7uixD44WDbP42D/tDC+k7uIAmQmUnqQC+a9Wi8sNEJnQzIC4vFUsIcyqa1cYsA2DdP0VYPSNGrT
4CUWPuIWTYQzmVbx2f0ecLJdWTg/HAYRBrZsNNU1gM8mOJRITj/cJpvWcW12q6WDSjlN322UyM4L
i+ZgP1cDy7fJvoYdpUZl7OFndyyHqhYZL+UHzwrn+Au7mHktxyTdCFbBmxrijYMdCGM3xTUg5294
xrrXQtmvKsAERwzSOSEl5uzwy8LIxADSzpOCD6buVn6SW7se5wKfSnZsJd6bqiEZO+kOYrH0FoEG
a9ieSFY3Re3V5h9xBoGe0b3Lhvt5F4TewpCBAwAJ48+46J2zi2dihQ7+ZBX5fFX7sa6DS6kJnWnS
kJylzujPlmtfGlR2J17Yj3ha/Bc3tqvdsCiaRNs1LyY197Zoqa0TcUcoEK6yvksjdFkdT7JMfFDl
vpZs3Hy7O0w1KPREF+fAhQGU9bfZctItHljIDAxyLL8tj+C9HETKOdx9XEsntChu1ckTioyCrc90
clvhXizw4v9Uc2Qz+Os0Ty5l7Jtb16NzIMJWrRS1e1SZxGv5cx+eTeROOg+s0+eXBRmKEMUtZkUR
dWyYo0Eh4/Ubc++h2mDnrH8XNneSHikYbWqryU2Nh66H5qS7ftz1z7FbJp+DL9KfqRUY3oQ4MWgo
LMQOM/uDRgTrmJ0x5xRbKmQYoFOff2qtahOPWXkMBZoFYsBARARNe6ZCC/YOWP0sM/MH88n65g4V
HRoHwZrVBbHU/N3Gn4YfTpwXd+4VuD1mStrtQPMo7WLrJ7a8tcX/UHaevXEr6bb+RQRYLKb6ys5B
WXLQF0LetplDMZO//j7sAe45I19s42IAQfbMWK1usviGtZ41hlekZsIKBjFRixoxIB5ibC+lz8Ou
Ic1lI8wlPDe5QN9vdTBROj/9Z3FTFrxGWTwzABVHMfdiZ3VGhA15k7Cl39tl+D3su+KKupQ7C9jd
1u5TH9EdbcSA8WxjN5bxOmblVypdHCDZDBwAvSxbwWKTqyrc6TqZH0SBqDXKw2RDhllxyZg9IPjK
2PpX8yaXmcQJAH20VOLio1JGk8nQC9TC/TDBGupLJP1JHyWv0VQiz+l4LQawg1dO6eU6V9HP62gn
3oupPZyLuuFIEKV7isn/Be/RWSs4Kn2qZnYulhwuZrUS4ZAf+TM0YUfo92qRsHEdh2Rud6gOBjAW
DK7hy0DHvpeOSo95zDZ4niqyTzP/dPulU5ntq0iVm7mx0E414u52rXRCnOiGn+Bu1Y81bEJyPRhC
1qS0XBZGGVs7hCbjDohxBG4aHQ4PC+wzsxwf6b6gNGUEc6ZTg0/Zn6mXPQj7sN880oDuYv2GrGC5
NkwD7hrDfWZpPmKCQRlaGSbx4sq+arIPfqVLXF2TkWMJgmLHcM/iwduQwNtQem2dJPEulROSrqpO
vaOiuwGoBVNCxPhWivxwtdFO/VSDQOxwC0b8SgISTaAqPqnWb19ZQUxHQLjdEa3QPfJQpAoI/u5Q
soYbdsrJPZSHFhYi2gJpEn1ltr7elstYwPTCL7sM4XPRM4zMbLs55hzoPG3N6QAL81cJ7elCkClx
arCsNvkgjEPYyy170OKSTx1qdAu/ysi+53L7YlcW9plxfCE60rsMI+izoZj6460A8Y3mjPSk2LZk
lp6lWGFnizhVwIugt5n59gYipkqRRSq2yzL+qlX5PHlkOpaGxKRQfUSyragewFpZqBn2qsMUTdYc
5FSSCwbpnwyH2Q/eVfZ2y4DyVzr6GKb3fZu1X1Su35oaep0Y1VtZ3FluPGA/TiO0SULcIdvdm5OB
HCOKrcDA0BborPUfF1IcqXf9p95TC2lyS3YlHDFw/ERe2Cs/NKyRLpNuv8kamY1PJIDLno/UQ2SM
jr2cbad6Ba+wvzWSLK/oG/viW+cz0GlbmlujqI6+3ZWbKIPD3BLOEEDO+Uja5VcV+81etV9BnAWL
i7ZZSpRKkck+kMyMoMinZYPfG99VZSDfI03muEAIWpVtfMj4zCcMuiCKrpUxPHVlnNwRWcqK2Bip
PNWHs7Z4QIbytZSeysH5D3aSqUbjhtuQp/yZeEUHZRUbR1oObTFvCrloi8hFFsY4u2dVs+egafd4
Prm97C662Hh6N55j6QN9nLUnhZMOkKiLnkr5LWW7nwrsUG4lzdfIqdmo1iU427oyd7fPn9Jt3obG
ojauXX81Bog5vrXQCuVDuhduQ90svyA/6x7mIr+HHcjH4fl095GFGJH1wjwnNsqTVt7Npb8XiIMO
xirDtWsGmU3mMDMRbX01bHODfzF+AEA5ZhDAeB9xxzaI+NuSG91o6kPYuN22cOffo+XqO/zwCJL9
CrN27B2GCPhhbI7OuZhK7L5FemSWlG7jkYOwYVVNSeDjMSghHoHDYkYw4AoIGVTWiXx1R9qZqfZK
fBMxwrMec2XkI9G34gNtwhjoBrLBzZqbzLw4Yq974jbObVjyLkRMMal0kvMOp1d0Ggf5zc/M5b6x
3eebYngxoy9O7Dh8tAoAicF0r7tZKdrwZ5YOWDwZFtVmgfE30eFGOXoKwpIxV8Cw3dhkqcdz12W8
5DMZ/u2VQl+NPDIIEAJyt5Jbb8OUPtTfWHs811NGmMSQD8SiLEFaNMRoumV6Lr64MdNwoEqgcxtK
K9utfsomORMqMux7SXdBNJl3djRaJUG0ilpMugFUFcc4ClNKLJa7WsVbrNGU/4l9yNfAKm/Vabg2
8x3m7/2u0HELBW0Vw7jv2Qh4lzALGYwW5Ixh1NionTOVl70H5DdgRi3Gze3Vp4SB70adhEH1EXfD
+K4657Xi5FhKFlFpSBT6UD6ZCww+H7SFxI9HmykQtFvozTzy2HdlLpLtsCIWEuu1q4U6RXaXEFbS
agY9i3vmOv02Mc5KmILeJveS69qztb6XHZ5Xl0ZbLcVj1dHmqsqKNzcvxqB8tIcLvUNYc4A2o3Hp
K1A9t4lELznDUcMiU06XMbDyEWcA+68o+pomrXvEqpwHvj0x8V7qBQmhgrRiy/CsMHhhw6aptN34
BRyCH0gtI9qYVYon+/ilne1qM45QnBxW+xdv/eIkHoK/qDvcipbYAnlYtcZe5V50sbh0OuEvA1Oj
rthHok153b6+pHWyW2cCsEgIvDo5/NFQOJ7U+qVE8ovyb1VQx5Asb6RRrbDPcFR3nXjKRIbPWf5G
CCePpTe8Y472mWasGEON8n3srDkAVepdGJM+so+H5ZLV+tpabmAC2yCEz303jUgfqqpOmR5M4VM7
Jl95/v+odKdegGkjZe60t0U0XB3BHrYbpjY5THm9QfREZlgKiQTXkXWo2ZvifOOF3jxB8dL9k7U0
31RFZNikLiFuTTEdpqwfd2qCqelDgC860fIcd4sdJgjA5FNVvC5mAfHOL06dkRAuMfXsf0NWrBna
1zdKoOPgtfVuHICvYncI79K+YT5jwQboRwkZ1V9eW5+iHw8Bjn9vOI6O5z92afHe1OM+hsz9qu2f
LbT3rRd55iMEj6sak3yvraTYZxWCc3tkCiaB1rhOGe5lUzPsEKO8wIt+M30uZyXxSbR96AfRtHzL
NUJ66XyTVUZQZYqqzgsLVDMjDg0o1hy7Q3EoWAaeTZztKXNNaZlbt+pYR7KlvS7Kfoxc3uo8N6ev
ow5/h9lCO8jU7eoP097kKP2GhvU5SpndZCXml2XkwcJHZGBvT9rHwR4oUZwrd4e4I0QJtELYZXvM
q/q0JD5wsN7aRGXsP6MzcTcos6P9kvn1Pp0QGaZp/M3o5ujgDRqiWJ7jWG5hYQ/5alpd0RY4cqqD
S3Lwfgp1/R05pY/maBmRMfLf8sxkLwpBI7VLmOyE/lYsH3E900VAdQL8Pz/0ILSuaV8d0PI/hn08
nCIjtu4GgvRSF4Ym92GCBBqHJdjsDWEe/VsYf2gDNZElQhvgCkMTeqJmywqrvrOdmTm1opbvy7gN
vLBNVxvaHEeQc4yKIXhoj5wROr4A7wBglhYTeBI6RkP7T7RvDGFZAS7N3O/cYrHvSrdDs4qRL+hT
8pKRwHhbMt3AcIuMlc3MwbWkFCS6aR/GopBXU/y2FFmR61o7S6nwVda/hl3SvPjjV9O1Hl3wiIhR
PTj/if/PkHdMv5PFD+JGdi+Tq9WFYc4jeM2fI4L85wi3GFlnW8fWY4C/gRGjSH9PHFTbRsuP0jJf
3QhSpWOqbA/sLyqCmfSVzRzNJLlN8sEGQgxfEepIGj2kTv9iWyDBaT52Qx82sAk18ybjJ7Qeexuj
Q2QlTCuhHXpyo73r6G15L9u9QDlvut55gs0IG1Vc6G9wDBoGhQj+er8s4FiMEHZhPRA/gQQg5ZUM
xU9hiojdw2ZdpbhiGfeiRDYnCjwvBqU5y3eMaunMTZ8MrA+MvGAm3mNZ21dJXuMHTSxuGUoXO9uk
taMCd9RXfBbhXbwGady+iyLjmrVY1Tt36s2tzOVwRN/xbYz8tzFiSuDIkJWYjiNW+3y5fXf7YsBM
PQ+WcSynJrqPsC8dpy7+qaXMwCbkOr6vw/HUVsOMQGX9O7Rw8f3YDt2hs3lOsG1NN67rit1YgVgN
JFEg97cvqCijPVBuHhLr34ULYsimY0PiIR29NyM/vaf0XzDqFI/ZVKb3//P3t++EWbnUBNhwfG8P
l59xSl/76RmE0tVWPh1apX/xIOeI1UitqCHxgxskA6TDZO759/FtEI9ylAyECaKAWl+BnzorZb9b
QAYQFSGNI1b2SB5gSvlVVltrgTslFMWvmczLDlSw2JlWOL5kjCavAzhwYapn112QrtpJerQ4EcKO
eR+z+MeCd3aDNp3COb9PSiZkEvXuSOcV1FXyVpn173JMvsgxPtL5n5kndywlZppnzSinm+WhkTDA
jca+gCnqESYTeVJ1Z68qWE+PP8vyu+sOH4LlHzxmJN36YGH1SHPvay6cQ9Lgtmsi96qwBu/o7aja
oIYGOPWeW/aomeP1QaQQ+RIMgK6BLg4sbL8Gq8zQ9fEaxZsqMz/KSbVB/N6LHx77Ijop+1yNuFoJ
omNrM0TFTqXZPcGi/sYeXDMoe4J6rZTwRoSdJOIMR9uupge7gSBgu98XkZ9nDx/bIvDqx773lJPI
yqO4uSdAbE/b2g/47k1ma3gEWEcr4xSGNQkL6yQ6dvonbIQxea3hQFfa3xuAZqb4q3RqD90K9UFK
0Wh0RLlgfb96Mf8gGobvJVY4cy5bjl2946GxYXQMa77l3zTztStsj5mBlaSsfuSDMwapIysi2csO
vau7Sb0drwPvtgA75M2Pk/qRTaoI4KGshTRJTkq4YjOqjLHNnq0V9XDhEfPct7S+62/RyJ/gv9+o
84BED86Lqr1tsiQ/J1zfKIv3fWPGG7wPsEtq758l0XYAxzk/xP74nNfZPXGqT+yO9cbqLEDR2aT3
bhNeLOlxF0Q0Z7Y/YwBFAaC18+qzJlJex4gnFlikY+eXyn5mqCYPUxutAz1ZkhNQJ3jx3WMRyXkr
w/Lg1mW3mce22pl9d+Z/DZVHtxuj1xcrnTEMlC1hOLn9EluJFQgXuHKdYmGxSOWZnOarVWWHyQGp
zbPjl+OZR8r2vZXhqB277MQJzzA+3lslgs6sJN2uWPSz1TgAiRdn74cskiSGSeWNbBQir2b+2wXR
ENU7+syfYpKPfcP00Q7LLUz6FZLXIbxKfmGA4YNM+i3LSn/vIUPvVRthtzQ7HpLNwXLKh5YBj3Qn
ly09UTRdZr6zlPzO+5rUD3LCKR67XFRV51POdyzoe2PH1ppnTMUYpW4hsyK15nDn8wmRRGBTLlkN
gF+Ku/ZIz0lUH/JffEgM7YHBBUs58rSvCEua08fWXXvSzBGr91ZtmaDxwLGwxASybV5ci7K5JZ8j
he82JBV7Q7vdkldbgQ5HmES0bzNGDQt6DID1xKMi8vQ1apJsRypXkFkMm8jCLrSLBYjLOUHetEv9
eiOM7KnyUxuLH/jLxVA7L2GtM/cGVNqhZFdWMt8iAO6edSieRbHoYHTrJBiV+aPLoQgKTHZN1uQs
hMF7rylIKZHWBX63zeIqsSnCt0pZR9zvEoF7E21ZuL/0wDiCZl9UNqahnO3K/IGy6SPjRAs8kG5B
jKAmbxsMJdg89czIhwlGoCf5pcfnFXivRS86XKz70PJxjnndXVWwqg1dBnGADECu4oxa6017xG2a
uENgLRTxABYBeNfvDZIX2DKxz9vTvswjPgVZoqSsiujsJHyoromLps1ONHZf0zT7IeKxChwO47KZ
QbmM8QGwwus8XbQMv1ucRFuYcNPen+xn+DJeDEC0t30gAkn2DQJJvIsAvNZV9KXnrkuVhZg6myjU
q+W9UMUvb2jrA8zBcPBPUd18L1x8D4scWDUs16qRjE5ji2EEGKW+6Jz9YAyPooWZBRQ/uSMb6UcR
YkLNbfbmdVpdmZf+RB3wHlUDWJLO/z0s6hfuYIKZc2M/Nr75t4yRP8Vpnif5j1Ae2Wnqc0KRrgrp
p3kdQpYCajz7X2u3RrteIr2KwckcLAl9CBoACfR9SMQ4RpHMuMto9BFqM5kHodMilgSEhTj9by+O
DML/FYCyKuc8z3HQ9bqIfD1wPf+tnLOJFPNidgnYEXx5atbxl6sSAixioiFSCM4EqYIs7bE4VgZe
Fj/29kuyKSC0bA3cvZtxWS03hbh2PUpUa37+d3GfQF38xwt0PV6eQmlomeYnad8QV27fqig827R5
UVA1VBPEGWRLspqyHLWJ4dGgAmfjiAsOfZOLcl9W9//+Mv7QGPM2eaYp+BwFaTafAxOF3bdGhPTw
jJqGJcWSbarE3eJ/fofeg3hp/TBrjE8hWeJ/kTf+d37d+gn5pvL5ZHxpCsTSn+XNkfJq1MHuWa4r
6ZZ1YZok/s4ZVb65ZY1H7jiikKn8v0TQWOtn/z8RNLefLBzOT65cE7z65xgh4C1pVeYF3OMkIfLc
BPlFFBppyeLYRclhHguOrXZ6hc/3u/IWnJj243yr9uBNMjFMfhdTnmFBGJi/lRMQl6W/AIMc7hyn
+ihcini0Dn+Tp8r/zvS5vWxp+qbvWdLmkvksTyWAwMZC0Nln2TfMV4zlPK7CETg71nZ1dz/KNdAe
fAMCPXuRRPtYS35FgNugAB3mParEdLSq6wps8QwsLE3fzsfMwvoHJPDSmzXsDvR7njQO7I0RkS8/
i9En+6FNWTiwmggKBBfX2orRynmkv+sWKFCbWgdW03cU3uL1//fq9B2Xhsw3yX1iyfgpK4hwM23y
Trvnnrlx0HIDB6bUOz3031qgsMGNQCC89GvjZub+33/2n6cbP9sTBNa57D6RBP/3AYJ5HTsS3eNZ
mO6uXMAMINIktcdbIf2MTf/9p/15XPmOp4RPup9SHFuffpqLDVGjlnTPiWX8GquaaPkiuE33M1H8
nurw17//PGs9Xj7dA46ypUlAuO1jWfj01ma60Ew+KpjjYejtEiPFdtoc4PCSH9qvw451RZBUjP0j
4xljf4nMC4wUVFGGgOt6VDeefZJR/XwTjRa1SmE00lWRYHPjjBLLslm6yHmIWn2mhlZ/OT6sPw9Q
38Ui5PGG2TBOPx9dJWAZEu5ce01D9+DgM75P2+ZR9H50njw1HYUwvkkWYa7i5SKoIpMdxm1Qr3LE
0UchUpeHNiTYK7dnxTrDxRFbfwGgGr0u5VvogM769zf9z8PWV5BYhOBt53n/+T2HPpeYS+1YZ0YN
DPgdth2Or8sjCkBipyqxLVejA6PwqDAv//6jxf/jzONK9lzJANqz3c/PQ4/hLT+7sM7T6h4gPZHA
HB/lDrayi5Bs88NmmEFqwRiy045d16qpbSYyltD4DX+52sV6dX26+jDI2L6wSVtwnc/ZpfADSgk0
Q5xB0nFereqhZdX8PHL9xYelfqMr54ajPjQ8o/rLne39eWsrXDoOgjqPhc2fxwq7Lt8sY/Ncm+Z3
ZoI1yhE5f3P8QyHz5yVhBS2dghFouK5wTHKuqfNZksTuu5dYxxDqxY9GeMelr5yHQZ6Z3G8S0cAO
W1AzRC7G7ITF5cNki8clpsSAmAOIrBeXbNDD2XEWcNKDiQO0dIMuZuVWo6m9j5JoJ5mzBBhGHNJY
MPC2s6t2Ce7ZbWoXz4Psjr1W5YWlxLr4A6eDv5wT7GjXqGbFHMUbN7aQfrWU6aoRPMtE+Z6a0bO1
+O0+VSwKR8gKUbfxuVC2iRdN1yi13MM46TqIauMq5DC/TyOe3BRVklFkz41B4UZRe22HcWEvplh2
tnRUaW8uwS3qr/Tyly7KHvs2JvUJ7txfLpf/xwNbmRihLMVjjwbidpj9LydUmdA9QmjGxTja/mXJ
nANKgx9p3PqgTc2LHyHDgIvK6FHQyLS4+8u0fAVm7pwAa7FcZsgaaXTFVp8flBiZE6BlZFlSN6de
O28OsLAAh4L1lxfu/HnHK9PjlKU8xt9KqOh/P0SgPCBboQY832SiDhqTxZh/91Hk/CiK5t035nOe
O95dtiwh1ieA1VbZP3YK7CndA972EcMmQ44a5cN1tYcyfZaoB5tpc4MCAeNkrph+idhWQc0Fzm6H
pOt0NbuGlrWWUN9kir8zEEZhX2TOJt9Fpn4WU/14q6w6+v5r8YhYgYNRTdYuJ/oXOYsaL3Yhnwji
A7/YYNRH9ExMWsKmkCPzqJngNeOs9sa7L2tMKUUitzdX80J1L3mHH4oQTkuDG+xYdei8HGv8/pcj
7U+7jjJ5RnOKkBxKwPinR5ip23gZfB5huY8RdIrvW6/TO+Rs+IsUaL2oK2YGcawEs8quSD3yBIhf
RBGZqqNDk/3ldBd/PFJdybtvCyxEnG3259ejE8iyRjNj/cYFevJaJBWet5sqs7mH1ons/ynrygpY
BLrHyaz38YJSvfRYvCVx1V77RMR/qXT/PPV5SbiapEkGE0/LzwWUv1hoshkenq04kchM3YAZPQtD
9g1ZLBjPWMjrPNec4ffZ88nFtUx4qnWRkML+kjIo/qj319eC1liYci1ePyfrFrhz6jY0ISlFAl8g
7oRT2+lDwhowGLHgU65aSF/Ze247F66Q1/PaCIsmfIogklkXj+z1Q/4/vb3VdLs0k0l6Wabl/S/X
1Z9PJ5eCYm1KMDfRIHxuzXIZJ5Nbe+PZaCwV4J00TwVYcNSxij4t848MYCEsoPl/CEN1BOGvK25t
lRTx1Uie5ZIUm9EjwCsCid2QZAXD2C+u+TzexfsJoe9zrScgfMq671RXv3BCFBc2lhiOgHdaoEmv
VdbW29nOGiib6jsQll/mgvyzIqltb5hdgc6qLtU2LhGEO6nNcHEVVseaBPXBd1AWQsuWKPXt1nNO
kFumoJkLCJ2WboMas9DFiRlto0zb273vHfo2X1VkXnlkWEB+F1XqfqnKZIv/eH7gnoZNs4xnZqMh
8kbD31S2U8IaZC18+1Kv4Y4DuUdk4NKAVCz0UL/K7rrglsQdAp9rmZEgDLuC1JU3MVPOp1n0Vlj1
97ylxYXLuTPsTpxwcP4GRLOciSXzIb42d1EMBMzte/VwO0RThoYX0x9eZt1/N6sFbwSUCpRW10QY
z60FsDmCMVF4dnQX1V9Z+MPqY752dpv5eOukk7D5PZUo2FM18G7wJNiUAEvvRZ7wjCvCY2s7019q
jj8vfkfQ6eM3Vo40/2h2E0IVatRcZFtnRABnzeZWQ9fjzscDvDc0CwSgXX+5kP+o+VxHcNvbns2S
wpOf680uMq1umGJARVnW7Y3Kvsv7QV3gZ+anFOjXdvHloesIqlpVWQVmnv/oFZwe8M2/vxbrU4OD
lZ9Sy+JJiBnMMf+4p2CCS6Ebx2Y1bbxqkr6v3EQ8gsERmch+D9g37BM4ojvD7mcwDCnUVa5EB97i
lzSDtN4A5Sv98S5Jyh8UIgyOyUKsETpORkHtpFjlkyIvWf9tK5TZhIs0eydrd9U0WX876X3xx6/D
GS9dV/K7WJIedX02/a+KxM7ZVNqIts/xpJOtbwBGALJqnouVfhfc/oxlUZxv32UlfI16Tk6jFy7n
tMMJHdy+9aGskeXpF/l+lsaXWyTh7UtCFY/EfQVAN9Dm1qhCx6gYHjK6CCJNApNFNobWXQfyCil6
b2q5zTIMFA/9fGr0wjIldSURbqlRrPTS//utiTLFiBg84xyX5zT2553jtr8LNRvnhDAYnu9tv2kK
8O+bYiLCDyg9sqVcFkdYisfUqNlrpza0KeTaJITya09+CfOQb2Hw1ywkzuX65fadahMaShAJfMWd
TLEqzafSgWLQN+lLF4JjyUMdHelF8+Pk2gfLN5HZEE+oex5anGIo5vQrpD+ExgZPgdhaDl78FheR
QwQCdjZ2CejFDRd4UxO/3pyZ/7FfoRfEckdCmkPy6amfWcvUua0fjeRDdA1klkIT2kFYYNcQFCux
aUFKr8Bdh8TZkrF0slhuPKdiEK9l3G9btCy7KcxYFeQsWMVsE1CDJ+iQc0rfAGVXr5BbZs/hvgZu
cSvP5rF+tFPSSuoo8/e53cXHDqPY7VWyA78r2b1D9muSjemVzkuXWVCDM64G2hc280iEtm5udFdw
Vv01RfxEc0FK5GDZy6aBH/PRlcNjGGrzNY1MdYjQDje2Cl/w/G8yzT1kGlryXGprYxsTXoHaz76L
VrSTThHMVhkKLHd03dPNrsNji+yUkdWV0QyIKSCWYdLDLo9b68g1GK20GcSr0igPMdESoFZpp5UT
Vfu2/Qfv7LGToyA3MpNBpiMDDygj+blyiisql1Xt5FydDOUZwRzxoUPkCtc5FeR+0j8p3bJ7DN1X
BGPWLkVdc6gK/JBZD5oYvib7n+gLM6IHrFaMoYR99PNYnKzCPkY0+2jUF2vXhQ2hkuOG1UdWagHT
0vlil8U3n7hh8rRifKW44k9W3+yNgcQpGQmsfFF1ck0s/nWMq68ZrK8IZ6mdy9zejQ1EujbejfzQ
tAddzcsMOhd7/H8mlGaG7NBvniuNSh0j2fPNmDqvstxJq1cLfRdLGKa3gP/Kazn1D5UAAFaCDd2R
MMguK0++ooTVh8HnMrq5iwEpd4/2wIYJrFTyTxN/mNHiHlQr8sMYo++bTcJLyjSuVmgqfhy4w5O7
WE8LyphXQkOw4yR5jDiJP+a6v8PIIzhtTRfdCNMFrx8RtcRyekwaqn5JMOq+SHyyPbV5VY5RHiUB
kuyLMS9OGP7AZc8xLuxQQhAiawP+4Mts5d7WdEhvMzLMXq6fE/mE+MQndkFVJ3t26xfIDNGmbnTP
8sTON3Jhw1qSC3McsN5uO+58E8spAoL8aEfVyl2O1kfvHCG2NZFAEjDMsCQ+2ekaJGpyQ5SyN/aN
zAg4RjVCwK2T37lWyzDHo35aaXlcCgMvQKLQw1lwGQ9z9guCXnRB21dfzSRZlSnAyXKElVdVPtGp
dFdGvfmOAaTaaADve8it3iY3qujkDy1VphtpMt4pefzSfqJiwrKi2ruy68W9kkaKJ+IZ4w7peE3P
GdO2pL8MHQCXcMVH8fvHMLwtKEr+9JiuzD0UVIQiYrkaRk/vIVL5j0bUioeamwn8jbmJEGOeE3zw
6wB3PA/auKY+fuKIJVlvfqvqiZlcOb5mFvisETP9tqujBwTE/kuW/cODgQ1rK0G5F3Q9dJI6srBt
Iua1Dx0miyEcEEI9qkm0r4zlxd6Ed0jQbpmfpzy6FIQhwbLEWtJ95HPZHJKC/OOozvot3JrwUlX+
c2tODm/pR9xHJ0DF/jlTiOBmxO/7hLV2ALEmCpxmKN6K7K1v5WbCbXVJUJMfhwEmO/ErF8PhEdco
J8QDUqNr9GzKStJZpmcji/a1gf5DVOqh6kwiWxuzORBm8GSXjPq6mhu/qkt7Sy6ORnSzjKekKOEq
z8Ubj3wOKjSqvNsmgz4FiR8NIdgqamKFBWkatjnLYDBj4LaiarxtU0l1/sloob3UeHCToFcHQ9fc
zaZzr1L5O4vc7Sxj9rEWW5rQmZxdgmqKHC4yPMH5XOaCcpkMUbe030MN5RgaArxf36FuzskBDxEj
r1kg2xbSAxvgEeeXcYhyjAK4xZZ7VpIM2sxFbQVu4n2MbXmHK6Y4hIvGK6FILGjMO6s35T1tC1o1
+DQPYyNx8iNrRZtkyZ3PzP4wEXtReZZ/RUDX70iEJiA7LcwD7+tx6PJ5X+lsOjlS4zlf/2mWwslG
rLQWpDs+N8f0MnIK7TyOUJ8z6EVbUbohV31CPPFoO9J50RyVhdeWj8tclYcRZthmaVwMJ0OGxSfs
/Y0OTYDPk053jufgpZzb1TKSXLtkRJW3TOmHqb642b2d9N53F95G6+gcvxaxqek0Di+o1DY37W+V
EWU6x85H4bmoCtM8Pimj2+nQsO+K0p53zdA80lL+tBJ99Ae1nIS5tSmlaIymn8g5cB8W7ZPniTYw
K+Ec7d67z7MItFPfw1qcv892HW7zKL9aramOVlOYm0UitY2wJ276aBQHSrRdnywuKCsnDEggSpjF
0XXEdrJxZ8YMXTvEdM0uyZgaOKG2X25rmb6T2ck1GoKM0vJdmig4OgIDupIENa4ZjlZ0O3l2rVK7
OVkZeRFdCN+ME8BGmDdOR8lPEUU9XtyyOiRRLK7O4F4WP/+pweXdh8iCJAOeQ7c0j3qSGb8GLLkq
XPpzIsJtvFzKWdX36MuQFNu1QfQYC05lNgCreTsSIA2MgiAIzOlzpfz4zsE+IWYB87Jxt/4iHZLJ
xo+bs7wD1O7rIt41S3vVfgfJVkGQUV23uS1DuloaAXG4W62FICujA5qXMCOqGETv2OejaTXHU5bW
8dYvxFPNdCTt/zGdvUaMYMOvOxHQp4M4rOE0mxju7RLrvVtjfR9XCyMOUXzCjWRRF/9AWjwd604+
omgtt3Pa1IgAeiJIlEInjzV6I4gNvJLRWh8Sy/lIQinvnIV8W/zyJ8vMv4XTSBCa9EUQFyu+E69P
YpaEBXsuDFOyd+wUllehNZo9OtCsHl9K2ZqXHrQgS1SCbWe7ZFjcHgW2X7Jcq2dme6+wxc1LvqBX
GUGPEZHnsN4eht3syfgeOcl+hC6Ptg8/pOg7jCekHZ6ZP4odpoz8zFiQqAablDMj+cIx3pxHhkcP
Cw9jibz1JP2YA6TL7vvFUQ+MTtwEAWXCRhCBJV23bod3pn/1k/t0A5xEmTc93upQRNP7XMn4Sr0v
OcaRdBu6a3YGd/7WaBb4fh7cu6bn4lzsrW13/QmRR7uNpD88GWo8mfia77oedqGKHChDjpsdyth7
SE27OQBsxjSzILyDWYBQpU1+QLUnIGXscayq4rkRGQ+0wngxI7s+pLJVHPeQzRZnxAyehCc16fq5
JN5KijX2w56iY1jzs6Yh+zrI9kUX0xdXjOEz0yL0UHVmPQyYrBkPAZiZ0xYxX+YXhOjQteBtwpo3
LBcgdwtYcMADTUGw3ixzklgCAPne7zBO+W0b84N+2Ng2VndNGrajemEKStzZqclK6hubayNfTVU4
wNoa59HgtuNV4g89uqRLQgewcI5ddMeWbAnn4pxVGoKwoyTGDehO/xEBt8AJbtkjFeaiwNXzeIbj
86YdCzRjXT6hxq5OCYhEVgH9ky8L72PkBlMLtqA+b8tzhDjyuXbR3HCanBIy7oNp6lMM6uH6zKDV
mor4nNr/h7IzW24cybLtr7TVO6oBx2zWVQ8gwQEUKWoITS8wRYQC8ww4hq/vBUZW1mD9cK+lGZKU
FBIlAvDj5+y99psFoLX2yg5Jct3V2rZHshZ0dZMc42K+gsauyPRYwjcrRm0zWd5YpfIaSYNrLu30
i72wKrdIv+ckFtdQN+5dc8IDMur53YyX2k3Iw3Z0PI7I+85DY5zqNe3M7OruQUoUkbJejM26f7id
tyOa8M0I+9fvBpS/pMFOj9PYapd00N0XVh/XN2f08Bh9dnMNkECij9229tBu3XE+Lgr7PHbYL4Y7
GielUDFYqqLc886Q01SazOi424apuqld1KFlW0QPK1KmbhHHz9lkAGjSp6eiB1owZvJg5Ri7aRs6
T7nzHi4mABTNfRrBr/zminBZt5tuSVjW13HBILA9cbZhXqxCxogl4JaOnJC0zFqPxhmaq3I6Fio8
b6c1QNRIOYEDkH41UA/kDTEcTk40uZuP0A3yyrhjqZnhQwgESHX5i1aG6zNVIYOgLYjxFtN8VDVc
EeFkwmFHpHfWK32HmCc7FQybjr3dE/RNdvHEkMUx2yvfDvFvOiNhzrJ636+c2EkF6dvOc7+vQvWp
ZAZwmmlI39pbSxf/KCUzXBfnq1cMYXqHxZpbs7CeGcE/k8x4aRVcXQYV3Fx2KY5HQnEItKWh1+L1
1PZKrkI8XFlGXWq+JAkenKbLOz9cXU1Y9QnTaWS3LyMXn5XmnLiRyD3+amcnaH5tk6H7FP2ggyST
C9MElDsktq/3sHJWvqnIlyOTnYE1E8HuiAvDsuk9N7GgzLsizy1K28m3whF5e1SX7LfK7jL2BEho
5E8VfV6dnCb7HvVkcuXRhKPDYApW6czDboikHv2sj2yL2JSMuFNaUBeYOLvS7FqgpxSSYdp+n2N3
ptRGl+Uk0uvCAu+nYO5iJVO+BZACaTTq9eDGvC8qcwgoh5M7sziRcByRdhuPBHo0rtcyKkECDubE
YshqxvwNS1RUG/oW2M2m8TjYrXVIwukSIbg8kAL0y25n81yosPQdfBGdgSelmdPxECPL3KqK/mGg
OPYtdhRsmiSJk/z9Dnb7MjrcGoTOsj6M4+MNBEVtpHLhu54Gme13gGaWapdwTjzZxO1ZMYfnBtUi
ERtt4dekCLFhTwZfRlp+poUcjtV0N5pT4LCHCGoQYAPKOh/FbwZVy2pPdirutdHpiAgeOD1Xg2yR
XKRTBE7mGvf4ck/VkBPFmRvRlf79VsKz9e0oUrc9AFyUxHFz1zb1sMkJY9HqYX4ddmjKvVqN2vsO
IbqBa82WS3exB/MUyZh3HjzELjSrj7HlC2/WQ3Ncyu00lPcZViGSNVBfNrgqvMzpXwgke5bYkLEZ
zcBOjI2dhmDCYBBtuPN/L5QYD1oumvPIzzy6o/miVO4HtYrXGA6x841LmUtTY5+3JQaaPD03HSkb
6y6zBcZ9azLltaUfS1vbdRqj18Vk7VLXrqUrwfmLmIJ3yJ9C/UsDxoU9vJkpq8yD2lTi1Qk/oSh+
jyY8M4Y9wgMXQKBzjW3/JHTHx2apbcOuj3Y42w4R7phs0TuCKmDHxG58xjn40xgo5GwaA56lNaYX
9jiCEEzjVhPPGWmfnqYN1k8AouWHsujRuYpLdjuO9uwSkdJF1rsuTdLLkvzYqnZ+SpviMWrZeBm6
AfclnB7IHFFQYCmZ35Ogu+mS2jkmvTh1QzT73aibn1JLTHil5tHKSv2evegdp3xlddMRPYDYKiSY
ebcKruLuqiVMLxJUx/xKRM1bQBht+PohfsH9otq/Yo1+FK5MjN4DsoBx5lrtUKzGNvvXauS243b6
W8e57sXR3B/1RU44q5TSd9XZ5zZBSDS8ZzEzApVac/kNglwFZMCfpm0aqiRg6XQlptTIt7ZJ5z0k
qUbKAZ0xgRMepZanFumTa632yg7hIGrfvdMYyhb9W70hJq2ncg4tDDPpGdfY6EXhUoLewSK0LNOX
bQHnW9TUpSM4xatXcL2hk4K04r5hiWA9l8t3ZQ+XB8ePeyEedQysUYybSY/l9obvgioAO2lCth+J
vg5GQbP2JppkUJwFFs1LLzMBupgRgRp2SxeWbZ1T1t3eIN9hcnO2UyxBlkTPW2Is93qZ+SKqykD2
2edArtCZUr7xWgvivUPddIyr/mHsXf2odzZLyqzemqZ08taPqe1M5IlGsrRJpFo0ynfyUgHx9nm5
yTLCGWfbbn3XGdnoTatFpScf1I079XBb8YcekkRVkVzEbqsho4HS18KGCtRuyovxzerEMTFwPdvq
BROtak71sZwYmc0Ah4CuEFzUT1cknrZnt0xKVaJUBkGMETfZwbG606KqD4uTaZexBRAytAqO7XHk
2mEj6qybHcIxv7cj1AQHuLvXkaHoOWZXeao7poEB+muzONY+X4eJKt48tlEjcvo1aSpS9WONPchb
IGYcwgVjlRY2H3wO84sY/D5JtLtubC6CAMajMmMAp5d+dYPqfgOxxaJbVNOdwtVyTDMSFToNcLGw
uqc6F91j3hLDRng3rUSSTNuLNZrGA3njd61T/VCd3PFraTR7B3ECjQpn2NHx1Z4blqpjydSjaqtr
bsJyGxPcfCELAgbzI5Lm+THJwVtks7PqN5Jz+pg3jnmyhlwjBCC92tYMLgAMOOln3KKXeLbuqETl
fE8Peau3MDxSaKcPaFYZ0jXW7JnW2HE1ZvO9jssN43Cde/gg9QfF4WZriM45hEBmCN3D0che2WQU
sZ65DVQYrL7DHvgpgC6T9NTE6IxNxZKLD3uM/WISQMO1gXWNhBLeksR6H+efTow7i/wqtphiyi9q
W3yGbvkxmDRN5vy5K4T4JuSC2xT9I1iP+iRM+ZM9f7zFNFUws1jie1arrWGJ8q4DVLLTcW17tLVh
KkTGY2ua/sKN86niZjTHTmBSNO3iyfheN3Pygt7gzdFqH8xv+2XS74yyb07p6HfDoMZngxuyhqbs
ThBrjfXGFgezXL7GpIqxNuRMrnRpvIThOzui54KO0WMVZfo2ibP7fshVJhnJvFviGIPpmGQHCvq7
saSdrqTh/NTWKpdPP5t4vJvBC0NylJqFnlS8plnj8XoRlEBnvb5TRKLutRIwbjDH2cA0qHnJzKHb
NlnbvDurFSEc6+m+aSr1YdTKN/x09ZWU7l/lAI1MjGm+z0bFfl1msRLqFuVSzXg/snExdoKt16Eb
3JQCSunIG7wOUJCqvQ37WrdTRMG02DYQSLhXWSuowIQtThJBB/M+WWgAziJYsMjg50Eme0TJSaPL
zVUvFuXTmE6vYaVMuxiE7l2ojSd9bY0QWyupttnMEfg+X9DRzRfBrWyrTBNd3WH+lg2RcZUz39gz
eGlNM1Lt5j1D6KGRTzGWzYMlVS6O9elch8OT6h4NKydAs4r3lV1p36J49G2hFu9kltv7HEzFDrZ7
/81uiiOF/1ZauN09P8SrzPkIoQZUpPKp1fP7CPTkJXaxgTuu48tia+Z9RuYzMjK3MI92D32KXbxj
9acqHoAP87NxgGTeOpJO8TuAryMwZP/If19fV+lJD/87/7Fe+2gt9/BCTuZFXJ3n/NX6STdY1F43
eqOOwR+SC2OjbU8FkWyTjYFFh2yD3QgdYD6AN27vRuc+GZ/Qsdewitstqtm9sfX9i395v+As8z6J
btmE3uRPvtgRGnJMrslVvjhv+i+wN1S9tQVYkHbOBo8oT9PHpvcHk9GHnxU75/vEuOqgHvPTfB2v
4rl7bxGt4zPBE2XDfgKEDqoSLrqv9Lth3NPLx72KEgQHiXqJ52LemHX8HA/1rgOIhluKQeVQO/UB
EKLch+lgYMVv3U2qz8rRGcsLtrvq4gzx+1gVExeq5TO31r9nFAIezkkFNGhmH6KyusszOX5WNTCA
YVKq84zk7jqM6ssSlbtulPkrD9L9IquIGjPJX+kkb8wWCUJmxg3ecsN41UknJtWPcjMtTzqGj5IX
8fTa+gQKwmHdXftxiyMzuGaAq8KnK5GM4bmpR2trdnMT3A6NURPnDe7z91M7TukjkpbKaCRtAxtq
WxCS9h3cnt4eZR2nxlAUdxrjtIDJF4EHdwWd210jpiogMaZiXs6j/3jaMh05LKbcpo5eBhW5tyRC
RQ1HjXnZbsqdx9tnltAyN4nZ0iHWijIIU/3OZkC4u30yrGQZNJI45/UVjKNQ/uXjdWnThMODQyxW
sWZjFSThhQUXN4d/fuz2CKzNettnzc5xLWvrz+xK1utwCZtlc3vpZlKzr2Smu4m0GhvOUAchse/7
uc/b7qTWYthX4N1IHPjju5NBWf7+Of/xsbQB4KS1ebthTvptKZt419oCI1MXJ/2WBQ0ilNKUATuf
MuiwdeZluuzRMZJlKESMQ4hBtcjVfz3cPhbZbU5Lrzop61/9dmAeS+80cTOOkzWBu1GQSOgqd31p
JlC22r4KsvUHjYz3f2sH//vfcNTd3/+H5z+qem7p4Pb/8fTv+6/q8ll8df+z/qs/v+rv//6Uf/TH
N91+9p//9sQvaczOD8NXOz9+8cv2tx8XfVXrV/6/fvK/vm7f5Xmuv/72l8+fRcLMgn1h8qP/yx+f
Ov7821+EhrjlXzQh60/449Prr/C3v5wTGvhDm/wf/+gfQH73r6qLKN0WFu4M3A//oPGbf7VthNM3
ov6fHH71r5amaZYKOx77DO6VPzn8uvVX7DQCB4Kmqc4qgPv/4fALcRPu/YtaGc2KLValMrJ83UZq
+B/i/Faz0mZoojigeQGNJnqotbLfZ5FAVBiTQjJnOYrULNzfnt0O5EPSa1DTgzpn9VFqP29XwO3g
UN9TrK1XBCzkeqP2yyVLYIUZMR2nPrcOqVN99Cqhqm5Utnca9VSsF19WV22ihHY0wkcvke64m8Gk
bRiNMe8t0jswQNtoEqxgg3ZP8zphKhzhACdspGxhKpTuQCytxk3CGRYoV1q2J1f9NMBh8SxmY8dQ
AVfaOMVIzMsWcWWD40JjCOACimvpR99DnLdGO2had3lV4cnTytwMbo5YjX9cht+72rKYnIQAGbxO
T4ad1WXY0IF/bSt0TxvhzOXWgYLu6cM0BsIMYcGEtfQnoly9PoJFFx8lkTgesBSM8AB2hQIlivi+
TQKRlB42hEbJvkdD6DJF8aeWZOBq2rSEcKN+6eKZmm7epTNp9mCTM7+zSNkUJsOJhRBvr4JX7+dp
cVhq+a1WSZbrQ7IZHTHvsAjUep3tEXv/slL7MWuEOPZZtE3oj/q9bl/zOLo69XzsAXVtVYsxJgvU
xmg6sBYD4VYkZTqUnVGe+LDMbbrhYFhPTYkbHEBDeB5DRHGxiKCoN/bVJgaKdKmelkLW3YP1wkLH
MMFjiAYEkJxBulAZPc6U2ANtlKCWoNxU6FGG5bMTu6kZvyaXzjkWTOD0wINoxebbLldNnyTHJ3N0
t7VDjmNVgito+iH2QNjA+3JJFIOgzTinTcNdAQvbA9I0HWMlD5bpAalefMjrvIcMZjy7Rcua1TM6
kg4kdWZI/GlONmq1U2TqX3IpRm8ImWSMGm+vYirXRPIyTY0OrLanGcmJk+O7ttuOIexgyzUfMz3A
aCxZGeklsjDPx7GaEz9rtQcYXfamSkX87CgYyelBbsQqXWxy0tiKvlfuVcEfk8iho6nK92mAOI+s
gcx5muelZgHZmbdkoEkMWziZIyUnOwExUVB25c8kf5jj3OUVqCgaR2Pgbm5+k6Sqb0dhBmBHik1F
c2Arp/6oCG1DbkP7aEUpkEKyCeOe68xpR/7iJlus2uo3g2P8zEOt+EDE0zUm06EiMGY6ARr8G0ND
TW47z9FSvmvlwH40SahwknDZddUjAX3JrjI6Uo5LGk4KtRAqcbp48z6N6QiZcabvC5vQJEJgmphg
0V6V8daNK6KVZ7HT4uEkk3D2ID/gAefiaSC89HOn7Ok4yHY/LNFVnyzoo9bOMgZyRSVaq74EEUxj
CusBEKnaFhPRrOx7arXxSzo4tOsZvefFRg4ojIROAUuYxVloyb2Y6so3Nkmij5di/tZ3yrI367Yg
LP4gCiV60vnycwqsQVWdd1gVx25kwqiBj68K4zoVnMgkHMtTLczvKkOXBMj03sI7vrlLaoDcCY/Z
mFM0RwkRZt3gDVkb7yLmt6FGSi4C4Wgt3vWl6jdqSd8oH5R8D++Mc8O8zsRK3Muue1Nk/JoaWUgH
lTD2hbySYxsSecH3qM3qe0tMPI6ufLewwRbRQl57CVJdcdXPSKPxRBu4SCAShGPkd33xK84l3N/6
Zwg34iKchXuTBNpmUjp67YQJrp6XeCtUovHC2YApwzjOo7uAZLbZGAaI6r5mnE2w7hkeDxDkFPd9
rp2WxbrXk5A0X6uu/WzovhsFTpfKdb+SxngD7MlUuMQmlIB61OYV1k2kKU5utWa82KJjMaBfc2vb
zgnUwxRlzDzPnzPTbxTmyyGE8nNQiwrjehKf9Ug/jdCjWImmuyrB39WUY79zsiIQLRu9PBHXVvit
HhIIoFZ7QgbYeyDFofk0XxpiopcXezIwzneM9p3F+TnOclMJlggtHO7isbk2dtQc0orptEx+pKWT
4myOB7zxdI3i+dXuM8dvZyfdms7EA2ZXhrl8tknL9dKSDwLI392DkJMehEvTa5N8PGTq+Av+YuVr
mXEeO1Imkp7ZQDo1EHIXxYdFAnUyyR5U46mpKvOnPb5YSf7W21n2NCauiTqNVRNlUbTJ1fGrJ0L7
oUzlI30ah0nuNAOhdU/dgpQU3fpHsm6jsnNahoFaTURYV7zHxbIdQi3QLDAxdV5T5Ebu1sbj5WEj
IJFdyh+F+RrBAH5S45LZRsddpbjMmFn2KjCTzeSqL3r3MNBa8S3qZyrKofanaF489ztQK08j0xEm
2yj3c6I/qRXZuCKGGJg02aEnum1nazkdQWbH+FU1P6qaD4Wxjq/nAhYRDNqdKutsQ/Wt+7E1fbPi
5S0hjZepRbLVRpN2aTp8VMhz/Urt3xHsOBj1I6SPmj1ugA7Sv652zOcAIQMZh1SIIE+LaXfPVIKg
AJI3zDnpyQR/Yzp95mem2vltClbYcGy5Md2GZuuswCaP8KZj4MXFK49OwYy+0sbiGJW8rTYBiMzf
Oib2NqhtIkWtrMMNRaoHcpO0pKVkWvuCYiNvYC1HnRruWWvvTRRUTk1qea5WcaAKgjAGfdwCYqrv
arsl68zsDk0b0Y4ccovkVfVlUOWbnqgsIaCRVZ22w5RRtAM7+RHPcmu1JqjKmihPwRS71nLmuNzP
2fMc4dk/Wo68jpxGSGFPattxGSed8gN/o26MyrOrpveRzgB06foL7sK8X/rATZKZRE9mp928vGUw
PZk0sKEBMs/GuuzeWHXMXTm35Pk5LGa2SZMbQx5REqDvBl1rPW6b0X0VJVAKafugr8F9MJmrbAX2
aT7uVAW4ELkMx3bqPhi2J5t2tpOgNbWvhFgd5h6AE5Um3ZsESDN+1KBoO+rRjIrFNwtQJA0t7g1Q
DO3K0JgkRTP/NqEv2S12BoJXqOGlHcvFJ6oO8Oja0mGPDYmXWmED3krT33iV86ZzMWqjtI9e6DLT
dHf3RmTr+wHBqNVW5aa21ZiGgZkGXF5snlQEzma14GEv4TWzWm+7ouAORjPNKOBwO1nCKlhHCjvI
jIqURu1DVYvApBWPe9vdZYUGCIT+c4u/cV/Sk4DBeeikDrrWZJjsJuKkTiHoadMAgOBWB6vrt2yO
nfNgPnN+ArkZ1dSbLUjgRlUEiiRqlGhr7cjizZmh91tETiRKug7xpQ3qR5UMLR1/aDE0FDCK+KJ9
15GcbH0YPfLyqe22E6T8I+FH2wiYpZei+NnVGTpYgziuSYH5oacFzA3+njTc4PCst05AmGCru3u9
Nj4mYENALNvT4hZoTTPzo3TWpGy7k8+9is5DDCyPt6eNxFCHSLNgkVdZQVz3mg4Up7NJwAAXBx4N
+kNpXj2prVHuCjtZ7kZ1vX/nLoo6o5Z75icRd8HqsdFNTHBZvssY2L8UURdgdDHpSALhoByhA66W
57SnYDfNmHSQZts0D4o6YgIr7Rg9PYleCduUzmpSdEn2VWOPsQmVNoHfRuWXcucu6iTkJKxeAPdb
Z1jr9+D2X2vF6FiEFaBF8MzJISD54+Aw+fBty0SCk2arF5dqmJH+3SKy71O6rOEpaeYxLi22IPJO
htZbzMDrezeW0OddMCiWO2/0Id85yJmgoYrlvgOCMlmgZDp9b7gG+w9b7thzdK8LCgCPrsFpdhOK
ArV6qiY99LUYIRa5GCfUytYdzJPJ77KW0QrfHP+ncMQjzf73LnGPJNy+g/UhxiOLQeVVpu5VItqk
I7fRCchyhFhwJxE5LWS48krB9S4Zij1+EfzGGzNaOM26zl+ij5hZWdD2JE2wg2Hj8Aa7I913gmVV
MDTn1vgDxYzxkGvFqYX2CT4NBVCPbaitSyswzPoQBXFnE10UyR8Q+pyzxsK+WZUt6WwQPpPKn7lL
oONk0hhJlEcZtf1LbBJIkMQ/O8gLO4Zs092C6iNXBFOzYDGmxsuGd9cs4BPH9+gRk7PdECErmQpS
uwJwaRnxNMub5F37nFPda6as/BX52ArOvOfzxlK1Ye82yz16Ga7p2GngGgkBk3bBb+LSGvQ5lWiX
qtBV8lZEx9ZKDrUzwD6jXeXB4/ohLBq8cIwN4OncGZEUfIvqLj2YsIk1LlIC6tytmDmPFvfRjoe7
MqJni3qHdcB2jpWhzXvEnI+KmhLOPbnGJ6lvPtAHP8H78lOkzPOlxqVdNw0VbrnhzeFKZg/sY7i8
TDOm2Iion17kz4zLuEGb/P61BlUYzi3oLREesUmZfluq1Mr8XeCBI4heVCg5CzPcPUR/U52RQ1jj
E7EvLJEJgnZVlXdhhjKhK1hW56q/n8blXa/xX6piuJOGFLtEAGYoGJLkVbkWVh3zUaPkctQWn2yI
yYu7+UFIfdzAMX4paOftLDb3kyGsXWvOvQ/H8kiukLVLcDHRXIxG4mbFa68DBiKIfDwquRjpB/5A
L5xznRa/0qzBXpMmZ00yDWazTZWZIedLRXdELPzsZpp1ao1+IaeTNX7S7S3Bc/1dKUaKsaJB260z
Wqe9eq7r7otgWcsnnt43c/spQfpDS1chy9pBm0mUTLl1y7o5N2m8QQ300tpR4rvcB3YTFv2dpkrt
7LRe29PGR0hRbXrSrabcRhRpkATQJa+thV8C6yQB36p4inuL2lHawazYaHlpO4IDoMRaVQYRr423
TX51ifYNr4JxJBtAb6MTES4JxRxbGNUHwaTE21xyM6ndwdwPIns0ZuKmjLnZjUlX+PQgMKCF4Ke1
qaxOKqxuutcrbYtRDWkNoDyzmZWvFx68y2+iSr4WsSKadDARA4KbfMq/U/l+Yl9I6Tj0d9HIuV1W
XG1q4cLxbmvj4kZ8e+pva7Ytr6R4a2wUyiqoRXTGYcX4RH2F9CTjGm2cnOsN5P17xXlOxsyE1gie
etaGa2kJETSqIgLuU3bh3Z7jU9eD26PboS68cGBqxPRUMmZ9aNoq3bqrW+l2aMxGC6r1cHvKzZsR
iBhzSJa5COr1EOejwXLUxhfLstK9MGL077kLqj4Lj7ef1q0v4Xao9aYLJO6PP1+E2quowxmB+tPq
h5Lr4fbo/3rajYz+S6U72usLVFePVWd/VmqpHW9Pbh+eVmVQJtsvtYWcTwnC1nteKJzWF3t7pMvk
HhGAssMUrhe/P6vQwuW0j475+kfDKiR+/5H0tDQ2mtDIHlyx91Y/SGoRpl7BEF97EHIeeHlji8sD
O35bQlZbuqBaD7dHLv25348gKtS3r+gpAIQv2jDZWqMh0Kj1fUDPpA/0Lho8qSJDVwbUN/BgxyHQ
1383TR0bUN4mI3TVQysjcs8bGZB++cdhQsYEV/HPD0pWFM4SMpfY616VNhsDsholZSSP3PXwz4+V
VOvooyAyEjMb9Egrfx9yRba7zEmeJ2ttt9naYwQqO6D7V0EIGjWvHmSyFeu04p8Hbe2mU2TXKHAZ
kzhq1CEttIjacRtGmUpWH2aW5yBf45FtanRO6Bq/R6s0vEMI6yi8ht9PlYyodHdAeGusHcK0sBBL
ciUeNesdeewYwMhEbhEnd5NeYY1YD7ePO1XGyDhLpOJVaGxAtqHn2MzzQMizzRae5MOB8zkjLXAp
3rX0jIhhCLLJzLtDnaRDoNiAn8dxZJAQ1X3wz0Mupj7IrHnaVVP5cPs4Pz+FD7lJ1QUxWqQRJLgo
QxfUpRrTxWNgB/W0xo5lB7qZQayt42FTdFaPPfAfh3L9oavIK+duzwev+vodtCbqUW/zDZv1VQxz
Tqje7XmrzPiGcoCyYVs9VybnXWrgN1Emhkw2t0mbxHtdZZtUEjgIQmSqdnH/4uKk3DDB4J6uGR9y
anp8tyN9kQU5XUN31k71I4lN51B2R6e1Y08JASks2JU8eDSQoLE2baQZvhOa8RDF7V6q0twBWnhq
dPd1LuBYIhhDPMF8lbR6kr3Q+mtNTwQo2PPCsn6myhMQqMZHpIr0zXReZjO601Hg7AaqdaQio7sr
ZuYOU753uI4LSZcuFaRbK4a5I8hMBTiDtLxk03DAebjGNQeKKFK/0vOXyEHuiSnHzXJiogYXp14R
kdTa5k9VjdiZzNFflHQDnmaqUiV7STLUmlbK/VLdSwJqtjiZAa6u7XImA95SkQrlOvZwn1Z8Wwe2
J13K6ox8u9wUzUgoYIv3PB+lp/ZrYLv+c5UB5T2i49xCM5YK5d1QOS+q2bK5qhgYhVO4hQ+ue4SX
fyr5S1cAtTVbS/HcnA2XQLQ7WHhcq5HsHTc1AydtGU7mrXW2yxbZvHxxS3mWbTUHTcX2zOA3A0zd
DNduQMSn6N8a5qvVQLGM0vkV/9MzbL1l7zAab+mV7TXgGUhUGckh46vepVv0nm7buzwoyvYVjP4Q
0Lunt6GIo61p74POqmpbwvarchLHaHxJ+7F9ppPlWYJwbxcTm5uP67Yzf5giVJvo0Xa4PdJN42oE
BmrDmzQdyr1mJSdanwxs8u+WHN5LmzgxzY6/94udeDX4QW8eeTMULCbIucvv/MFfRU72UG5jBGME
bmNriaT4KQv5RBA3qqDKi6LwCp9tRvxH39MFa9q7NEBoS6yDOjDDNorGgmAWg/EGlQwRMbTf76Ev
hurEzFaCdNPJb9uT6JVu2qiNAb5HX1iETPDrpMBE8dpdkw9LQ4yvRgzt0gzs7NSaNPsKObSRNltk
7N/YIeBvn9hiYoWwku6DXsHHiL5sG5kTiHM6jIxCWEripLrODNrociCN0h2mIXP8TbalQGDX0qii
v8rYND4V2rV9XAS/eIbbmRL8fdGdfmfVs8aGVNIIbbbWVCEB0cHRmkLi1j1zaXF2mcYlnYEKRab5
bhQJfGBy1wvUoZM+vahaYewi2X+EypATFEAKBtUjVK00pnORUvhUuKzj8j3ijWEfbm6rKDZ2aQ/O
dWDH2OGibUtC5ssZTKrWrEOoInxGPLIyaNasAjtNPc2Mz1xc3jrKyO2hx7E8Q9cr1kCJvN7lSYFi
sUC8blxrRvFoSQg+orUV04sBpNM4n5FTgTphNs323LyvRQ2EMQXqOtDqmy0FK1/6MRsO/owadbKG
uD8iMCSJc+1BC9U3K80+aGyjfYkqXNb1sXa06MS91S8rArBmftm2R0owsbWLMdNuMUd7A2vv3uzB
pc+ifY4ZrLA1+ako/D+MdTKNJoXcW4ibnapbOydXfphGQTyAVH+1IwqvZdJeqgQ6DsTGDGFyQerC
SPJEJukUhNng29DpdxBRYHxL+s8ut2HqaTQiNLo91JD1/USedDkHeFC/jVkvrip2TL+rOPPCmsS9
quqiDZykz5LAzBKVWmbj/8kaHRi+0xwa0yg3ZYYiIJnLw7BwYxf5mhkaOb4esZwmI3dwqOE7p5/v
cLRfuGEhTEjY3AhclR50P4vN5SXOX0yZmBurbV7EkoaBAg+5cYnH7LRkeRnhreBTEnTWFvOIchzJ
kE6LVuxqRBMHQgrujMR9yeoEQYhjiL0Gq5V+SLEnK+Mss0hj01V4Rl77djx/jwiM2SM0JR1aWs8U
nq9qrCu0saY9nt4xqGJMBX0vvbyIMP63na+6rwOm4Q0QX41rZnzBMkQ32Q7UUWczUiNSt2cbB5bm
L7O6xwSue3i4MzZ8Zs1WufqscvnaMDnwtNWoYMvPpBpRhrXaYzehtCOuEBArdOCCSPA7qQ73HTlw
NAMNQjXieUFFiTkoY26J17MKUfatH7t94nZIVvFBsWoC8H2/0NdM4bxQpdwODUm+FEBB4RDG7plz
GR0Sy7iMiKiIQnosig7hDKngzRjksh32FtTl4HYIVcqV26M5hGC7ibUEPmqobevJd5BCJrVgtDIo
8jSHRrSHRLRxtAVvuUrMMD1JxnQGKUQNyhtAX0R4VUtgG5gC8zA7FzkLj+vW9/HEMu6mmqNtyrGd
Agzzx4yUFCr8ZAomd2y4vdZim1fUryySHRUKRaxl555IiSS7fRz4gNgXZEXUjvPQ0L73l4HxZJI9
jmFvYW0vXJCPLoW1RCxqJgHqDzqFBVJCl1HW0XYohKwOs2ve/y93Z7IUORZl218pq7nyqb/SoCby
3h0cHAICmMgIIlDf9/r6t3TJTCKxrDKraU0cyXvkau49Z++18d7lSpF7ugqcEN9zdoIKkp5mrSP3
OBioiDC9CiboAd5gty5W18JauTa9GXzBwLoDhp32ciOX5A2yN6ZUcjHvEL8U2z5UycyKKAyNiaHR
H9Z+lZ0JzsDh2MbsXzKzQhxPtexnoKLkaRUbiU+BkkeuMtUj1UJp9/WEBlb+RgLv2cevhYR92Jlx
fVWRLrR2dBd5cB0na8hA+Dr9CPUXk79VtHyUOebUzoOcoFbs1MFwUTNYoIZpZ4ixrU02MSz8vDFI
Nzg2ekQpVy7KRya7Ao/LfCFJwoxMxQCbQB6d87B8ljqVSR2R5CQRFoB8QHm57Kcf97U2QRLaHHOg
MvOzIfdtR72nocreLbU0col+dHvo8sdhgUtIrETWBxwJIAOkwseNyqO53EhB0zybCcGNfrt2jYza
zL9omqx4BBkN8HDdDE100ntlF+fUqaMYsa9BPe+o4CdBK3SM3JpankFqil5W+M3Z6fojCiVkcqJm
H1uG+vJGROQ16YE4Z8u0ro2cX6Rohmsu6wdBa54wGIbhDOGwB/nQThmGi6ARTFtGygaLpoOGXYTg
p0Hc05VCEEE72R54auY8f9+ArEz3WsAUFiRC6rENsw3k1nezZ8dR4rD6uHH/XjIqci0NwT5qwSDe
onA+J4bffghI7K7aINgr95hdZ6EiGVb1fWubq36ZI2bLbNG1oHtOAXVc+UPgEUd8Mi8RTk0tsGvS
vqby0Q408RmSl8XIFRWX1KkytFNLC4gCJTmfO6mmCuKZeqpLoqho6bwFZdHvusncd4voKiv9O991
cxDV/PRENYCvGMCI8EGNb259Y7i0zkw7R3SM1X3I75YJcNvuITLoHZLjZSJEONamT4qnZpGXGVLq
EpG9ZZLmsPoiPpOrZl63O8NtD+0yyetRta19Q8U6AKEDOe8yF3TDKuLK0TEDaWY6QyGNJwdUlWl0
P2x9uotR722lsEssEi9cvgSCyPUxID4EyAbboi+6EwGn0aGkrCAlOCOiYehky1cslv3zb2md/Oph
9TTZaX2QMrkipTi8wv53LRp+wl6qw6RQrEqR7pMsA337VKiTcQjtvXzLCVncn+8u19Uk+vhsWlVQ
MZcbvRn5op/rPX7HVW7OF6VLXkIwygQ4Obumn9jN9GXvYg/RIJzNBC+Py8llua82SUkXdCHW8j82
RUfErtwOsdI8zdBk1vE4gqJgkh5e5YhxjgIx6rFtmhXAcePj2JRfsYer5CERp0+3TMvrzPnhT8VD
upRHmoqQE+R+N3INO9HPfsz6jZj9AqDKmK/M0Cd0UPQcKsvXkseLXJU38/LA0EFT6V1q7vKbj5NS
bQ1Dv3Ib6xyYKeoSft1YAMPjAhmuSmObEMgBLKE79FmGAcLgkCdGbkUF/YkrmEL+SZbuyqS+KOk2
rcp7gxSlPWkiZy0HBygC38OigyuZWosHQPe6j9RbRhAUIzlz6WmLsasHf0Um+eQZNuXrSgs5BpWj
XrBV9bJ/K6lregVGVqfUn+LWfrZT51yVmrtmRmnucHES02RZV2k8z7syjrmcq+3RwkWGoeLZ6kA+
VZZ6p1hmg3UeVc4UojFospfA1WeCDfRskyKLzMPFe0llsTecZFdF5kM3nYzKvy5SppO6Bf9e787x
kL4UTcp51rzuhixHDFu8UY5v7npqlT2S/noMp7vUV/ct4zEHXNCKUeFBVAoZt47qr+vUvqZMf+vg
iPLERRP+uCnNZOLiHt2MKSPjqGwBlEzmxiDWb8UglYFKOxzKunjjiJw9X2FQpkf41HQVcgEI4BqU
APIHugX5aaoszKVGfpjyqvtRqLeW8M03+LKoiqelxUMee9dnwdpBpBuYyo1L4WITawmG+aF911zG
9VXYX+ALkzxYKO5WHowUnbElxTHNt1rdDbazkxJWt9axEsvFZCRJtpoOyBA4r02tdqOlMxFSYe4e
x0yoBylg/L8r0RQOgMr/97sI9J8SzSJvX/PXfyo05Wv+VGhqqvkHvCtbmKqm0QkwwWL9KdJEivmH
aoEZUw0TQqem8kl5Ubfhf/2nia4TlIuq6rYD3gJ1wd9STdP8w4DA7QoknBYkWFP7X0k1wRD+Eyyr
WrZqaxykhgH63TGRfv6Dy1XOBYAhZnk39rTohhhEqAl7Ww51wssU9TDnhdjGqXGC5B1v0j56cRqH
Muxoa8gDQorqISBsJCtIIAiMyN+dZSJbttaz7rR3ZlnHuBJJ8Zp6+B4a4Hiu6OzMlaAdXlyywaI3
qePXKo6O+i2Z2h8zQVSFiOeNFoU4S2vjOUzGtxwjM7lyxDvjtrqEyKGQ6QE0TBzkJbj4LJuqAxHy
zH5MAuaYphrJLYHWj4qVfUcgH+2Kd4a/DM/qXe0snYmO1m9IlNuuSsduFfjpLuBlTHKoaFDjfkKG
12F6nX6OJh1Cth4yfzPYA9D0VLNhBAMkMuhfx1lNLllbbDoXfX/DWJV0UHFCVMXwYPZ1L+2mAHAB
loHIjX5ifDvlfVpsXQvsWb/W9EbdqU6xK0bqo+hcNpmJZ5RnjDu99EHngLhWQ1TvIZFYHixN5ED8
5+bYAbiiHhQsejUFCWVQZs66G3CuwTBZxzrcnHSbp6N1U+XZWi8Ta92agbOKDPdegQlHFJV6S8oW
edYKcSVzEmK9Le+ZIi2YA4i7upk+aXUzbio9fcWDRuxNFAZbREK0NnHXAz11tkbcPLsxFwMSGotN
3qlH3S2GqxKVObl+nKJoIGUpOd6RzfQsYAuk0GIGGhkvWtrf2bOJdQbeChdwLiYMT2jzzTMJIs50
Uw1hfYqclH6bonhj5gBamAgKcc391PMec1I/ipLUnkzgjgxT/ZXJDBgQC31sHPaHFETPWk0Lf59a
1fLDjmfFqPpVTIzYGDEQREqIxmR0tF0kkBDaKsmsCIyCmIlkIl7ymeTPIgwsr5/wEGLKqEC7DEb5
mpHQtFY446NOiM+VVi/ynNnejgawA/sILo6pWR0PONq5GqT6u6uG5SHMuic1ooBZj8zVHMsAdYrj
wajh0bV2cGptkClvidJmx5hkcsoc4GJMw5quVFUsFRv9QrRsvg7rPr8Lw0cfaOsJOS3KS3i/fJ9w
rcSZ5qH3QAKKl3iM7sZmhYE73lTmm1UBoGi7tVrfCOqGZAKWDoKmVZhxfAttTUucbr9GGlBtJoeJ
qiKTEAzGFpqWCOpQjQ1+rZjiNav9n3Qb1ZU6awqiGnqwzKmaaYTYMlm/RD5eG2rOe8cks2RV13kj
sJI1RYV81TcajT/mEFsN6HDvluUeliPMM1Ky88arNWZJWvxUoXk7iNKYbxFiUzMmPqgmKm5jZmji
IjqABLND+swzkjFSoi2p6yP7omGMpd5zHIRptPALgarWMbacgcmvsX6yxXOmyDpU6YG2FIoGgKZe
3yJ3UAKGGOQPj+yzdbAnX0r3crXQT0k0vNLt2hYNQB+ri/Cq2U22slVwBdjDKKH2xXBAgfsEVOGs
Antfh4vCq6cf6EUJACMzJZXXyYmnLUxyeumpTzCEtwD+xh0+KFKB/GHrKi7jpfQpKDT2MBIScMj6
NwCYQyXedHUzHcg3MlKTNpvat1vdVF7hXtwlafhq5dFNnhnWjSJq6jM4oNeMyy5xN12HD1G0SVMN
qG9MtXWk905haleRTLRV7cjZ6aHmtVPnYynC9l2O9NQo+6f1TRiTHdguBYK8I+qLqd+0AO7moYZ5
aNXHFL/qkUkScOhAPX3eJZ/ReL6q06mSr/l4bHnhb+uI9fAIzRQSY0fpj8lS75FLtIJuZ8X+aeAN
iEND28nRuZwbf/GhJDUZjlZgvrcUDDDNiGbcTY17gy0BnHNSMFocLY4FZwhumrk52DoSud4fYJaF
5tXMiXpthwDUHV0o55CimzqrPXJBisrS+uPQZQAJvriA5E1T1tS0+ZdwreO5kTfSzCONN5/3ae0I
lp6kWezrM0NFLqMD02W6SZwJ47m+M6KCnjA9k0Cfv4FIW8rnznm25n3YROl+Mrsb2AV0bpeb0gp0
SjHhoWsytFwLFgbdNPtVckSYcmuTLNr62YVWfYvSg6E9kgJgQ+7BQC6SUjoMsn2dwPnTll/O0io8
scH9CKRHJR6U+5Bh82tSiDkM7QOhxcHRwXGQEHMRZNEeMyhVjdF5bZmUtbFRndLBei9gHBLhRh87
Fs2Ntcxl5Nxf+jtUcWbOPx9MoIfFXs5nhP7m9ra/F1OxDexgRl0fWl6gudSDlht3MXp1lPJSTy5q
LafHOiBTsTImsVdQgVYtgWhiJP4UvrfwSpPIRztQ+IXkFFwamIwkSY7mRVjjvalmPeL/Y2iL0Yvs
ENWzphLjYaOxJLVUJQFvm7WgYYYq26qpts/ynuTModHWmcn0HRs1ol25BxhqN65aswf6tdR+5Cd9
3ny5Tw9gsTR41OkqtZm6kdURCKfjai6LeCW3Uh0hX86i6tdnbUQuybnel/u4MtZbpI93/dJ8lTcz
mnUUzJQkY3J4JuwUlJqX7ldpDvZY7jJ38PqlEhMtBQ95Y/ggB4SmP+XJmMrdYVY4fAPTgOOv6u86
kb9USkjtyf0dcepR+CNMwzdlhHW6qpYSx7js8s7iZPtczZI+z/bykVGM9byRD5GeRSOMcEHgmWJK
SNiTz5CP1QpJz30TxivSbIEv/fXGfY431NbxLcjnGssxJ5c+3ubjI5Zv8PlWHx8j17use3AwZyPb
+uspckm+zcfzPj/q8znyvoIqoTkpTkBYqnj58uB/uyof+PKeH1/1t6/1cYfcZr/9G78tyndBhTIz
AhmT8SqtFaChy//w+da/Pf1f/5N/f/xfn/rlneWqyMwOy0WHvp6BeWU04Wk04/BUTNqIJFaF5VbP
YLKWB3wa9Ij1l8UsWExE5FOGFIi4sbIHDhIO+dC6FyRbboMZBYADkYaL+r8uNiVDPKS3+H81nDUa
ndG1MS6tfbEU8BVgmcgElpfKdXmjge4mBJSyhNZr1MpTp12Xzdh5ZnXKaYhuITVh220IulW5jAL+
6FFTpHa2tZda1STLViYXIrRY5Y3IKmJQ2KGLxanpLLucXB2Bg+L3+ntd3qkse75c+vKSYkhbKIEM
ixZrqLxBd4IZclnVE2xPZsw4gBQVVLTLmxRZgf5SLvZ+uNDnlo/P5L1y8bd7Ufw+EXZpbuzFMDuR
KLZxiuqZpFNOxiGlmS5W0kPbl0zmY9KNNmOiP0R9+BroNvOg5fCSN+2yFDMY9izfjTf6lP7IMZuj
vOTcN4+nxCxpqbrdPlzOGNpICbh3V6VTtuuwCDb4dfKj0f6kT54d5BsyMc0+3hr/Mk0rcbCj4ec8
uLdVRoFD/h9wf+/9pfmfyxOCvE9uBs694sDrPr+fvlwxQaEXIO7/2oqEPjI+TxazLq0fa+1bmbTU
YfFV3KceYv6mnFGnfDzFXH7g2kifylGzNmqdYheclnOgCkJmNzkCSLpxN9YxqYrauG6xymUYX/fj
UrDVO7JdEGgHqCtxNa7lt3ST9gw3lVLa8hXk9/IhGh1a/WY28pbRm3H5eOLfP61czbvuDT925OHB
WAItY+qf8lO6pcuFEZ83a0L+NbmeyHK0lu3LIlnAiM2gbrQMAcRktflw3ZGUsZcaIGcp0A6LJIh9
4b0Ms+zj95W/RCPfevmRP3+YyDF+pf3EeNyt13ijXI4SAgpiDAEkkPc+vhiupSWbTP4ycrcO1N5Y
wd8MfbCS8r+Rj8kbpNN/Hiqfv+THDr3sv/LJX1bl8+R9//NbAWQeGXtcy0NO7mvyy8jVTFalPtfl
0sedM2hCpK9Eg8q3D5SOIOzZoqLPUSY/lrkmR7JcJBOOQ+1jUR7f8ssx8vvrAEzkB31+5aAkhHVk
nKi43TdT9iaXYyNUfGUmOpVFyiYF/qrJfIH0Ve7QVycYWcJQ3cinfyz6y1YjHMTqGFO0y4lB7qly
6fPm875pRnEwQXMuNcjA/zwHyX+s7TUu+XIRpQejH7n48e3Lebyx4uuxaNNtz3JTTPPWJlyVwXFK
q9E24e8tX8Ssj0i01YPc2O5yyMmlz23/eZ8oOmbmgaV4n0+WH/m5+vlaufT5M34+8Pl+X14b5Q9d
glJRbgt54uxESHCWXJdHHls8aU9y/ePLzyVyPfyX6lq+l/xN5e8mb9z5lWREyqhyw2N4Jsp1WQy7
jqGM3FP+fVG++uNUNeI23jvlgrWhtRUvN/JcIlflkrzvc1XeZy+j4P/V8+STB/9tACl5+Pj2y7mE
Wju77ecx4zvLbvyxM8t7XQJvZuQzfx13cunjWXLx67p80ce7/vasrx/w9VWALhH82t+0WY1X8rwi
LyNySb723+77fIp8VJejQLn4eSN/j89VuSRf99++a0k+V+J9vkQ+8ctH/dt9X971yycFywl/VDf1
0l2RxyyoGawsZJjFywH+eTM7Romsb7mefN4plz7vmz+6fstzqtbgIPt4pjzdyjf/fOpvj8hF1Ae9
p9E2+Nij7TlHE/d5oPy2/rEoj6vf7pXr8vnyOPvzla5YjWgwumTWKOkxOK7ecKDZumrepnOCDSRo
t1ZeAsOtKL65w0MywiNSm0594HQyLuoqcaEuXGCt7qqHMmkOZoWDb6a3+5ybOTxPQ3nQNd+97cE7
rXW/v4dWi0e3Hl3MDUl4IBaJsErrLh9jOtYG7nyaMOXVPMFLEEEbg3KC3ioiyo3USZCKINhx+qza
QfnGEYwXV5HnuK//8MfpZM5JK1gmVYsTAQs+G01eXuWF9fPG/bza/nbJlYv/9vQv98lLt7zv4xP+
7XUfnzAk7hUJMqoaMvVbhnTLjSOP3c917OdMYiidL6rD5fhd1oflBPVx578+/uXltgXSRtgC+lG7
nNTkyzNH5PGNfGafVHR1x+oiH5jkIfjvi1GQBisrLd60COYyXhjaUvAJ0qHF3RuZi0snfBP5VaeU
/NAFEgZT7KP8CUOQuYUQBUmmEccBtyAMZYsedGs+NmV0q9X2lTO6ZyNHKuTE5YujGBu9ySz6etYd
kq63Uoc6G3F63kQM/fcD+aKARJHSmlE+EPkMR7ejo7hWkDvBVeiaVWVlqO/ilromdcZdq3Sn+oVQ
BAvdAiNDMK4tH3EbpCpaf/JuNulU1DiAkHwNYTFvI1TLxJWCI7NI7+M6u+cS/5TY+ryOCmGtFcV/
JDHnOQhHZRWkmb62aEGO1Nmo8vVUwSiEe5WzVOB9WIuusDkwxtGgUjCd+zCgSmEbsLvwD2/9BIo/
WOHNVLJELxPtzDADFG9iz2z8dJObxU9Fc29MxYQg1Lc7GHjvmTJOmwxE1aYM+eap9UhSI0HPFOaq
shC3fRi/YsUM9qAOVpQJkLr53zu7ujjY4Zw4qlapzVYlHmGl/zDcvD13UzuTEqFurdjaitq3N2mW
/yRW52ApfekV4bikeGTdZkryW5BXoOMn7U24oYKXVzh7USDkXbqZGlHlhxQfBWg56rx5ua1wljSz
HZOnkGcYcdOGyk26YdpG5bwJvarI7T0xUGg6emR8o1pvhyJh+EkTwXXQHWtlWK4H4eW9o8AFoWyh
mfXawK/nKblxj4baOVlTZa5Fnq/rqnlwZ99YC0FAu+m49/HYTisAcdEltrqnMIx3CVqNbwW2WrgV
2jcUUC4OTdf0OEHFp07zr/O5zrddACCxxAq0tJNPeW3Nm7zXICAP5s5xq9cps4ol01dHJWY6OCCz
5goU+rCzlfy5c87YY6cVDfAGTbhCoVwTDyRrvDL7ZFaJSX2bN/1+9OHzwgOl6JxTZuqUYpVp/Q97
SJ2Va2ILSBX7qjKGrSHwIC9nf2AlnPWoN9GoJUG4oyabEvfTBbvQ1LpDO7SlB2tQNZWNUkbPqD9H
QhTAiXT1PrsxW0jUqU2vwtVqtK/NzwwT9ybV7G9EvHszKAdRauGPyVB/xOWY38Odj4+5VRD0SYQm
u5x2bsma8ui3YCoYTu4cOfcDcTVQNtHtmSU66+BqrHOYdhbXlYIOW6cXwW7qfgUiym+TIfnpaMM+
gj25ge5Pc661z1MdYhMe7vVO/TGT6HDNmSKhgoC+mMvQczJOHVoBTv91VT2lsWVuUCyRS1pHTA7j
g7XoN5IufJ1b5GKukR7dApVz7ZtP5HgUyL8Iu3mxB1oJ8fQUDGLy5la/gg35ojgkVhQKUk0XMXVz
N5VveWWFl1jNaq8EQ7wNmppiU6iseqOur4SDr1Czh2dd2Owk1IinKArYpcWb5oc2SeJZcmPDV49s
UsZFoQG2VMW3KTCztdboxabwR0xuk054AmcMXWWfjWEB9ksvMS2zalWW7s+MUls2DmRbTvNVGsKx
rggpaAPE3+KQYOVKtPS7G3E17D0nJ21mUmrlnmjTNUXSfaFT98wtGFNGctEdPCF1dObyZ1vgle1K
HAJ+x81U3Rdqrb+hiSv74vuAQALHeahuh9RfNSkbUtHS0xDjOaj5uHUwPepW/90dMmWbTtNmBNiD
cqu7zSD0DhhmNuRrgk4os3DvmMj3tYqjtjMNgy9tPfZWoR4r/zscEuBuYoNo7dFkvAPvWQxo5/WT
U2OJNmP/ovvRpqj9eOt0LdEvc3mq06VIripshEK7drpoj61rPJuj4q+hHnKFmLguZQH6OxoA0xXj
GZyNNfA1095XPXCOEFubXzq73iD0MdJM6rRzfmjrOuL62uWHymRGaOtmR0OTozwoNMLpsEGihbK3
UzUM137ZVjiqa2Nb0rSJ3LLeRx1KsBgb4HLm5wjsBvrZFHah3sWcXYRJU3Y0W2AIz2VLz1SvaQUF
avCuBO1bMIOVbI1LPxgIuIs+44CCPWMm6NlRy+VWGFwbs/5gqWWFLjxJTp1iHI3ptWpK5ZzqM7tL
mF4PioK/J4v7A005ryDGYCGw7lJAzRQKELBkvb/q+yzCUtaQ5ikQW1Pv/8758WS7GekjKjtqPoEh
NjhZ6ZpSbgyR3FGZX7cZOcUqW2ydGG68M5LwJdaKMwglHBTNAJa6LmaPWv61rvS3cxuf3JrTW+fb
P5gx75qKYq0bwXSkemfFNlrvhKuR4gfXuq2Xq65yzr6qRCujnkOv6zW6VfZ4sSIr3KGO5d8q5r2R
5+7pqJX0gkcOx5OqPKQaWzdY/OWuj47PiL6rzeBs0lcfuP1GmbEsj0swVBR0+2h67OEJrXqseGkS
wUWyL+Nk7GjMJQjAthSPDOTx05U7cIhXjrsBkEz3Zuxe6G5zgPq8UQE+hGRabWVl2kMyhe0l8AHI
64W+c0Jw0ylbCJjQtnbH+KSpSIYVf1OXV8PYuHckzw6H2vSKCFiAbhONKiAuDllRrH132MeENsIA
xCmLZDyAtWJHPadxIie4Qh31zG1XA2TwTW8lm1yPCqyQ2bjxI3I0+jm67/QJYX1mM5qWGV65S/aw
0sBpVWwGaVX14Gu3Yk7PyQAHRrwYLjH0kwHbt8U2ZIQYslV7XAo/lkUvKi6R603LbqssTcvuZPVQ
zMvkZCpP05CIXWBAoNVTpcaa2zxj0fKq2pi/oTS7jRqs7TnefUThAJq4du1yHUH64FjP2BrwKJWn
QUkRAY/4R40xS/dRPzw6TbgnHLE6tDHJq7ZIZi5yBx9FFZ39sDu49rS23IABcxQCQ1Ruww4lOeOm
kkQKQyvnO3zhVIbTUDG9OVDPQoH87Q/V1k1oPukxw/16eqXS5kOWC3+W+YzBTfgb+rVsiUjbhodC
YCUpIozZmboujXtUEo7XRJYCpoQLKmlNoI0gExAnc+SqRCe4qzgEo8nzs+apR32BJaV8dqz+AIlJ
81Tytlw3fM+m5BmlCXZW6hLE2bd3aOaJoLF6i4wS50eYJd8IQ04wrcck6Aq8KE2KDT3QrPtQfM+Y
/9COxhZQQ8PeQPe7yqxrobyIICTcs2PuMCknZZiHK8T2L+qk2ACQGLcExEVpnE2LPAnvor45iWKG
v7FgNxPMw9HESbnSUVZOmqDrO/QrrcMTld3qhhEfhqF7dCbnva5sbVVmtrFyyQ/pw+m6RwYAAJUk
ZKwOu9oikGBRliddeYiUW1e34eXbXIsdHcCO6Eomp/gfQAYcILVaV0wumDNkPdXl48hPtU/Jg9oq
T/mgM1Av3OKkRzTTM6jJ+G3uI84OwjlwRn/IZmcNo206qfVtMqruFrzx29yZ76DRYLkgAULUHK8y
87oFa7AGQYbRoXe3QOjX9mJIKCwXGBbQW7UBGhlUWF4ZdhMRgLIYomYeV/VaDWGMB5EabTJjOQNx
8jOa4bYbx6PLOIhRVbqbmwmhH3lPXuUODMITdaeMZHgbrbof48y8QLRB9EIjNNxj8X0GS3JurKA+
tzme+jGsFfSd2hbOAOzxsjy3TKA1ArOh1I1bs12mJhCS48l5yTKdBqGRwE6xnYq933kIsSdBhD6M
fnkXi2lXaCYSVTSWnTGWFGNJJU7t4SqFjBHQllzHtv6I4vynmIloK62YyYLw021pGUScZvGOacNT
VeCbIuZpnaog1JRkECuHcAlPm6u9S0LV2KEkcAVabLI19Ll7QDErjnl826lL6LsDb9rJs9c8E1ci
ogAErwbd/ZII2GlWf0L2C9ARG3DHXjiQ+3CGeHc/ds6b5VjDU+G43yuAk/i40p9RrNigpTXUNgKP
rsH+lZrnOrH0x7QW3xuUPTRItU0b2PDUcp0gIiNfKW0DwGVEl+QTdkjU4GPZmtl9gzB7DfBmNUJl
X8eR8pAvDPMGQIxfTNkGCLTBXG3+DsWu2qhjuiU7bKfYVsyeA/A+IGx4449duLUZD9QTKnoHYdqq
oHZHlnCvGOfBGAavwnq1K6Hrevm4Evjn8KWl2i4Q7rS35xhnEx7K2oa+EZkMdDBTD4SQqc5a1GBW
++ACUT3Z4q+nD5NyycUtwTSDBEkRIlYBmz7rwZZ0JNzwAVwnZJsO+J6eIQehg5uBQnHK1f9YD9N+
SMqWQx9OwtRSfE6dq0StgFx1rfU9Y7oUgwpaFajSVlZNQquPhG3usZo5apvtjcgidpq22FhjdrVj
QG+YMkxM9PVNG+OKS5l8cCZLcehbYrK2YZb6TBMnJK/zkIK6nm3PNpkl906zyyLOmlk27acmvmS2
KIBgjwcO6gI7PfLcuBU3uZ/5W2c0iEkk4UqUdX+JScewfMRboSA9V61Rp0G1jOGZtRxw7IFbzCLA
53JLO+LKCxfE/KMaQ4vQuWgNoa3sXBHSHXFC/1gXRKI0j050F5otHksAOl2QFCRHb8lIsw/8GnVA
CJ0frxSXQDhhOvM6QXHbYhnggBaYJAo1XTmh+0ieQbih733R9MDeoSjLdwKrK1TwBCw69Ddt1hDE
6hlyOvjYULd0AnsCmDPhe8q2XFXKBIErSn5Fg/2D/v1u+YqH2O5eLKpcsDjSh3ocqIZN7d4C2Q+5
hqhTP6/XQ/ek+9CJhHsVoYK3jA5rWmud3ivynY6+D2qKS8SdzhTEMwKQy2aQMToKwPHP/KSl1W+Z
V+DqbMJzV4jZs8Ye/2UHTTivOy4D3cOsd0+ZFujngq13Q+bVWR2jpSNQYNCw8gaEWppv3dq4j0k7
gogogrXWLjWI6aaryIJtIHato2okIMfQgo3o4vTkaO3/cWqrAdz0f5IEn38N/7F/zdh1ovrXP4TB
H6/8UxgsJI3V0Wzysn8jtwr9D3RM5H5bOmm5QluUv3+Jgq0/gD1p0IqEoZkEx2mfomD9D8g66I4N
Q2jIeFXjfyMKtr7ExEN4ErwTiewOCC1Htb/QW00GmUHliHm/DNCSyL5GBrhxmJg+VFfpHqPcTHq2
OGJqpPDbfWtfzbfgW/uIwpViDUeEP23JdxLK97Y8df5OY9aY7+AXWMzL1D2RDhkFAmrcD4AIq/yA
fQaO8Frf5q9APBnEaLGXEcf2oP2sToDjDpgG4o+97h+o4P/Iu+y2iPK2+a///JpY/vE/ciFzLcsQ
/IHE+3scce3r9NkyZ6ZpKB47TbsLO5TAjnEbD+ZbV3fvirIQbJLo2Yq0u992iNsPDu7vH266yxb8
jY8rP93klxKWqQqVUuI/P52037GKA2PeOw/ucFLfi7v6BnGg+tJuAShiv/C97l3cm3cF0/cTFIDk
Xtk61+69AxbkZonMumj1tXbFXOI1O8+H5ELYZHOOam+4dOUKjtZ5eiWEhlIlkgxI3vEabclb8Rhe
GbfqrnR+IRvG0+vOj8mvBN7NrfnMpJwUowJZsGddt2DohecpXJFeqofsoWcUYRxglhCJLty1AYKP
0Lh64Z8z/GyuwGFv1Z8jPox9Kwi+W5MGRnfeWZOHCJd8pZ2anXM01tlL8cAUL3yLv/HvbMfv+Tus
6buZHJJrSC6MVwk4wtG8H67gCXA938a/pn227tZwJxnrQ7N9108AFlroL7FygIvS/GC02gkPCP6P
hrkEIZeH+qV31hl4xgcHzAqYUFgiDKC/oTFwH/xml8aX6XYGIXgd2Kva+VZckl+BicTYU66Lb9Zu
vkOXl3/Phm9Q52C9sDmCq+kpf7W3A/7iyLPeY8jv1wQB99oxCTZ5DGtz3zvbgYEAfguoOcJLTGxB
Tz12LON6BkjILClXL6a6pfAlLvULQYU/ilv/pi3O+j0MDBAF5AZHwSoEIXgX7ZQz3YFzcCS3Ibi1
T4xCJtKNV1g8ytf0WDmMFrzwUqyN93gDeLLbUt1CVD78IEwwgSEJWgHn/sp/AhxTFrfRtza8dk5Y
noBv5fYq3sA+Os07cxtuEOgjDUEUbj1rP/1rBCGAyJ7QmLjr7AYez0t4rcPEZNM25RquA2OYjPyc
2Yt34gppKrT46eR8h7pFyOhUrNNf9YVB8HgmKMG8UZ8xRlp3wUEAVuSCFuHNWQ3ayv3WsyWYvhCK
KK6q1tP38Wt3wEp8o9/hRHIegh/2uWtOreJF3/0H50LgHbs2M/92zYTNONjn7GY4qC2D+ytxacwN
Vehyn/8YtjkUkX21T59ICI09dw9QJL52b93HufKKbicgQG3aVcbR4aW/+jPV3u6kx9/gX1U3NMtv
GoCny4jNo8hCiszwhKhPXEw6E/h4kNmu0037SiDVOqVZtXEJM9oQnoqu/2KRP+eRNwRNEsvycECK
xNjrrV5Nyz9ob/ONOPSEks9sSJycu/h6IrtvbwqPjI9zlq26Q3gNcB+pf/hgtKQXU+rZYGEm8bIP
YFp52s/0IdzQrXym9pfudG/aj7cYR/8/dWe23DiSbdlfuT8AM8xwvLRZgwDnQdRMvcCkCAnzPOPr
e4FZtzKzblu11WO/0BSKCA0k4XA/Z5+1zA3zX8Yufmk/Jnc7bcMXiCIS928KQheLhGjrGM/+Z/Mj
MYdMqePU97vprdyPnm479hUFAyNvCEPqHfLNcTMGq0Z1xEXrXuxrf2pvOPMQ+dymR/lNdjM3ZCP5
qFzq4f+xOAMu//vqKBTVoIzPjJnCbc4w/746wqbnFGGq1bYh1Zrb84bS55uIGvffL8P/YxFevo1h
q5YNg0Copvz3b1MvgBjZV6qtoQzPy7ewp3E3BeP33ESAPDOguXPFLf6f40H/l6UfQNX/uLsKBdS6
YKxHt4Ruy9zG/3rnAS6gk8pomq0iLZMpke8ZYw5beAxq4FOa9KEYaLbsdO2Xr3Fg664iPgttYL6T
o1xvSbjHy+m58P1+OwuVSy2lv9UZlE8iTT4m3Qjnm0pOJepmrWgTZVQ50j0xqmJdqwr0SsLWTlI1
5xZI3zpFvkww/UBtPr7ks1Yd9WESrhZbIHzWOBeaV7XswBtYsB4Y7rfpTxSSp4n5sc3Y6vMut6Rg
2qoaZCxRvLSG1T0FRqOe7DSHPFFy4kgsCct6UGI+bo6jhV5wCriR+XJ5s/tiF6AoDzLQKsYv/LFw
din11abE5Dx9yCKjBtbu5SxRNpo875jTZA9Lp9lhApaTnc8AbV2vSpuK40BNja1G/4Adj6OYzbKw
lHxyu1lXtSLtC5lKPBv/N7WscVjac+mScvjpagyh6kCDLyrkp8T09VPUV+DGZubtCxVaR2FI+0RM
WwBiVzNlBF1GXzxGHMNA4Wj8kOJHfQ7xOKziPBxd3nIo29O2cA1QR44qzZzoq4wZZjlfSypBPC2W
rVPbWCfEuDTD5YEbn6VfphqctSnpX4M9wjeDBZKqC3rMSrd9r0oUnIxmlzSKNw7xg1aAWFX5yXJj
fjaYfeHnBeWU/a4L3d8aJXTscVYvcQ9ZiCGoVVuYdEsj87WLaHvpdE1x0eAUN9kkLNpupdZnZzbN
J2OGy1vWqxhFlEzFA1nZgzL+rkbjcS4lGJHB9AbU4LUc08/wgt8n85qxeRzD/Cn2g2d8cb9jAamN
0vzrjHENKuzb8rE+eKiXxDL1DfkmgzQ0Lm0DGficn+hbAtgDxH3PmKlNqbrq6iq9ySwGJ17HwTks
jRem208SCmvGonmlhbqHUChtpFSXtjXjIHFPU0ijLejU3fCKDHolC+DeYxmItTR+U650ZSl9Hkv1
NySc/TDlqNrtJGPibSMl3eQAPqi5UZgPVKgCLKkMi5wZNXUmBmhTnp10PilT6ZZlQJPoCVAoSLyF
w5K4JYQYfQo3udy5y2sm+xJSkW87DdYWNW8tNNwht5ABp1A+qq3+YJY5d1Db6ZnvzgsaRAmwgwyN
2MLyHy0S3buOBE6GTtNXPowe4GcNjJ6NV258xzTFxqe5NwjN9i+iGY4cm0m2y2udodil2NrME/wR
7pNjZB6g1pgHdE46ZvLsMoVGTMPCB/NKrmaB0HbaEcSNAINjnWfNjQumAYxW90EBwkeZcqWCtZ5P
2zjrFmGsTjlZGbtDXtWPSN/9jV4EgTuiaF4VBsi5oAEkV7Ly0WkVjSt6NWBeq98rHZWHBLQTVV5m
ZRU52k9FtLYawHf3B3MCP5BGNXs21W7DTdWKB7+FW55LRuPGCj07YN24uxb8xKgPyd4yP+NkCanc
PxWJN5Lk6F0WMsX9M0ZoJ3981Ku/uCLiAzgnY2UFCqStSu+9gNSoE7YpyyceOJ+gmPpdBVDvVLWP
vAdmt0gZXubHBmU3HIXOKbfCbU4F4U8n2gDpY8vo39SXeave4tJr3PqUnsaT8olIszkwyGfars1E
i8PandymJ6796jgCcvypN4rXs0M4amdxc4orrnT5BrZev4SfzVFfj8Q/Hf9cfEHweGCwn+6j+s5r
ZL6LQ/MUbnV6ZCAFWOcvVrmxMEQatJkZX+CJWkFZBoOPoNc6yw+UyhkqCjDFMknIcAAqW4q51k65
ChIWDDM69U1hQBPHMmsCLXc2iCvAicaXeBC/xa76jvpbSBUldvUWPhT/sf+pNM94HRB6rcjhSDYo
HXY9qwS689neWK/FMxt57A/O+GptrI18iTaA2JAY0JC2r9pP+gE4A4zo1/wRgwXaVI1XqIsdCQBk
wi0Pt/eh3SoVR5X1Um/cFwGAFxZQewUw36J2bmxM5cC0Y6Cup2GLMJX5eNi4WnNQ9B1UrYmrrT3Y
/ko+MSvBWkrZhFxrU0H884i6LEVv3ZG8wXwwII7z610r1qZD5g1eJNahBB2ABYH7yapGlgHJiOew
9IK3tN2UrsHm9AyIfCkn7Rh4rd9VKPP0/0G/4ogHz2OsJALXF5WxiR0PJzpBcI3BtBpiLeCpuZj8
2PlyfU0b6mC1xqzMSpjHsVsjN4yJEaHBhnbdOiA4rgXPFrvLb8bwtPpQfzG1ycsDTJ5OT+LQsEwv
trlP6KAFWzN/hCU+2jfpzBJmnw1jb95oAPZb3hboWXmKl6HM4Mk66797Bp8SjyNZCxNh6alCVGTP
KJ4Z46GAG59FdDB/M+5znV/9C+cnNFbkbfLH9pkGE98bMO9qfs+POFt+cybDTqB/a+vobJ6yz65Y
IZBs34aXaERXsLLPXDa4QRaOMY7NVfGCS+wp5KgFN+7GFaB9ZRzWYrdX6CPyonHcXFUvy9yfa5yT
F4Ot6uwyv2fGnl16FCnfessJhm3Jz7/n55W7E1I8rkm2UOThwYbLzjOdP2IhVrWpXpTQmYIdvyZf
uu8fCuWdjAuTikIcA8OF9xqjF+PfcpA8J/XKOCo4WA/+XnACFZxreKUwSThV4vICMVvqv3bJazBv
MnOF3jvtDtKXnnvRY6BsMUgY9qZiI3a2L0tpenay8TTu+iOCSbxavHOh9UpOtakPXbIe9zATT3Hg
srNJf0+gEt9l+5gefWalLcf0mY91ZHKiX+DbfU5zDojcInCsd95XExlzPLWgJ4jQbyn4fXVfoHy2
zFM2x3Cbj8x4uMl7umnNFZsBDmDM375SzE0uAL6YQBxoBYOEdfDbqqojoUEUvEVWgekNx4oDORLU
E2NFvNlZmqlBf9QSB5fVaKzCKyfyfJ8kzzCzofM9C3vVvRXscMaNWGk72BbvylrdmC/phmLOLSNB
yO1jl56itfaSU1fwrOOBaY35aci88YGCdvWAd2Q73tp1vEQI9VPCMha4pQsOxvodRk6wzc7MQb73
74R2Pvgdrpx0Rb4N9/2mn4Gz8FunmTt7NhAwd7wACUWlKltr0jjy2X+k44+KhFNduRpcjuXtY3OR
btXBeGLQsX0XDNk6H+GuOZCY8NgmXIE92Mg1WLX7J8zKYjOz6O/stf2letkrt9D2AWWQcgR4eQ7O
9S+Q35PF6SqJVvZF0lY6262X8qtzjRMrrP6snaOX5BBsdXUfaAhQPLQk6gQSZ5smx7LdlfKDedVP
1lPxCvyNDSaByTxwfd51xrb+zdEgpKBS75R3eFLzhSPdmTsMpRDOiNEXM5twde3AI5sApcfCGKyv
sswt/T3Pe+bSHYLdxLiYV78rmqdpvA3E2WhXtbLGFtn721Dajsqa18kP1/wuRXKVcWDoOzVecUil
XeKjHj5RVhkKNgtHTpXK76b6YldhV27RHvVr+Cw5mnCUtbiqG/uJ1goEKXpGTNky1wxKOCJ369S7
UHXpN43HiFwhOPlzdQZOKOvnijwiV+VPTyZsx9sueJt/Zef7Mqd7wT77oLoywM77yIIt2yLbmx6y
DWaxaxDtNeWLpn8srsFwij7oFw3gr2BQEepoDwJVACwPFv+O6f3k4A/PncI7Xfpx+goIGMzrB9Yf
e5o4gj0ne6SIXvhLeZNslxPBcEpvVCC0d+VCAaTXHOWS7uZ1daUqjo4huwYf3JdYDDTt0+7X3am/
FI8ReohfLYmjVfbGzLSwXRojxHw4NsfcylgfaXBxHzbpob+M5Usg2IWvEmMDoFArSOitFVa7W/zR
WqvkAiphuo7vPrjyhYy4wunLOzYmr0hEA26Y438E0BSIIipe+VW9FB/YpfTXMnqMH0R5sI2tsY1v
y8ZTWkefI9Eeph0jl/nBZB8z24LoyevflC0dhw2AZBBJFES28qbdcTztThFY1HpTqevuW8AToGtj
uEHlYAvobuJJns/+U761PP/WfdNiL9kFPAOfzCBu1S4XSnCWveyF2S7/objqq+CxRAe5Sj4JxFY/
2rr7KKlv/Ez77FPVrlmEPxlUIE97fxjoSLMJf+KeF13JZz308saIdrBfvelD79zqhVWdDigg4oDa
2JlQ0RPsnKXnsxWvtLDpn9gXCkqf2lr+5g8QMIeApisdVlcf0Sk6MUgphI/PJLHzg/FI280IEW5e
s2+0HXjqs2+DBFZyne1DoqwlT+Qk+M4BQauH3tz53BYn+UOn3JLqX/0sczjBihO8z2bm1gk3KN0r
APpz6UUcbAedlW5QMXBgnmQLVMH/w79hAQ5oYp+ymqI6+mnigP4ObNU/1dpPU/+qQ7d+4HciHkJc
yd8F3+xhcrjrPCnMtvtIW9gl7K3WqzEMJ6vyFnfscR39G88gA0hGwvHDod3LiCaC1Of+2P+2fg0f
YOSJqs5f1TenRrtxcWr7PxioQGw6dK7Fnlqy8RaMYPC4C61ABu7n0+Rmx2yTsbt0B+g1Z0hDt7ok
3bqBi6n0bsnchoPmxJtl5FZr/be8Y4sIapQoxEE/wWBsEb86lRec01u+izfhuGq+EL0QBA6fq0MB
S45g4ym6iE11FuIgb8bv/luceVdKwSp7nk/hKf9lPweX9oTRSf+yd9FrfSR0Rf28eh2n9ZT/KPPD
ZDh5uuLoNcW7nOmRej3+sgT93fUIXExxgGJMGUljzOLaqheButLHST7MKkBzerNGsJ85xYaGJR+G
ABMRsWD+QpHbU5+1qKkJF3nInRdrBX97f7j/u/tH9/9mDRCe8yRpWJQ75WCPkQJ2Y/nX9O4wO04P
adBuhywOr42sLCRUzdUE9PaQdaatEJIJUn2epfJ8lRo6t6xEdh6PhNRCsQIieyG4zIWd0ZTMGB5y
EV9fIzs8mIbgZ7NbKrd6JhNk5A4CL812/JxwbcscOYgskkqdQWaiM8F0qMhJA8lq6cLKXkMykmyI
TDHKNviV/TDw2ri9KYkZelXXDE/KYpbP8nRd4Yp0ZJsNd0tjy618hh9TtX5qGk24hS8+1RCAcShh
JJhI8qY17r0a4TlJwdobUDu7owoXWYvG8DWK1kZFQkGKMcXTISeXpPn1ujKWBGDOrbAg4PBYsTsS
Go4vOxZOPQYc1kYS08TGDnrHfb1MZgopYjiEcXqVFrNmj1jiFDbazdThsc2sD3HHoEI+UcnUpfix
BEMgSutgcXPyEZ32NECVOW3ZP7JDHgr/mkb+BwHMZt8CTO2LkeNzzPrXzMY6TdY07pmtsopdEhw4
Xz+0JcxYVZ8piatZ4k0RKRl7YlMBPwREsP0SZnA9Yrx/YS+gtAdHvxzf0Yqpu35AhMWI+oMff6Zd
jVTOVr71ElcynhZSBVMcb2To6EsBBBNsetMFhxU/YXJzFiWZirllrsIfH+fgCjHceIc90kgFpl+5
vdEnprwMHCv2nyvjh3RgTZc5fe3DlPtqlYzU1OyfKrcOSjPWDuF4Kic5PwNhZ4/wozeoAscAkhKp
Ff22HfGiV3L4M8NMVmpOQ4JoSoj2a+tTy6u6+aWiD79lXpUkvwRlJCCly+FqeJuWb6aqnE4VgtU2
eLERnBaRBdszw3atK+AfoxjKdBOqW7mkPA2+ZjMnOh1/YCZYFg/d/DZU0lufL2x9ztS2RrWR7GvL
COUf/xeXxY8sdomCF74cOL9TT4ssEhxjKi6pKWN2n+TnVtbf8zHZQhY0oSujkJBJiLK5toHMwKbt
RMBPsCSCm7fCgE+acSAuc7aoWtG+5BUT1LnODLs12F/16IIb/dJNtsZRD0GvYMNcAhq2iAza+s1O
lXdClQ1HUBpYLZk1EOPHou/WQcmRQQ1pocRVxHxEmm6UOgt2j6FBUwnywhL2qggJRRxmGtlRK+uK
DOtVigeOTRbAV0u+JeXwFY/caQQD/ZNNPShrd0hNwNIjvrHjHrR1/AKnnjkljSUllTkth01auGEE
XhsNg1dNarsVUWU6dh6Z+17hBmAFzx0wpA32op5zadz2zFNIMtHLbt00ZBql6BmbyqehozNsFJIs
om13aqolRK5K7osqiCO8Ahy7A1hnTUVFL6KDyBLpaRMBy9qHTqPRbwu68iLs/BoN9YtSTUuZbCIP
3ShOqLSP9tAwjCEPL7jg0byopJoTayFONrQtkC/F+I8RzFnBtiRlGJjSmqHBq8ZTy7tTzYGdsKU1
ar0hutq9gT5jP5LSi2ENz4529QpLruHcH99AVdG+QjJ+1hlziAPx3A+4djBy+aqerEUub3BGBM6I
4M4zJGly42RSLyV9QEku+rWJnd1JmbsF/x04ejIStQBtoaT2Z5Vyci3C7GXsuCOBHHU0W6sBYzOz
oSfVGaHkpm3979DUXa3v3ph0umMTYkzhceyVi4Fc1sc9PjDRqB/hyEa2bG+yeQDrc6avsS0t0NOi
bb7tkcZ91rgyahtLyk8AiKnNwAdePRbC2GVV9STb4jyWgCIHEOsY44ZdVte/SyL3E5a/ION2mpP5
ExHZJ6lh2mOy0hv89Sah+1tDsE4LAnj0EtjwcMSZbp8meCzYYGzs0aKuchQ/jiapx7ajKlJLy1lV
DI+RgCqaxNFVhtJppAaBpYq271h0q7mwn4I6ztbgs7ixYkRomnkHNBMncy0fipqpilhOH8e+vTEB
XzlVBmklgGIKRFp34HlcC0n6HHvGW0LtEvT5gejEZRhtqNB21zgz2khHISclWeM6bUJzpRv80SSg
t/UJABLEIkpGwIZ9FKYaWIYvxTjwqZKyWj30B+ymL7I1uk3Rr5LGUDbVkKa0Vgeqv726aVjNHFNg
gG177azMxN36ydxEetJhvNkbRj5/zkZ0UIJZ2jEscM0Ee9C0LV+GMeUQbbZPI0HYlT9Y14736QpX
IuRWG7xtAw23Szk30WsN9CWKZxm4oEpmQjSsmeVW06RNVFLo01JbWUVKviPPduhF9CTx+79GFM+T
InlPrCTkTkx2tOZGpuTEk3N7kHGXygfZJiusahkl5Fhjnar1aB2WHOytBqps65NHjSDm72LM6d1M
olUO4mjt5whxkkV9EQtsUAOzLYEKmmselLVGX2e1RAj1SOVoaE6feoIibiAyvCrKZDfLYFgKsdPj
tvOEpEhO2BGbzwuGFefRHUhsMMvF2M+sNitEKQWGmXmthZzLyFqaKz+WHia9zVDIA+eqBWM0HdNY
FRSoTTyoP0PVU8ZNgY8/93h7PWGCs5hijg5Nd2rUMKKzG3ozo42TaJ+aTFDXbOsdcLltakXUIGrj
OiBgYz6o20XMtyU8RavIt46l6UtuGXCzoWmVptFTNTVcMY3xpo6lsZKT7Jb48stQh9PGYCKkjew3
S2aiQO3HtaENPoMHDWyFwHwnrUbVIZZcQ9ESmjQ59HzdYmYCn10BwYXEMRMNJjUBsdSsDTV9nCXp
EJbzEwwy6Ft0pHQyxVzGmT48I7Bj7EEov4Gk1Cc9bjbU8Qnw4l1f9377GDS7IrW+TDWS8RGY+yCb
fmIo9mthgrnzeYYKXfe6kfqaIrFji/RQXYEgWFUjV7VV/bLIq/Fa8pYIGz9z27Ex3WStZEm1UrGw
rXJVefHlLjj2HQcFnXRE4Xc9FKzoKUFwuqZBs+RNSQVVtLITOLbOMqzn28BHQyqV1DWC1jqpGjsD
FraTJWOg7GwmU7FUtpDiNlHeX3ptLQmVvnzYaRvmvPR9kw36/v7Rv/xxTAsQcgCygyr5QjElPEWr
jP0gwr8+3D8n6sn2wIF/3D3u94eq5wpgwVI8nG3d2lfUm9yhCmrM/BejMA3pdJuQvCwRDq+gTRth
T4UvDDiUKhxkYwGmd+wlUuomNc2Uk9siLemDoNjpVJ2MhTCbVOk/HrqpvEqZZq0hXZj7Jp5quN4G
jhQ11Mw/HnJypfv2hkHC2kv/fMAp7DD6Uu3iRZSS3hUqi5TFqLr2jhPKBkFVTDPyB9kfVKKPRnLE
Ialv7t3u/wj3ef7s2+/qLlz/9d/W9r873P+X+/S/n//rp6j/6/S0fv63//L/J727SqrsL+EA91/1
7ufvr/qzSf4OD/3jP/0jI2iT+CPpxxVrG6ZMYICv99/wUFkHHmoZJuE1xdIgd/6ZE9SAh2oqS55m
m/A8Nf4Kj/ydKyr/J7lAhWQE2YS/5NZkoRuyoeiabRGZMPjR/p5dSBEfyJMf9se819uRsAnc/9Od
guYvo8z3j/58+M8/d7/I7PvU9L//MqRzsb8EBTFdV9GyeH3/XsWdNXP/n71OlrC3In0qM3TG6dVf
5CvpomGx1IGkH6vNImgJh9dCFOounwfL6xeJi8Dmwhzujq9VOjGX5D7H+IKoGvtLXFKz0D87iJke
Q1KIAjGzm12/kUMUQFo/bwa7fPYFNMAOtUyNY6bFNdNSO84W+YyxaGjqRUgzLGoabpenNO5fmfbb
pYu8xl5AXu0itCkRDKhajWDEp6JUFoBharoF8hTIbpC9WnhxhqFitHhR5XT0UsoJeY4hD/IqwaeT
LWKdbFHsYH51Jpw7CsN72UCgne/DVJiarBm0W27bxclelD3JIu/xBRofeRH6tBFVGxNKkz7hiqf3
arjN2lokQPGiA2rL/FWNg21jGt1Ol/qfQQ/ZjAz5U4LYED0IWiF/EQwZLRUKjlrlYh7ihfIssU8W
JRGRFrEdF02RsqWUWRoSKM4hPwNHJYuE1Shf9Eb59NtfdEe9YHnUFwXSjAsJTverHWT2qmCIwuvr
5xxrUhvY8koHI32aIpkTbJE+1GEVbljy5kW6VGNf6rEwzWZhrHW93DRWdp1LcQOBStNqUTflQUWs
v+vBH9zFThieRkxPAuOTtqif2KL/6qNq8oZFC8XA4QdzSInrDyijUvMVowY+6kUmpcuU5LpFMBVi
moo7YKEWI5m5cvZr+cg0EMMLOl2EpLQhFVWrBF43g3DQ2OzP3kQHlJehSgUGm3LZ+q4i/yp6ujCx
8SlZYbNO5ax0IxMRUJ1UR9EvVX0uSEdJuEMwuMarV5SXMrNNF600+3YlpOdp6pd55CafGRxItYws
Z6vhuxhKUOGi8AKzeIX1i38NXcC66/sBtzH++kzzmAHz9KqKV+psPI4TpfmAsrCaUjaBTsolMNZ7
zq1gMS3sLFNXBKg+/WqVmTIZTjU8ZwF5BCWVtooZdyt+1NBVKusrrbOvsOrcQq9gM+rWY9ym37K8
IG4MpAlMR5nGhB1A/8yZdmPrCceuVyfG+owdio7fjLH6ntZe9V5TKRbR7MHPcFUYVlOD9CMJE09W
xq85pX09VvUWGStWwDb/FCVClAbtuKRpL6JkbL4beK0ktUIM2B4k+2tUyqdlfXVAetu8aDoQ4/xk
V8O4bTtMIT67DYka7iZnbOfQ+tGPmWSPLI/ebAfxpsCT4UXMEUsmmuQhVCmjenqnPat5ST8y97fs
QJlZgC31xwMZKjZsb1E2dYy1qA9xbV6Tlq5DTB2KAA2eFaUT8t5UN7EvRQ9W0m8G3YarYVKoBBuM
kknfjwXXhBWPtPpzyKZ5d4q15LnNYFJxdenSvGYB0AyF2AYw3y5bZaqiHyriXHP0ZsyUa+e2YZvC
SQZ+VnpIIfe60T5glGDZpxKHjClTgM/d8Lv8noNeJxo+nmHp8tYgr9dVbHRaunhpQHstaKytlRH2
tJKXSeL8H1il5oIPPgWW+ALqPhxrJuZEEm9ln+RubIrHAtzvOlgSNENleQYnC8fQLlg8hRP3JhNQ
xLA8yaBerTO0dWXUML/4FXtsWHByhZVMjW+6DfuxpBcQ4PwmEMuwfks4gk3v4HDIwsu0zHLM32Vm
bE2mPjYNmTRP1fWP0qcC3Z2wNDM5prkQ3gn7TH4KItd4IMTZKcynRzV2WnUgBtokRnbW6uhRoWBU
QZpdwQEwmJyRvjpdIDYtFZUkU4MbyccrjniKw4OwH3Lf9XuJQENB1rpdGLuWPrLBnkyPIWHKlAS+
HGa21Tls6Y/pGoVrf71cWuPcMQlmmJOXxL/VDIaToe/rWaUfaOYYnwrpuxr6dxYkPhujZeuUYxEW
vylsXrgZHGtQDQ5oZLo4enq1ZQTKQXG0Y8pN9fATqQD78qym6BAiq/QHbpXtz+RPePeS8Dlum3LL
jKRbcGZdA4f9AcMwkhUQbiss/RgZJbw6xUsswDOtFHUu9Tje5ZDWqESKn5nCkpND/hwSZsealmk+
MsSZRJlCsQ2e3dS4yOQbzxpElNU0hsUJ/MHXMKqP9TQdoRwQjO2n/Nj7a6wXICfU9FVpdayVidZv
2hz3aRxNDwzYvFRyLjEDZHPtUBsgUkZKxEdAZTI0Mw3+qa0Wh3DJhQx4MDHQkbUjbavs247yhlEc
ib2DSo5m1g82XgwvFzSkB8oCfq19+pVPDIavHVjdDwhfer16dCxac4YrG12n7FWoAUbQ9MHSKW9Z
chp4yWT+GClmeqGB6uzV3vVDxrWISz7yJaH9Jix6gxw/RPLSS1aDY0JVk2NTeJBLGzYDwrItFSRq
gOqGf0yiuKqIXLePQ8kuA7eO25dAfzKSoyuZ68mpOqQ+UdHDAaGjUyrKd9XbOGGZ0R7M8j2jms7Z
Pv+xCVsAnqs2LVs64LakGukXbPummdwm64cDLISVXFsYJuu+ZndRC6p+TI838ANERcfBZGGDFnuI
Aho/UVIv/g6PqSmKfUn/wD6SDujI+drOAbprLMdeEw3bVoyfmJlGRxSNte614TvgCFNY2yZPbLeY
pZsax9FmbKzuwF7BpDyn05usbZtfhlg0dehilSbVl8Ik1K4W7daXzOQoyRmdI3GZWmI0swYYvAvo
q5mS4naZbrs6eeIJx+GWWeXN1MotGeeAZm7S1I7QS1eelgSGRm2Z5y+mj1x9dx0LhqYVZEojCwuG
VE4OlfDwXBnUmvsK1Da023jTWllxasPSURTO7Z0p8wYCRE6jOPu2Ji2BYNCxFm3lIfqd80pWswq/
dcqGnYXEAkQDqRQx+hNzvwAJhEGSwZBULiNJBeww0bCcubOWgeXFMfGqlO9r43shgUVlDw+56jZD
nrqtnpFYHeWr1GjEZCvq6DVW6E0fh49Ur5KjIZUL0JoNg27So47BH07prgJk71VM4DtlTlewSX7P
sfyFK+fJD6FblDqdgKRjHCSchTd1wtjXMbmdifu7ZxjTC2SSmOwRIZfa157tGQV6AVBmxUCi4fe/
dbBQUhviSe9mCq8pDzWBSe5hjJ9ExSHXul9qSxbYxjmUYTvZmKX0nGWivJLminxjJ6olPZGDcQls
caqKiBq5wo18DggZaxRjebmD7thQzzNjuYJca9FbrSLpkJKQwcCbXYxcHjaGRfBqGkLE4NiPgZVK
/TN2u0tR12eA2nTjNb3YyimZeMY6VNnHCxrS3sdDHJ3jAjjBjFqE2DNZR1PK+pVc0rwIi4r8W8jO
RjNRncewtViUo/Iox0GP+qb6lu2kOjQxEOX7R506XDRDVnaqhHm0sKgtjtYA0Ck0NFAVw5tEU3Iz
JNNRh5t0Di0ubGr42ymeut3AbZNyQkppS6aewCb9PGYJWQmxbNstm8DhMm6rFnhZpMA/YToe3bgv
jTVmIifWJ3/LjeJYN1Z7SNHSbBt/vk4x4Y8x8ekBydZ+tFqiIdiv9m1vPaZ9iYea6uXOjyv5NVsm
pQBujMqEIFYNQkbyLW+iq9lPsnboyjE+Vb44kc/oO6U4NsUsP4zMmGvKFB6RZd5A1i/ZQ9/fUi98
rppZHLKyejLsEit4bm3V7LGRxfwwy3PkVXNWUW7PfM+2YeJT8idqLfvWehAzkmFTepLvSVlOFuu8
j2AZyMpbq3o9OzeaQdlwHtS8wGZ5DHwywrNgc3r3AGf/lAHfNcH/8jmRpL+igB3HXQtcip7bIphk
0gN/ioFpCbkQNcigAbLY3+3AcpoTKv7zz3A6Ivjjy/lBBU7eZ1Pl0cX8ie823LsI9/5QZMFEUqJX
D0GlfUat1hGS0wklSRXqNNvOlg9lgNl//LmtPgMI+X/gYZVEImKjL1RTSBtuHVp3Vug/HiKtcqUe
ckanj2F/YCEnB0LWzRoz2Ol3lGGm+zEjSgvuENGM8DqleQsXEN4dX/fnw7Aw7u5/nCTpWulGve6a
ZTglYMrkTkG8f437g8zCzgHE2vz5qT++QV0R3ulDSAwLEfX+1fyFBEMaBcb2n5+09QjwDTq9P7mz
7LX8aXWH+dV2MO8C5fgXTOhfqJh3bFy1TOBPoXShcMovpi8j1G0zmpuR+kGyFMbsjrplHUozR1S4
sng6qdthBOa8US3FOdBmtO0WSGAIhgc5wfL8L8+SeUxgCqnokdkx+tALsFvxKi0v1f2jMdNmxYsI
QnHXpvNGVVyzEb3dPyplA1CMPlrvHSu4d3dB06sv90XJDC8VaNiii8Wa+wKcYuCA+yRfLHz3P6s1
Hmj2J3BUSJeNS9O5rcC43z/S66TbMoQBQW3Buy8P94/SmgBKq463fvmnvuy2bRb+YU6+v/kiBVle
RIeHN+iYTysFYjB0Hn7bgL2O4t1/cV6k5Y1IMye2qE8TFliCVbzVOtsYSwIM6SaMFXMT0KMkXsWD
0WO1Iilf7YfG3w//h73zWJIb2bbsr7T1uFEGLQY9Ca1SZyVZnMAoobXG1/dyj7pEVlzeel3DFkYj
zB1AIENAuJ+zz9oqZtRy1Twj4qXSlTlw/js8MsRBQGHKE/FvGMSiJbs5BjLb0ei+WdSz77ypffo3
vGL8k9Y4hbhpJJ5wwBBIXE/y4SUdV/blQnZnxafIsc494HYZ03BoucBz5+7CJM4nqouGXGHKsA39
DLiYSJPW4hPIDyQ/y/jcFQLFb8RImyZpaKc7yAlUsYihs+1tIrnS3NxREOlhWZHWAJRibiX6s2UO
yBOkEWQsfCGlCWTChbIBMUQtnUD5ygXX9J+tyRa+c0tfblblSigWw9abmCP/fJ2tJipkM9FvOz2r
P94cbW6M7Nio38dSOKlVJufdtWlWHtg6rWNsIlbGPbWoWR1xn1/27CF8w/tnIVtyx37kOUz0ZgI8
xCmhozoqLVwYZU/1OGlkiwznR0LQDjVs7FUnhNq2aqDmuNaV1qZUcqFnIJFo/LSKtETrpmtTTezZ
3FVA1ePDsxzeMBplA80aurIw2ZRf6+K5KdcNYoNs/WoXSIHWoc+5o1OkXZ4IM3EaFpjkbpWgtvEv
CMU028weipCb56hVA/GzIISJJ+4ujqTryibZ87vIie2dNz4WEwAZV2J2Jc5SuklcvQUI41abuRKG
FcWTIn9NaWfwrimNJbAZPzhR2O+xR+AmySOcZeHl5iHBkV464RkkbLalouIEjWPd8vZlN5K2eWKD
7IZlBeSnA8oo7kdKiV/91Zpv6fsDXrBup2CjxyeTZn6ylXP/HHs9OhAmrje6RX2kXC8XVlOjqycG
BSQBmTVQFdL13FW4gELqakRzVIxiTUy7XS9ZiSVJQQkcM9AsirtTS23RoPXHxfgAb0ube5OJEcKg
KfeojW5PQnFOSu9SeU5axN922mA+vju/ZbONCIUmg+2uZbc0QqTbmnZ+t588s9VWu9csxUAF9/My
kfssf6PSAJfmWQk7J+iqE/ZIXE/5KFwzoa5d36B8SWMLw6RRYDtddZg3scSSSidc6X8biufgTVdu
wBzEWf/zrMz/SYkUA/jt3ydShv92932MvhZ/xS3Il/30YRNZEdO2CNGqtoAuvEul4LZmGQ4FSa5p
Ogwdf6ZSDEe8CNM2XuV4rsyy/JlKMbTfDN3TbNfQSIYQJnP/SWrF9W4zK56nmgABLNOyNKAE5k0x
akVoex6CPL40ADeDyvaLlcFQYJ+k4yUmG/unNQp22ZVKUVFjEFnW1oqCNCOMML6uQuurmYWE8qxL
MeBEjKJhuC4MYUXs4/22VbLpU6YxmDBKRhBeXnH7lM3cJQqwlc0OPMl1u+wmDkNlJUHLIC/xQgxj
SqOC9N8NO5HPxLeHhdY03JJkkyhEfoyyb/KWJ292cuGIp+rS7TIDkIqGGkRmbuRtTiZuCkl7ls12
ptQMBtG0kYYrnbhGFrsX2ZUbPGoRALzPjHwZr0qjV0OMI5eF1SFb6kzrLC1qpA2LXEh/lkGxlN0c
UZoqhrZEg0fMUNxoXUkHUXRlsK9sOULpi+I5pQxt5/cGdqGmGNtcmw6zuWMyPltljbOyIQwbKjFk
kAvZjaM4x9JO+VFDpxzOAdwK0JwO9T+WEo9nwQNLQ9wTLN8XpKtvbTY9KiRvED/kqKm8jMhC9wBW
MthNTb93GSKtHCUR+Yqo3adjL6RXe438wkFzs9cupE4Fkuz9oCElnxxoSGUcPHKjqtr6POdJfTZF
C85hse817bOPUsUxFKFLN/sdXjrKipRIBmh8TiMEQ7FgyMv8nPxtYrv6PZ3byp+pbDLf5O8XzHAc
ksaEpvloFoNNGZcYtQwdgmbfnMx1odrfIfbAoRZ2z4wl8XwWLQYIf7aWdUY5IE1f+nKfpbu8Tq5T
PZ9CPkRVWJt3WIr9POB/cZjbzfKwgR5SbSeb1+2IyWcGLMvftOSbW/rL3/vn6+qSwpYkx9tevlYu
slr98wu5WdejFd8rlke8YHfzp65fwc3XdNMd83igSKqB/Cq+d56w5b5mXJ6KyyUS15dc5D+7iXxO
LX25uc6FrYV8jdxy3Wl5pRkRYmtRtoY6tTa/OuzNuuXPl5MwaL7ZLLvLPsu7yVvScArKho3cRW74
1X7L8ZQAq+saVveyannpsm75bMu6pNEfatueOMOFgYduO79j/RCgimL8pBQsyqaoVSbO3CJrXaEA
7Lapu2K8NQUPMcQZsJhVo5KhQolhK0GwlsdYjnbTlcdCscUkXW7xuNjIEog/PvmxeWhJU8h9fvU6
ue76YrmPfCPXIyz95dU364ps1I+owAsggmHPHfITCuCMKRpyvBKb8RSMvuxHqQ3457ZpTUzp0lTc
Rm83ld2BBNFekvojaa095WTNoohqt8XWpJaPhHc7BXLXJSaw7CrjAh2uqbspse5jMe5dDFSki0qj
RdyhUTN1uxnHU7lO7idblvSWXvryxUtX7iMX0oxFtkKVahovJyIoQ0g3ESWr8OCEuXO+frehJZuO
fwkwTo3pCHfo94tfrWsT1BXYi8oprAyPyJYurlPZujrJyC3YwB1Ks9f20Hs9gSw2u9PkYtWp4Wt/
u/P1dXLt1ZemnUHukNklN8P4QS663ufdl0G/llN95F//iiqJ6b/syg3XEFRZfFDrsT+qwmJMLnRp
RZfHuru1vODjKL4qo0FaUDaGwsSwohrRJUlmasaEepqbk9Vx+xvkSP/nQq4LC+uLmo+CqILR/ej4
M3EQFrnF581J1zciZCPjOrIVA9frzaI8ynj1IILWGuhwOTsPCRki/O31eheY83MtXG8m5PRr+ZvL
31dGW1J/5oSRKzt57ljCYoaaMpKcvN7AyDnJgdH6yEmYyIloiIyL+CjeEUI7e39WTcJMnnmSrRDl
8bU12V0Bha2AVpzlhKhleEifTVEohTj7pI41M7YQK0MyzUDep6o56GOzsUZsrF5kII4EBGr5kjpw
ywLZusV0NNhGGWLmJAR/MSLRpDgh8k4pHHLqmhWqNl0KNfV8JtWgoIqQrjRy9CYz0bIvg2WmXCn7
S6I6l6ZLpZ7qqN5HQFWyv2yXretKeRDZTwGeU1Df3l0POTMy3Hh+jAZXMV5cbYClobTzTIkmtxMZ
9pELABvgDAfjgEGSrQUW8FG2y4UhRl6y1cgQjOzLFy37tGSCqJmXx/y5+7JPbSMc1WfVX0t7MLmY
pfm8bHKWMa8vxXD3l9snGw5PURCzudlH7v2/sU7ucv0r8iU+FlqBF9QkQzCzWhbLR+1HMvCki7y1
/FDy21o+7k1XftBE2VvzUyseSMtCEw+hpRuIJ4gvHl9a6++MmtioLx8thXyaLTvK1uikPNeW1yyb
r4eNUgP7np9/UK5EtsGT6ubPyn3+4zqg5oQJUmNno0+CsM24XC7aoOZQt03Zz8kdXne63dxYFj/l
f97+7qC3u77rX5vvjj3qI1cdvlPXQ//bdrnrHBXFsdEQJ/3qjb9b++u/tLzpZNJeJ6/EcUF8Ge9e
uOzy7hByp9u+XPnu5dft7w5lpHuzwZaE6JL+bpH+7GYFZeVAL4GpsseyfnmBY6pUp8/pp2WVb7Y6
hO6U2jrZlFu61NWufwJsKx5vIIEYqmJyx2LEs+w0i0USi+yHbMqVcjMSeWbDy56yhV+ltoGMXpFf
/bnZJkePra845rvD6XnWnPShJHIjm3L79S/JflzPr3NJkXWDig2i/s+Xy9a7Yy5vSR5dbubnflY0
DOI0/ChIVutv8lpZrgjZNQNimIfrdWH3cali3s0FKPdC2uUg4ieOJKO9gzRwCeUICNLyn3YxsuXm
bbj2sNwmjVMB+qJCrD3JgLJcKP1MME02szmx1LVset/rzopOI1FjHmrimiEXiH+rGM4t3WzcxfHJ
ct18Pyldc4Jr+onBDhGEyaDwtem+T535zedBnhbVfkyKAMH6S5CRiSi6/iMFnNk5aij6bNHIhUio
tnJunXCYwjt7aF625DD+zU1VTunnqIZHFxBOULo8PqudTvlswAA3TIyTbfAwt0UldAX4GBQQKijY
AnwWyxrPpLTJgzNE5dyhaipF408liWJt4jp5WOauMhQhZ7HZaA3byqYIyxsQUv9fHWczgGD+Ldn0
w1RkUR68D7L9+ZqfQTYhSjbwdbdUjuUYyIP/pVfWNKFX9lzD8JAkOyDfFqypSkLd9vinmqT7ifX9
lCv/5kE71VTVNXA4d7V/hDW9wb2prkoyHemypSHlMj1DUOe+fn7mEwk+6P+gAqdJahR890b1EcAi
0Xpsg/BeXVnmI9TEdxHIX3DeDMGo+4tS+uav3TDsqsCgWnHgr5F7/4E1gP1WjBsuav+Jsg1UmtaH
AgTEnbEvXgFxmB/LbfQ92EdHE8MYFMJrdx1ehjeYEvBP1dUIgDpkuAQ6ZVuc//6togi8DT66cGb5
3XTDQGnOj3cTfJw0pDxWamp3TgNFoqzmBm8ZFt5gjIS5RAarD0IHlwIqd4z81Wnm8UgwkftwJ7KJ
0klatgDWQaseUWWHuqXBTGCcqXdRcpaLXptRapvqp0rkypVgGKE1zANmnLhuy3W5Tyk5tUHlpooR
+iQRBAC/qvrd7GblSkb75AJ/Aebg+dzzQNK4fGWoL5J2a1fLYzEz6kU8T3ZLtX/M3WrYyfifbUXz
GhMXKjdFJnVZoNrkGSTyNsFc3Mu8ilxgeK/tseI+LKtqORWYHbjmfEkwJsVYXRUpls4pmel2XUnl
10hxoIwxWs6gH/IKWJ7IbyKY5o51jSnKFapIeM7CZDrErR38Su3vjb7fFSKGKMOMSkwyVbY80ZLd
pkZ0pulHS8zIoNsTzW3E9EMuKtHCERybJeSTeNnwFCRLXZ8cKSlY+oWZerg3+B+qtDpgwEQ5iJiQ
ZjWZSVjTd2rEuFCuameFVJWrG/YWJ8E/XLVqTkGb/HB70Am26MlVcrF0tSr+aA0ibFG1wk2Ozy8t
w2Ocbxjzi08ufxW3RtjdMBJYPuW7AKtsqm5S7rI5flk+oS51D7LvyAkYAPtvZag0W9iF9ckdxWhg
+bCypZkp7ExsNuWzTVHJS8lWVBUQZMz56I7YSXuO9Sa3UfNNMqsEzqo3EF0VMJ8IuUjLy4y8h2iJ
+izQurJriGj4dLWtl1k4mXGTZwfZMv0wQFqV6+UqfnEXlC3nfOCJyE4l5huVL8bYWgj01G0EYoxy
/FPrVaK2S1gNh1UEUrYbh9MwODSDHD1JNOdIyD0i/ZFG9H8weUQW+XyQOUx52vbiPV9bc/eUWT7P
yuV8LWPh7SXfVMO0ZtdQ2CHfjYz4X9+XeHOWmJ14YrQi1/kg/hEZirSpyKxSP9Dgu86ZI7tyMYoN
S/dmFzR91Ek0k7IxRapXFcO+IEtaHuh57extr9hrYgQmt86iddPN/QnajddEuAwBxGuYgKwMw9eJ
EYgD4pbsbMu0+7gcXrZENOnQES+WvTqkpm0QSexa5L0HkUkktyxECyzkukkmAXORDE9EWlyunEWq
3JJJc7n53Z6t+l3pcUymJhCRt0zvidZoxmX9Ua6cApwKtrIpF5VrkfMkGtJI4cKyQb66WlYuR5P7
KC6Kh1TIB+Q3n/z8+m2pM1D05y6shiMIAxVvooH7VGCJW5SWVd4B9clqkO/dERlM+XnlQjf6ZO8F
IC/kVtMWUZBwEsGz6/aQeE5UGx+Kacy3dgxDkCJySxzkuq/cS/YpXPzzyLIrN8h118O9e02udIgy
AfZQp+3sDRWIYixkL786zLJOH8CRrpnZoFrE0cGgEj0Up6k7MLrTUuez7MVilSrO1xRXAyrd6Q5i
pipby+J2XSYCASQW4THzbWSKgneQ3Cefwx+T+PC/fK182bKFYmRet/Rl6/ZP/fUtBSStVI+vYdL7
dY15WMHdbCvlO0aobZ2xTA9Krn40fcoiFhWMjAtVM7iulNB4ucfrh1MUSBPVD1RWMLzuAYlO4L5/
xtZcS30mjlJTo8vdeFncBGTkhjyqvjdRWW4n8XRVhQNn3sQj1fFoovKhzdRtOwBKRIpJZbA45eVi
CVXerhNPPcpYRu5XqRA1OsgtcpMvKx8aNLtTpa8baz7EQ5XtcPQ7umlX7JK6/cTX0R8VTb3Edpju
I9sZVzk3KDXrSS31L+YDrlvJ9a/LULEjr6CK4n/qRBBt41FJkYbF11PXwDmsyjlAc8CspaVGXyqd
+oyC4WtzEX/VLRL20Abf7E7FbhyQUpb9V/ndEI3Li0ORl/Ox0e+l1E1+S1IWlzjNQ+zN8T5oGmub
DdaPTmhBOwIa0+hiABYGuwFmgZc0EyYt6LdgHprB7yHlGIQQ0HFJfZfndBi29kDz0XZXO7lOnA6G
bqaHeox5w40ye8dBvwwaj5CmchoYR8mTrXlvLWPdaQqSUzRQQo+CqW8ye28F4RHKjX7SFEO7LuC2
PlCUmBz6dkJ2Xrj3JUT0UJ9fsXjvMdzDqHgonyONAU6hobO1oOXXfu48xWZdrvUWS3cZi5cLGbpf
/H2vG6KJunmUklc7a2lbez0DZDOyiQC5+FutI6TYzDaUeyd09LXazDVyPfMy+CQKHD3pV+3cHHt3
gAI0AvOxUOmviM1wzXbOgz2n4/4qttMy7UczqtlWl2FVsdCkVkaIYOS6HAHgfrbdfV6Y38pRe8xT
o6dAR+lPslXFGWUaYVhviEPXBC3EADiZ+WXe9T2Vmx2QDrE68YiBy20ut47eqtP9skrucT1G1vXE
OVAjeqsmoGKbFGpJ6pgFiSgD/27R7MwYKk0E+RyiLNlndfCIb8pdy4Rxp9xJtqQuRraWDXK/60vm
MfqWxjDh5ToquL29W5s7iLTdyRULdc5Jvco+J7tGrUyObHv225Nc5yhY/K1KQEuTZh3lKrkxpEBD
DO3QTCrQpPqKtwe6Bkihi83y4LvHvLMeR982d5wpPNL18JjW/rAf7CBR19d1bf09cImC6kKhIFdh
z6ZABQEt34pXLRuW7vBQMsKFA5Buqd3rB/ABG04AjXTCXnP7+3QfxLvWOGve1nK3w4f8u6tld8MG
kYUCqWFjv6b3TDuela3voSva9NnzBPls3APSp6H758pmeL6ZaggCF3wXxSwp3sTBaerfOv1zD+NM
iIhcpNDbMHkz4wct3mcQ35RzET9gwNDqXDN7Rzu7vYCAcn1f8vi+Gi/deIGpQb175kO5P4JPtK0n
QsuDtwmiY5IdSROt63FHnQQ8kVN+ccEJ8sRet1/nYFNtsx+Iqut2T4UpFmIAILExG15a52jBC1En
kNKrLPmgw/eBugNPHoYEFRMKSuF1r6MS2CJpNqFtrkasN3TKdoBrU82whyVsZ0dgXAEpfWw6zAc3
W8W/1/Fjo35J79RdubpQpfqZuqx7RF9comvMGE/GyVrHn6YLuN4f08743BSrfltslEeLOxHAnU/e
fly7R/2b9pRvUUx8xJntDfLxZjx4WMQ9GAdwQqt8RYXbFoaB/cikE6znETeHO6B0XyImlu29FlCA
ugXzkYKcwJIAUOvFADjW7TRG2O0G2o6/+YId3UN+tHbzK9Irc5s8KffB9+lb+Fb+KC7VBZYQFlDb
jJqllc00+/c2BzKqvzYfzc339jCfj7gFHnlX0R7KwJo3zDjkVDyejPHgAA9bTSbixS1I1NjZzJgR
7PNsa1cf2/gQhc/YBKHtq+udXR38nUfJZAorjRIKanTsF0jUoHTVbybc33A9/REUO0Xd2gYuF5sR
UF29Hjq85PjR1oIFTXAAPmiwipGug/XTYLbWn+ozjgceHys/2uv8xR5PMOoAFhwBOyn+B8xFcGjF
NYM7JLk253fynT40UO9J3+R3GIJ/ar11802/QHABDpN4h4DqtHEzvaTJxvZ2LZWO3nbAzghcqf0s
zF0+G+VZnXd/tNkm1p/y5FAW99h+fC0VQr7bbciTVPzHRWL64nzDULYH94DmxgHDevYZCg9r4wEL
zuStmtZn6xU2gnLWdtSJfLAAe3IzE1WZK+/iP1Pl7PwB+XkS3hNeu1Hgk0KfPJtwwj9Nr1550c2D
emHs9ZR+0r5TxUNkQv3iYZ976j+rnJXVRcNWcd/vc+jcaw+zMsYo9hrGHCShSGOmvNI/5Pu231Bm
47zZX/qn7NH9WB3HOyCllAqW+YXLX0G76W+Gl57qaUxZvgXr+jvVFSZWHiBHqDjVdmlBOfGed8jh
04FJ/1q7M07GE2pYypi97ACpMvqu3g2fla/pIxTANZO0V/1j8C15pfaNSrQOoT9MUv8++VB9KM7q
k8gA4srRneEM2/fFAZ/M+WN6NO/fpmfrRTkYj/F3Yt0wWg2q2zbqDwih9gn+6BZBBDea+vd23z/p
B7j+xyRa1W865mafSU8mRzB3K+K4H9Vi7ez8DWVOm+41wqy1WGloOng1xTmbStsQXE64ZTNvf+o/
UWCFX4THRwTfslIvwYZ76gdK7wAAv2BSw0cvthlM3ZXO7Jf625W+cw/5k/cHlpdv49bezIfkU7YH
JFyuIywlGjhtW3xt9njQInaGxEpdjb8qLlxu8Y4g3SFICJJxHl6wstOg+RKSGFZc+Tp2NvcxBnWw
U/bj01f/EFyYeR7yw8yFimjdfaTE6oiZTV/vqOGhxpLUA8g7fVO98J0e2/MIIHOjQ/7lTA0O2AQH
PU55GyTF5aP3UeQMRhC96woLSoqbOfN1OIbOgTphl/Nw7xPe2VPSt6728R/DXYHLDA8DhaKdde7t
rA8aaF7OvWxtXNxNcKwu/i472W8Y/Lh7aCmU2KwfnGztnKtyB6xHwMXxk3WoV93l/rqLt9+nh+Ti
fTYfk99xqNmHXyCpWPcj9ojr5fHnSvmefEQa3DayPm0PBI9OyBnrfWj490t2Tab3TDE3os4ZnGxj
d2j3XQDULmPrgylobEZZdhuDCNipF5Mi2QrEhES2Bsto88O16amAKuO0PydmE+8jsU8qZzf/+dVG
An2vanQmJS3ObwUl1Elb4Fzr/IDF4jChCr3u1P1cgHhCH2ak/Um25IamKT8BsLOJI7mwoQey6AjO
cLlJ9GND5ModFNjVM0ysaxOzBTj4VlltHNvEGabBPX09VIAwA7cfT2HppJTA447KfZcYRCz7vsMm
x8BDM0mw+qs9htOqSBh5LmkQ2WpDMSlY+vjZMfsI1bPdmxgypjUwX6F1VMXCEVgM2VrWaV4/7LO6
e/TVfgOcqVnbMPZhHIsKnirXys0Ua8reDx4CW1VPrpMyBrFz7RiHdbOXAsirChKFSzUp2m4Q0YVl
IQWQS1fHzhO+oPqwaB9lqy5dbrnLStNGg+GI5Av1CyWV5t1aBV14kOHgVoQEZcsW0WAsNtWDKPDU
bO0lVQ0s/zxCU+XY40Nb8pjwu7I61yoqJ9Pgfty9jRWmAkM07BRr9PZLAEmF07SeEltcjHifrqKq
nU/ZTCTGaDHlRu7KdF1n5NlBqR2tDlid6FJC2UNLt5683n+l0lw9hVhrM2abtdeydqsdOYDxRB4A
l09tNPZG5B6CWfzitYlv4lS62z4di5n6TuJ1JvXDK8d3cYMUOv1FpSpby7q+V6ej7l9k7kiTmTmz
K6bNZFavatPcO8x6MKG1D70IxMkQnciCrK2+564nxEim1Bddg8dLMBmzgU+W5XBjVRChKFjHn/Kp
PTP3xXnQrr5MUskzwHihbNP40DckT+VCBXtKSWO3bajwxDlDZPLEtFwulq7bFhEfkomhlESIn1cT
ughlcjQijRUCxHKC+T1NLuGdRbgqY8hXSWsQ4C3ghQxJqtZfK7NGhE5GWGMhArr2XXXMtv88h/b/
KkHIRVv+LpXzbwChzff08/D5ryaD19f8y2PQ+k0l0WVotm0xQQII9DMf51i/Oa5DRZntaYjhhQPh
n/k4w/vNNViBBaBpgfkh6favfJzh/maaWDIhoLd01/iHNoPwcf6aI0Nwb9ka2UJVcz2Xt3eTdkoo
L4q12asOfQLkzeWEnDVCGq7tngYLr88osxoo+dS6w7mRpSo9RPqoyg9aP4ybrHLINTWUEloalufA
RdFvmRbxiK7g/u1AdEe5t9qpDoS7smmDM1puLOWKniKVHifPQm/PTVZTRE5JakPtuhJ8cu2y2bQW
pPzGtrtz5CLMNJQWDmwVflY9ggONY98P1pQdo1LH1ECIysGshNhoWLOL+GoqvidFhq1aY2F2z0ck
Xuxt+5x5xWjdFwgmMw0IUJfCiq7djW92+xGcDD4QVKR4ofM2GUwrktC/d8lMbbkhJdsamuXWr8MS
v3uVvJcFtt+yXgocOdUAkLjSwW/v/XA+21Owz/EbKvFruqs1y99Orge2fzy6nUo6QG2rndkkj3oQ
fLJxP39xIyRiiXvxif+JGy8169Mr9BaMwEADomfDcIDwarU2Y1RmYFRi4cf9x4zLDnQ5aLO69TIM
erkVJvcvfuD8EWHqkN4ZtV0ehxaH1drUvs85nnOxU95rKVgFnITXQEObjZ5NRN+a6BNCuCigzD1O
aiqbMo1ReoRvso0bs9eS88kYk9skLGz1RzIwuDJKa1zVcftSUgK7sjFH53fW27cM8MtmHnHqxsXo
HFImDM/5m6Xgu4IzLWCFUH+qe/3JSjoc7zz4h0MX4jXNBH73ECY6xsTDsFGD5McERDAFc92rBsTO
IrvrIiZKpv3q+wAanAakeFNPDNDxVPXi6ptWWBZx1snZJICjwE5kjyF/yDZGZkROe9cW0Jo6nXkT
qJfJcC5+391pPmiHcMxf+ghz78hXXeby7XocsBRJkxxLLQh9iYufsJtdUMpcLPVLXWaPZZVQSgWs
KPDxGYfBSMBpCj55tn+cSvu+VChRT46pYTwlU/KpsuDBOUXx0iUZ/KU8fUt6fw2wKmOuQvlTCKpJ
rTeZoxw6lUES8tt16T8Qyn8YDX/rkxDFt4dPDvyDSHhLQLbDCSfj6Z71oG2UCq+ADqAhGIGDEWA1
gmB4XXcF8MgW/VbGNQ7zYjwUw0CciThrV9be2lMG7DDUBJ5VAcBkNPI9VRWkSCvy4yVP2igOXm3N
JazboiNHr/kjdp8xBjo3A9inwtMefFNhXgwXq6sd+25yX2DqDg92DZhctfegtTF9n9pn+MU74Xae
a3X4ZpS41g/RD03f+Oguj+lgHXx3xm7AaquHxvYO8fQyTUZDUlTDgitxCZPcOdjFb9PEXxdjjWA5
ZYKoemStmyy+2H5CSSPGU6s4g44uImr4mqNgTrjVJHUfHcsvdWr5j9a9AW3z5BkEM7np7Epxb1Oi
WVkVuLhvfO3DNMACCNT+OYscZaO7FLw5Ma7bE9Pb9tTkxppga40VHGN5Uxka7Guqp2qiSMggrLfS
QX2vqnbC/MHA3CqPSnOfFZCnCIVZc58+u5VnHjJ0q2oyNTs/AQ7mdO28I9Pw4PWzB+d7NVT4tvhR
+FKEFWYfYf7StKEQVmU/0phEeDsHOTXV2lcnOinZrJ2GF7+JSQAaDJUJwoFs9LRHpwIP4k3DfT89
6UZ8bnOgwIYBZ7XE3NX11a9xxJAu0623Wc9fogBHjl4nbWl1vn22TeDT8dhrxxzYTe9mAWRksPmM
2bpzqc/ZbuANMBapz1Gn12d9iEm3K/O3PhmJdhN6msa3mIIr7g2A2HrL3RtBCzyhi56csRn3noYI
FSw5zw3hjqXrVnAsu2DjZG+I/LGCFA5X0KPKbSHI7pmqEhIqorMZ4RGQ+DFutm0FSiNN11owEch0
+32RDNa+c4eRmw730cmLZrz18hocPbiozGh+6CS4V6U/K2dS9so5ShtrH/T6o5JbFhbhUblOFHx+
wrTKzmGKsoukMFVethMf8mG+b2NkY0pd3BmCT08M09rwVVBtiTNGWHnJxcmNDx5w771hOt556ium
l559hxOBhUHFFG/D2rQ3UWva13dRi7ci3081/wgdTP9kJ2vhXHGiXd9lHibjOenaaI8faDaXOtnc
ymLuJJtVZB/d9s3yivkU2MZrQVHrRunCw6QB3alN/Wk0mAhB8u+lgMtpjJNsgQbF/ESB7tvGlgrw
pf+RkafaFVNVMcn/2KesxUJ7nwIQX9c6tWDqZD4GuUmyxpvv0nbS8U/J86OWwhvrnHE/KPNdNarG
Vczz/zGWVLpOr1P5/X/+98/fkHZtoqato6/te4WXzujxb0ehwu/6j6JOfvGifw1Dtd9cRFeu45oa
XEJXiL/+lIU53m8Oqi/VNj1kOn8Zh5oMXrk+ESPZjma4tvMXXZjpIeDyMCB3LUozrX9Se6kJw813
Ui3TtWwuB8sAtmLhCH07DNV6u+pVdMbHSQ3Shx4o1rPPUy3GXXcAD7CZNR9Ajmeuu8D/QU4sOMwp
FPl3Q/dfCMY0gc68fReup6l8TXwXCLLY/k6e1kM0nisXVHOeetWutPyXnpq/mRzLvQXGaDdl9V1t
O2tQ4ys70JRtYMHmGstwH1pkEEydAN3fvyWh/rt9SxS/6tRnOKbu4Tfx17dUK4bulC6uU/pU8iBL
lXajdrOIEjrfsjZWH9OxO1RF0+4NI/jCbKJYd9hKbzRXZ4iqPJMOdLZdPnR7w7Lwbk6ZrTreDNNZ
RTnqqMqwp5SUyEfRBluB4dsUTn3gqXYYdM1HHzb+/vefSLtR5Ymf2lIJ91DLa6MnpGj3L19ypajM
v5s6P6rerJ4N5utbN8Q5sozwVSt5NOo+T/cmGfWDxqMzQYuH27JdtOUFiOVrVDj6Q667H3xd9a4z
3f/sSM5VcPttW5zoSCG5JbuOON/fnwBt08b14DrZEdDZMzK4zWCo6ZGA17QPmHhQAgpzcTIqzHs6
4AYWjDx9qI6pTUjb8JP5IVMeAvQz/9X7+rcTE0ibSum00Giq/FA3SsZYVTDMbGpBHztWbe6sDZVk
k6WQWSo1YuQQPqeQVMEMMX+vB8NbmeELBUmHAaY1a3cZxjx//zNaN1JO7NOZz2LZa3kQbj0ql//6
VU2Nps6BP/YHI9aGnQUR8cyYD9Kkq2A7G9UvqX+X6EbwBMgwfs01m+w+pouzaUd4ZJMiVPHZuM/N
AgR/r3SbfkzN02QEuMPM6od6IGUJOehuNlI8PwHEr63EfLWnUbvYvXoyO3OXazH+6+ND7FrWcVQK
C9ifPm8iRN+TOxqAh6YvRQeSz1W8cYei6mJS60ulTnO0jOKPsMWia5RalFiD4tLcGwOs16Kop3vw
Ce40/YjiSt+qod1tRge+lWOiVG07Egq2V0ebGb7WasgHyod19/Xvv17d/PfrxLE0ZLIa1z34DGJl
f/2C88xzgzhru4MOntvWs+LeCEiC5p531mOjPsYVWaOkcnvSufAfc3M+z0meP8ZhTtEyoxG7VYDJ
Y2t19vr6e00N9w4hx7yZum9DiNPjOFX+OfFn/xz6zteyAvQWRZPH94uTFbqlje0o5R9+izogJCea
jnqzL3zdOQ06UXFXf/WmsD+GjaPeKzUL2Uq8IKAmsXvsPWZnRghPsVG08EEu0tC713yXGkaAHlus
bs5Okz/zM3b3aTuOh6a1tNfezKen0H8YGRU/5m2m7dWEiOLcgPZq6vDBi8tqBRpDQaFSzJsm2Nh6
AZarzWKhMqjXmgYHHmhJtQMFkR/LPD6a5pzctV6Z3OnWl6nTIYCPWnBHjZ2KF3OXHnnAbVS7i3dc
3JD29Do5hFNjXsDnb+JLouGoZuNafN9WaXSnQaJnkoupS/xhUpruwKOtAbMxT+e87rV7jCR0sJf3
tqM+ulalQAUkyKDpuXcZwqo+moIfnqpkFbWi1I482HG3RzJDidlUnDVXuOACFLh0ERaE7TydlNAc
IdaWOyrIjEPS+J9h/P/+v7g7ryW5lSzLfhFq4BAOwKxtHkIjVOpMJl9gJC8v4NBafX0vgFXNqlvW
PTav/QILkQyGAFycs/deblm45/U3kmR7bKvIFLvFuncwTf0T6qo4hxXNJBxL9jVuC9/MaL4Svbp3
tNRZQnd8r3JYirekfrWw2yORqKdA60FBxF60KfSKYE2sBZpWiZcudwJGZpd4z9GixSvDq41R+F65
+XQfNM4Ww6Jj06XT1WANa0Gpqp48qWK/MGv92JXtV9WG+bUZRb6bgD9sO8faesQ+IvaFRGlOzPKx
FmZ7t7fItx/T+Goth4Yss1MwRPdkdpYmLi2xqBAMs+74HA85KUG2UA+jjnInxmK2nTsAJLmsUxCT
5vwI60t/DEiRVipWfjV138a6mh67TBsf+zZ7Jzv4MnctzDU2v8+WXmkPCv7qes+09Nd8HvmSRQE/
csrRYzTe2U5nvws952E92LiKfM+lTLPenb3c/fVEYvM5WmJ9iaPlMXKRBocRCm6UUczX9Y+pF4KJ
cnOLDiW808zRe6IFm/CpXg5pNrs+FwmwjuXuVDGY1mY03qxaHteHLHIqibEWZ7KEiMHx3OhoGEn4
ApbHIf8JPwoDjPa8HnQCrSNC+O768heRq3en1MWaaRLo35jycT1AVEI5a00/1ntZ7c53Pt5uZOGI
FrMnpVhFKYUSDmMffLqzwy6UQXvTdC1ORC3WBd0lqIZplp3nsaKVlw4w3EavfQlhLzPBzletJLCi
M713oXSHPGwIViYbQaRW7yVJE6fIdqZTZ8ctPe+m27cdhRjda7R718Dt6GaahmNQlZ9uRZlE/jGo
RL21Eyex3pMhndrvwNtB1BYZeF0LwAiJuLCwjPFHWnTeY40KwDG+upnZP/ZEd3fTO5yPCymMRwdZ
0UkiASYYrj9NragRhWBc6TxieIPYH7ku9hpFBbsbUh9WSrVvhtbG62lfu5pdu6IucEysVOxDB0n9
5KIFwe0wHdMsmQ/hoCMggejt66X602BoO3hkGDBywTVNSRrd1UTTb5E/FXCMKB7ssnoMnqI0+9qa
XXSwGHxPGSGIed2594IgRzQGoOr0PjsSLAGqazLe4lZOSESb6lFG+ZPSh9dg1KjYhp4LK5SCLpvu
HF69F6EfD29ppLpf3yZsbc2f4bcK2wCnm1jDRsUfdte1j3orISEBblrHpxk51OvEuVw3X1xdK5+Y
qe7krA0XT9H7p1b04shBHTv7gs3VPs4pj7J0l6R/j+h6h/ErrUDKHaq5d8bAtnFgkJAk2FozbKKm
HDLqnPMpcoF0CzPaEkaef4bp/CLBZ19V2Hgk95nFMaEmoI+Dt9c9pZ0rGEaiqaneiuzC7/fohgjs
2tB5dEqoNAlJhftqSjTg887JTgucS8LddiyFj3lAE9py6TPz0SaSyt0KDh1FMy3Kx22tie+6ltes
V0nUiuMMRHpXXOLeBJem2ug6muLSRu5wtcK9KfL5Lrr+khex9jHPJ2Ar1m4wogmQU5qcTFXe5w5q
IRuy9OhUuTpYWnSeh4kmav+hCkp/xI++6mYCj0u3X5Jw2lldBL2vFdp72IXuLhqLo9f1Dqkl4fzo
Vk+1HYtz0Cg45+VIebczZtSlLhNrP1/csU78aEKKNZJ49qBnrjx7QNQV2qSQXHc/qTJERG7GCnyh
M01l4V2jZR2Qofxt0djJ0LLP86KCJzkuLn5QvU92OuVRetHlrUqN4q57P6MBnV4QwOUUhu0ndv1T
LUbuio6Ir7Xeg+hMsvGnmYqYzOx9mMYDVF1zfIYDJy65YzEdu5QYZyOBVd2O9WNNKiDcW2l9I0u2
/FRO9E7Mmn02G9JvByjruy7NtK0UpulbXUjGXnCuZV0e3QZ8mav6xNcrea96iI5qoSIX0GSa7JQn
8lHEWXEk2rssy8KvPJRErbNky8ZxvHGdoKbuyZvX2rB5KjvvVoSldtYrRRL2BL+t7ZR+87LkOIeZ
OETea99XNcMAVUazXUqArhWdbBV/VtGk3VpIVhafbNLq9sGKI4jAlsouY0QCvRd3AXH1xBN0vXny
zOohJeD3NDbAvLTSL/qyP/Xjz9rOi9tQuMNuDuo/yxkJxBAygcd2uc3myhcxNioX58wpLUzzzKSW
7y1+vK0naCjLEJ1KlDjOrmkYCrtg/DD60txGEx8hgUe/S7RC842Ys2l5jZbyOq1gUR05g3yzM+0N
mln6P0bY7k3o4eGQ2PsxbJl7Qs8jNFdeSVbYB0GpXdO+pfpf28mua5w9p4mxo5quYvkzJZPkkTaQ
oRy4Cq3nHusY+Zg1ueeu7AyE2S5SBmoVm55w2Mbr09duWOTLLtbMugI/unOKyHytO7FBngjKuSs+
gnkoidr3Xo2OPEE1A2IYqmIJeqBL7eX10smK37pJ/7OGQrZBHx8/1x0o6WYy0QxqM2qurDwIrS22
kdbDg2378pIq/h9YWOAZO/Dgoo3vsnFYm0JPOGkR4e7r3Q5MAXBmfnGS3y5RyxzV28n40mVoBjUa
TtUgb24eDZdS2v0mnSSp1xmgWDSz2RcRBY/aEPc/TQfxbKPf3LoExGfBDK2znHqo69kXjzL/Xu8N
oNuCC4RH1DDIi2ukE9nF5D/GqUKdtz5Trv+qKy91jxDTWriGaa4QS3YhqhMdUm1OVfEinQlHVMQ2
yaoN7mrBH54w0sMwlPpB2RkKxl679KEKr+ut9eBEPX0aHZKxTcJ0DfrN0i4eZfHK6Ik/X/5Fo2iI
VMA4x9n702kNtaNVf9fsGMuoJo1fhzzl16v6Ktip3lnY7SivESXGO1sv0gd3Vp96Bd9Z0+/4puDT
Vo9jKuWjRlAt7MfyWU8N+1RRwdlo/VQ+r4919lhvw7qnL1iaGktpDZb1FNXPRYLch77F43ovEIY4
S4xSuJl5MjzZedgi3kZzWMlM7aVrl3tOGRo20jCfpkRB5Ehr/GDzhB+QaotfmcQPjsAh7vrQXmm3
VC8EUm6ZNp4d4YZn6qbZCcFDva1rUV1dL3kTwMOuonV91xqcnaWX4UEPI/HcJkJ/jqTYWg1vMGg9
61AMOjswI9xTmkK+1S2Xj0sqfumc2G4UV5fxd2t7NgJTTXsQjaefpxl1CpHUBGiu953S0kmyR3Dj
FpKM4WK+aASPbI0snbYNRTSqveGz2bn1cTZH91ICrTujjNh0wzif1wMOADQgv+9H0xRxvY3z3uB7
Zsqc5E8lmmkvxUk6FVHblf2Ull1/driILqzLETvS68uy0iMmo44vThTWZIhXdyOYw4Oh7C+aDvsz
dfR8x7rBB4gR0ydx030XZlejS7/UhfxOilZ40Yjs1D16X1mmrn2hA7Kdwid9iO/erO51zXakRUJb
WadYdEAQeKuTsHjtpb87mOm1ZRZw7UFDUzd+rdIIwZgRf2h0isWsExEdq1fysqkKgBdhjdajjEb/
WGCHyLwf9mx9c2bnNLj9m5ZHUDNm6Oly3slcgTZ4jcqAhkkbFyAo6H5GNKox5pDb2gyn2GqfWJx8
RMsMk1rDEaNCgy59V1YnQ8R+mPpGHT0SWxIcW6hzukFlX+TkGgcDaKx0Cq+aNfkDzoGm6jHN6N+K
7pl1Ps1A2GabeWRVAwsBSRJOq61Na6+3LLR8vSZOqeSaqgRx8DoYYd3tfmIg7Q5EOnwbExqFGH0/
jEK2PgFmY8AKHVioROlM9xDhYUxNiSRNhsv1QIdD1pE8idj72cx8zrhrjpUpfeG2+t6y7CcJim3T
1snWwNG50fLS3aI4AHSBXjkxNcBssXGKpfasYZA8FFXv7Elz/D56AKurpbyTkQOZuO+64SH/li6C
zAY/p4T7SUQs2tCCRHvk0tGWJjE7U1wEAV91OQT5btaYtzXBQqBNqm/JpxkvvVk9gwxQjdlhqSDj
BWn/YOB4YBgikI1MwQdXC2FzDE51MrPiz4E0F9h1tnEQo2e/00K5e5XtF6r1qIBK4AZgVthfReab
9EqooSo9q5ItsAUtdRt5ACmNqrk0Vek8JWQC04Orv6q8KD/4SW5aGrzXFYnYqq6+yQ5cZiqr+dgM
hP8TKgh5LqJtaTOGsGlPLpYjyONPMXhOjhndtdTbtcqo7y0IxEPTau9oAykxsGuPpyVvtGT6coOS
JFBhgoyug+jUphqAVv3Zm+9dqQrkEmX5pBQVQ8JBsy5BQCodh005KJOetmRZBNm1T0t4lt2bLlr9
CkanBI/TQkzOK75E2nvW0ugra/R1dlpX4Af03vfs9mtO4WgzuM0Zl2J0YNxj/LL1BzMVzmNEgTrX
5KMbEyIKxrLUIVnPoWNd4tQjwkLPv1aspY5J7z7ps7zNgaHArsMFB5eDoa737AP+k3afvg4UlYEU
xf2OKnX1UFTqxbFwYs6Be+VX67exTT0Jd62zdxNKyjH8Uaeb5cVKuPp9Z0wqgNgOMuZl3kDn8OZN
tumzULgWSTiAUuDdp1b85MoheCvi/ABJ7R2FzrDLQ0ST+gSU1o2whc+kCO7EkDwJzWPcwv1zFjP6
l3LeKgNqS9MEKEg5p/FfVQ990dwTDYZjFPN8AgFjo/QgYFtUnYYGY1WQkzhIbWJoE/QexTwghkZ8
hoCGeTNzikPgzG9rytVSup63681fCVpNgJC0Lb+CJgw2o/5aIH3VkgH2wLDI08osNdBYsqcsHYsU
/u/unH6PKUbA0g7gQfWG7Z7X+zm9UegQkb9m3qyxOGtE9u8IHEssUWf/7dPB4kb9/deD4zUH4v1f
XCM/inIgx1F+Ognp/I2VGiCFNDz2E+p1DCreqV7+gMrUeSbLh9lk2tReDUMhwj29HvqYGAtcA+zB
TejJLNau+HOVn2oZS6+HrqRb06n+KQ/Ka+LF7jnPzHQLkuLblKHg18zG5bTvtPNsPDQZWCz2uu7e
SeqFmxgNhzCM5+egynIEiLS1xRA+OUcy+bIX5fRvNdEI/xR+PobeZqyBHk9i3pnH0hscJA+0Vbze
/UB9V7x6QKNeZ2Jmc2jt4HF8ot+S82C60x23ZbWzHUDnSQGMx6OzXPUppvBIP4UtlLGh6ahkTLk/
WwGxUvBajI02atkZLdiG4qr1MjJwlWVyptn7Bz+2w5Ct2b415KgnjJgYvnL6Ygytd0dzah5TT6Jl
xRCiZmbjuinYAU7Wri9cyroplZUuDYsHO25ublHkl6oj15kzeafpucdfKQpEY4Qeqdkb7px8kVlW
X4KcYkOgmnyHy626YiC7m6LQ3ktA3weHNYKftmH/5GkYN2g/tD/GBGDxjBx+bq0Xx4mKI5dAfgqi
KH8v8uCS57H2rQuo3lmu6KEoROmdKZqNktdjHFbRt7CkxtOpbeGM1ic5CE9kJzo/s2jY9ZDJDcaY
hzQwYeKFoGZqfTpVViO/Z7npsvUi7cHRKaSnXfTsjTR00NCoLRtqkLJhkwB/GKChZ9Z86gLIJHPO
0DGRfMTc0iKQpzBZlAOo7wrJgvJIYsFsiSirk/ewCsHIpoXYabLTrk6thbup8UDFq/RPk6gwNpTS
l9Vi/HHyh0T04pViG4FrpIOlmYd2iR3cZBbRS90G3X65h3QFL1DWOveWxvAGGJF2qq0OFcyUv0bs
EbZxxy44rDOFcrYvjhbOCxlMMZCVQnsaw9sU284troHj6Zr8UbvN5Ntf87Ft7+g7xDiCF7Z144JG
mC8GbaI/xKN2qMveuQ11BmotV1f4yCntwfFCd7LwGTNvvYi7JyOT3xKLJbEF76yg4vsY63jxjYhJ
SgCIqmT33DVMxk2oYyhy5z+aKutPVmABLaa4SvBllJMoRQO3rqNDXIfouEbV3OA9D7sY85rUoGdA
3KhPXTd9RlHLEn2olxRoylKebR5pG8lnoX+rTKs85AUonr5FRl/CiYrKyDynCiPQVJYHhF6cY2NN
1zOc39WEZtGYhhd+rcmXucceKOnnQ250Fu64acAV1BnHJMRdIzjBGCLSrURjMidUh5uCv4/M+sNr
nXTb00aqJr27oPe/Uua0r6P4dLrsISd++ymawd7mMmxvWoZqxWJKqwfkLvb0OXnD3cs9vBtJu7f5
es+Tyr+ksztceikv6HjlPZ+GjzDXiseuCq5O1HEFDjKBYkPLBoLRgwcRDgIQcrA5bB5mStuhQ8fG
Gjp1mIsqurSqe55J0d+79h+VCcfONmL0KRqL7dia9o2ZLzt1PD5g4FkfZ/tuMHH5SzvcjUP7Qx+m
6EJgj9o1/VjgBUM9rVAwjd0tqnoDUgWVNEQeA155fNEwuvSyjPZr5aDJMrkL2gVfFML4dobc7xNA
08qtxGlK+DqQg99V5jqf9RseoCUB4WEyehI/+uQlHA11j6fSuCSt2MnK0vfkO9nE6JXFLdC2wmMX
SXiNPGkLCXli4xlR0Bu6Tj/OhCXQmyvLD0Z7VuF6fJjNOP/azj7spHNHAPNdavSaWSQ1Eu9WoD+o
kJWQQ+fpMWoYDs261a5xrfGiRvg42BQDxnq+uVYgTl3TLUhddokhXQkYG3x/LGzlJSrc7tIV3htU
6+pYGXWwFXVuvjkWicl2zj8qWxs1VOf1dFRi4zIG8c/eTCVgv1g7590zXLXuC8SWL6h74Ovlc36M
wPRRybYIPKnnyA87kMsR/XliuqYnEUsSa5CObwdd7+8SP1tZsvCLW+sKhsfxvbF4t0QcXe3GqLZT
bhAtUgYAzLIm5CTUkieXl9gpdyQXxowDwJnHbsYsOjonxf7/skrNbG+Sl4I1Y9BSOEKr22LjDKub
TeDTecRpmduFuKlIvuuZ1Z0Yq95pVWgUz4uqOYzL0kLUNHwNt6G+ZHD2GS52HNRo1mZsB7VndtBw
PoUJhRMUbWuG5BopCfKtP1pquq7oHpNVxVUZjMh12F0wHNuHUsd80tGWOitJs7lU4hXqRXuEPq12
WnWhkppdUCUtTC3tz5TsGvoTQflqWm7/oCXJ0XY/dXuyXxutlq8zRX+wYp9K71skhqK+on47OYOA
tzzHKKBtJgCPfWI7lZg9qpl+novRIqBwdslSC5VYmLrbHCrBthJVfhk1gw0iDCYtZsmHKNncgYuD
/WOE6qeMq/TQRSDjpJ66vodcNizoHIiYEEQnQZpG3MZMudXgZp2GMz4PjP4BJYuNbBgweIMjZi26
AhuvEYexDyn6OTHJzoYW9n5MXajGYVOfyq6pYNyh0S3QUoADY36ZjSA0mBHL4R7ZrjjgIKIlkbdv
hgk9Jx8CnGdDTospzc3hBkBw9hiSk8Z5qKu6eWiXwzrspFzB6FCSkzM+0LRkrV61bn53lja1NYrm
Zo8PRmhHJzdmhI9zRD3TJJKHaLnlKG2RZ8NBbQd5GlJBb9Trd32d8liQ32TRN1cwOkeXZeyllqON
tzFJ/SjO2ClEEV1Whx2oZ77ldco0aenAIUDnMHOH8ja0YwwFRb8l0Ja9Js8u3pBgrtfT/sS4N+9N
IuUpxmbNEfjft8gxQ3bImfdCsugtb2v9MzDnfBcNMt/rs3jsGjb+WdaVaFAS2IRo349WXWjnUk+/
DgJXXzJ4lzK3sa5Ky3n3FrteBrkC0fJr3QoKduN0CW0y1KLYgbRtuj+myKqPZL4Ney0yLhF9o89R
D3ezhIpQsyS9ixJglDWCJEU4vLcooOD1dxCeFuI7UDqi0jO6ByxCc5fqH7miNb1Ng8rOEQwnQL+q
8V7jHJMPKVsDyQvXMaWe0GfkC4i6eqj04oES/R7fVvlt7PWfBHn8sAuCEwKvmV5LytOUFkjFMhVe
XopL6/mwnhmBXh4tlhz7sk0LxONZ4Keh5DoPFWd8k7xZNeY9l3LGscmt+gna2W6KjGCjm1O7rSiV
0Yf62ket2ArmDeTYeY3/VbzSANd3KdHD+56924HKFts+2p3bTjXPfZJZflVQqYjHGS1pXYzvuWf/
1JqZh9JUJ2SzNd7mjlVrPhvzcR2EwcW5jHOs6eyx/TEgS7lldaMfEWXiTiBHZlfHhnbsNMe+kQP/
HhVF+5rrnnUD9/OeVE+S/v+LTGz16tWCCnWuBHAdD5nAmoezBhiu7JP1/spIWW+tYYTrXYL3kFkp
5THXtUwJKvZ8EsCc+RcyZPUf5fnwIeok3Y1IMFaTxa/8qn+KBgJwhJ1yulFs/nvqz+8QoPWWvsam
Fi0FcC558GIunipQByCIaYSS0/Xrdq6k2oS1GdtIFFL/L3ToX9RnWV0EGVR+Q4pT0mbVPp6XQPDV
zbYGf623BH4RxnD5ETtLtGe/WJ5+3VyNT2viVoVtbhM1drajr/x3v9O8Bsgud9fH1oPtRPDFEnq1
a1LY+gLrC/56qYUosN6qYQfOTlicMHHXpJ8nabC3x+F9fTJZH1tfIPkVQrakofzlBZMScRZixvfV
YFXIgR9izfH6dZ/C6TlcOFQDooxd3pvNFr5bvl25C/TuivN66/fdINJYqIYtayXKAL8fX7/+vzz2
++7vvzPXgN/fr5yGNhHiix9vfYXo96+43te0kl9CNdh1PRvwbaCIMbZwYaZDJM1tCwu1ouh8HAaX
9BHnZf0DzfruGU3pj85YNpfVTre+rjPnnB3rzeC/LHfrLRG5zV6P2x/rH68PrYfVhbfeajy3gWhQ
+L9fbn3812sWI4U/UK8SaTmDMBU8QjEX0Nd6az2sT3SKHXiadNZWlS8ezU+/LSMquL1M92tKGBrs
5sy6CJawmfrrzxytp9vvnxXScr9cVOuVNC75WuthTdqy5JTQJVER7CBy7tZ0O2PxI653fx/Wx7Jo
ZmeoUTVP2oCcuzQj52/5IGto5XqYnDoEf1uPyEXc/M2Le6RO6AVSmwYyOpca31MAPxbcWH1wZFnC
CqPc5+nT3s0IEfLg/mFlAD4B5zKQxzjLR6ZoeciqCnFw9AZ069lMKMEO436ilb+hdK7h9RHIDgCw
jY5xwSGBYTVB2s4Ob0Pr8C1VxkNmxO7BmJI/XI/9Do3wN1nwH2bt0ll0iPHMiw93Mn0sULAqgyg8
NqZ5szjdNqjAbkkI/Jkq6LtR2Q8tUPFraGF+n5diswquQSKjs8Mb3GBVmJrv1OLoldMY3SAAS8qA
X4YXRJOxaZp22rcB1f8JDrGkckfkfIaoJZF+IM1bYFnEYHS3cWmvdm22aWQMcNa7WFMTbKnW9fg/
CFmZdnbTfVhp/UjF7NgFb0LH/BhN7o/S/mhlhtW99UgaT34wWu9oAvJ5Qlzrmoteq5p+zFCmNSsb
zwaNWXfyoGWX9psxON80/ahjGCHTof3h4lImxdYhi1vQLwgakArZRAcnMtgsMI0rQlYiu8sxjpJ0
oZGK1BGccwsD9bVSVcrWIyWaxRj9ArFFTOcGrqAvg+BRYffchhNL+dwKNk7pEH+wM1OrwzzuUJCB
c3MYKKBarTYuepSZrZvAPpa6L2lKDIrJN9ewE4MZQ75S2MVLXwGzSpTSP/fEZyGP2HIhomYs8csa
oHIfPKn2nheTuS+yZGt53YI5crNda2579rRpg0Ge5ReNQElz0BTHALHNZqyqjo4VVUnDUDevNl+A
tnrbQLbdFm3EMyWqG5+92ZSTQlGs2Fc5im+v9sQmtmdjU8r8navzT9Hu2pk6adzQ4GaB71shJ5cg
DCSYLXoYZnSc4bbvZad/ZwPRcMka4Ks4t/Ht52Gxoy6/IWOlLT+mlvy4slDfVTkAq3X1HQrJYD/b
Dja4TDxPjv1HIIOdPZxLvBrYtfiOO9K5ALtlMM5hVB7r0TpZiLy2Osqdg65VANmjdnwz0s4g6lyb
SMOpjGMe5fquJnPwFIejt7Wi1nodpxJVkp5fZi9CDZBl9uuci+aJrvphXrYN60MhLPq6G8Sznk8a
s5DtgWifPw0CeW/ZTPiLEyfZNrYoF8yh4fihPTqveDIqOuiBfqCviKDTDl5H1MW+xyZxU1Q5F6ip
HIoHNqbtwsIdxSdorDJ/smQ+v0QROR11XKD0CVjx6Jw2Hho/dC3olUzaaFQmmv51JETv3pfxGxNF
/7oe2vE8jo3+EhdXFfBKcWX+Ubmmxx4rGF4d8qJ2UG2YCuefqYJKYqhBPSpTc8FFHMwyAHkO1fjk
OPNymWjqmSjSc2SZ14LGrNvb/aWabXoEbadtMufZbE3neRTqMKVz/0h88EuV1z9wj3k8NVGrnsz8
QVptzUZdDL4rEpNRo0ZsU4hxJ7Ia+5pXHwurMXErUjgs8vaC8PsbZebkEFNGpO43KpaL1nB14ves
jF1W/0O9D5qRs2B4RejRbox+IK4C26s/lCwLU/1WSde62cZkQcxBrjiiazhgT5NcybFN0r1MKfvD
Fw8jcbWE9VT1Pd0lGY57ylWEsGgf5tjLm9m61xHd1WmeK/xTWTTucEqUu1q1i1o9i/bow39OqfGC
siJ6aSnPR0GbvUlIznPjvdiRZFxJPjIxDdfAm8pbrInnVXVT1VQlVaETrFCfesl//z8ri8XiGPgX
k4OL6soxbdwcQurGX60Wc2/EnnLM8pQINzkNPU3vNsO+h2bwzUW0+DJmDfFe83SwF3HHKFv1/3gL
xr+5PUBdMKDqwhY6jcA1uPeffBZeELUdSdjlKdOQOwWd8eCEjADaAKCaiewzNVifIwgoD17RR3fL
C7eekWHCKot+21RmhjIujC6L2FTvRfaAv/S1pbnss13V74sKdK1G/c9fnLEIrv/yxbmOjl9aosO3
UL3/qyAbN0NqxgWIzcRr5T61heuHPREfJoQmxAsWUE0AUotfrpdQldk2JZ8z5AQr+a6G6Ro0lvdt
JDnIjb5LQ38vKOZQ/LF/IlCxLcYvlsBUYx6bAg47tNr5VxT2f2tuWPzk//b+PQMXgUvKsw7i7F/f
/9TEeGaELBjqcpbullbgQmv4EOBjEwTVPqqMfIvkiaTf1PnSS8XwYN1i/Iz7wihIWjLc6+B+t5O4
Ps3S/eItFZAqLj+58h7jsSyPI5B77JiRTWqXdbfatPvfzc1Dab38DP/n//7Hr5/p3/IDXn/m+c+m
+fnzn61bf/9Xf7duueJv0nYcjDLW4rL6h23L0/9mCtt0pOEKxwSLx0X2j/gA+TfpCp2hjF9bcJXx
S/8DmWf9jfxvSaK3R59wyQH//7Jtcd3+9aQy8H8Ij/wAk0xrPD3/elI51H+1aLBzPxIOjudxSfRb
DoNltn6rv6+J1IVpkPQ/6+i8tQqtfrMEVq/PrIdfKdbtisldnhkXbM3vp9cn1sfyjmyTcWl2Og6q
4v/aj/0CgP7aB68sUFz7vgHK/Yi6Qp5SlgdrXMjv0Pn1Lp1nlsZdt+iNKhMfCVvmf4LoDUHhkQ27
PLrCNxMrzkjqMEtjU9jakirGRBkNml9ZMtwaY5jsLTd5txcCQpWVRJuhNmjny4BKayRr5ix0J0Ub
EzApjUZOOC61KVFNFdlf1bRTGLRjnDaHJAq/QcghF2ks32qBPbhNnB/aA3L0z2yiODQZcAHQbx0S
aw5OkcZ4l3VWcyjL9KHV+8fBipJ9Og1YlUTQLbrDnWLHkXYhmr8+ZBFb082iYHOyrfqswlFd2tY5
UOoLdijKv5S1eZlG4vos0jE2aIhuTpiqi2Z2T2PaHBUdta11HCuSf4zhLUEZdsgIyUIyZJGIWB6M
zPrQZfqKOBoy9qKLVrBq2OtQwMqypwmh2LZxqBlZGjB013txQ0Ge5UzazSzcL9Rvlor2uLeD2NxN
uned8AZuROZqJ30Cf6GIIdqi5SZ1p85o71bxvm2PcaHPbxqpb238mZIIm6t5hmXdbKpAFzvSZcTB
mxEUOrgI42jGQ+JqUIqd4Uqh8iXjAjzpalHSqYckwF7kUITfhKrdpSIlJcElJSCOXPg55ciCWfyJ
SZjMCWV45yotH9nxVU9GAmu5hsGOTW87LZ0ZXH0HNxvqTTgZFmYc0W1LbX6mPV4foibfI87Sjir1
LmHrsCyqiZLuzPHTUFhYkkJR3xWIkfNAfh+WV5HTLYnHL3lQtadSkfSFIOCrQjRxECgD1gtlfmnS
pX9pjI96ToMPxDt5fWowWdxaP8JFHt6bTkKuAqdNEJd+rnLjiLPxSI083baGPDNjHSE3eKCnh2cK
XayTqqA50PBZWtrTPmvgsWI328mEFUTYm3u3leRG9+pg14M/y4EtiRyvilTkXfDkGYlvu/0ud/t+
K2v7xVD997TT4t00F09ti11foGXSOoPrR5BqWBuTj3djJxJ9L4ISG5FGD82hDJjXQ7ebRvrAI4Ig
zUacrzVciO0pl6jBiRoRKItA+ZWVuGhh8lrrdLuUJsjMO1WW9YcyumqbJZl9koWOLA9bfmPpUGJV
P21cs/jO2YG+taM/oStpkv1QRLu8muheejRLJm/DWbxT/0nbmS03yqVd+lb6Bqhg3EBERx8gCU2e
5/QJYTudmxk2M1z9/6Csqvzqi787ug/6hLBka7AEe3jftZ6VNG+D08uzne+1VfmAhDSIstI+G/oY
9N1M6G2HzrGqUPI4S78hnhHUnZfhhSJgYPEPuQV0ABfkni6AH3IC3WM7Y481v7UgRYPGtiCjr29M
lRWmV3zz2yWW7bGwnwpDvJMIimYVsaa+HVXxLlrf2JRGTA8zGpCdhOO1ZbnfveN2B+FBXmSHWG5t
066I8Whf2XsUB9fCLSHHhREKQAsM43Pkx+MO+HtQ+9cYhfl6aDGwzA58p9ynrMb2se+3W4DG6d5v
4G/RI/mp5qMsmrdM9g71XCs9MIDsc5tLI44Rh8Ys89cXqVTB9m/U9rErum0E0d7QYLNNjXPX6/ZP
nJTA3npEHNPdBIfjZkYWvBmaBui7/xhNvnxpXeyrbEInnDrlseEc01EislJhtxabGvLqRFIiSfHY
rNEOfuZvx0H/MolChhwgP6S2gRsuN1OWbCN0g16RD9sofphBV+zNOL+1S0dslEC22uU72dacjTFh
aCpKNpgXXmCIcB0k9O0nKfPN5JXmVkLz82RfbLTSRXxfutVuGRXZKKYHNRFgYKJG3HUmLRb8Es6I
GQ4/0Lc9MbywRsxxB3Cd18ee7ud7LvCqRcxUXlO8OfYvrVAdKiuHyLc8OUZVIjdV/curSvOURQMI
AqM/yDF/mgrUg5OG86RcK0dpHos7J2brWbLrzrTouBiMmwD5lVzYi1sv/kzi6ZQZWpC1Y4lL1DdR
MblDaDJM1VAVZT4fXfch9aCaalG/YS0PHNAh5xRz53gEiwVPxCgGqKmfC4pbNH6dc47STSHMd6Tw
71azqsUN4DKqt2Y4F7EW+GmJ4G/8mOawLlBP9tp0Wwwr7073T8QptGfLpxJkVGS50+txzehHU+ns
DeOeWSY2jqBj9o5j2nD6MMDm1gJ5O6c41BCUNzp4nXy5FHdazZ5VZz0d6Wa0Qz7VYn7AwBl3zckn
ncbgkrQmigdNnN7PU8p+4qUpBhlqq/IRoSB1MGveT/5EXq+jKFA5PhbXglKb2mSL1dwi5yZ1LIuf
VMFcRMkj2uc6nNmsZNAYs1+OHErQ0giQ5nZ2Nym732OLELA++Kgo6h6vAd7SPVTkV0+nOVCrfptT
JmA9U/4qfaFtfKehyhMrb1syqcgWgmy2PDUCa18m0vlq0KJgMTC8JIZlP0gjAWC/gEACPcQ4fZMI
NMaOpV4aEG/7WRc3WhqSpj3ttZamd9rE2NKgilgV1wRalmQvbPGgac7BdxRgo8oM1+ULYuZo63bZ
ORHzjVs6j1w5b7qXz9RRcbE1WXzyWc/8PmQsJLI2RVRlPtQOW2Y7Q+dEtmlgrx1IFVfQaJVJY2qs
jrBo9FO1HqzYfC+Y0re6511HBqn0Sl+cLc2+e3SznHmxT6uoKHZ1VsFiXdUfUp8Y62wFQJTCjD5Q
eYU18kNH170b6Q9oXuxARtYLcye98qNOCDLvV8r6kAEzDLqieNChXhHgi/8lFRKEFIJyjyBgt1Kg
V35GmKd2jhG1QeIbCRwgD8fYVB5GTftkzG9DX1O3shuc8BIQiJQNd/roQ+rEybI1/LUBq7xqY88p
p+m86c1k3qdOe18mNI0Lui4dCiVnIHdjHb/TESHYRWxnloC3VNs8WCtna8xMKsvFMHQAp10LJzqr
6sx6ECk6DWgk4KvWboUeE4xR8pqtXuqnoqsA8GlceXvhjLeJ3m5R2BuHSwQgMR9PmLUBpDbJ9bjS
8VzLHBBmp0BDYiccpxjWUDViACRP0Zg7HFVpbh4qIlMuMjyCwID65d5DiY3vaCWPc/wimzSBSDAA
SF7fjoD7z3kSH10cjWE+RCowFDSYKcrASJqbUpgmXL04ActssCb08R1oXf2UXqI3qBmLsJ+068XP
nGPRmyPjnh1UI4Focu0M6DhWdkZqfCtH63ZZIejrinKjXJWiFzGiIMewF3TJoLZ60rqr7mKtwdMU
oKFHPgupqW30nFKQDFu7kFsuEt3yHorOag5jrL9YpmhDIL8AHqo1hwE3ydyjYXbtbhWY75YB/F/X
iDdvxR22ALW2sY/c/NKor8Bo7FyveC+SpkXfWZ6WNbfLZR21dtEcidh1eCxS73tMGC9ivbopV8hk
ZeYnX1nPE0LnTGVPidLMDf6c4dS3VhZYqfjA4LZK6Vb7nsc3r8+R2iYjmUUVl5Mh85fF7wn6QoEg
C/+NdWAc+mZ6VZWY7bOKaqM5fA9ZpO2AVEYyw5qox7+6iYyHVWVa6081iTJH2VnzyV43ETYgtli0
RIvRXt70qyuNp3FBq1YQnMonx+7lrtRZg6H9cbfllN1rylF7pxh2DtkzhD+TIRLlFf0z3AWbukSD
RvGvmQV4m/Uwyq8c1dVxWQWXpipfQOhZRUDD3d/HqMMSzaLMKfE1e8pp6WRAiBxjK3Tz+gcrCnTh
BYMNstauo6Ogan3BobGAep3KZ8VgG6Jwiet5OCeJehzGON9XvTucNQ+q2eIZhJEe3CXXTm3SfbB6
eMlVhXZEtGfHnzZ+n6JPzUJ9jOeTCZIB5SWWiotso/TEHr3xeGidHm2VS2n+orPVsoqab/WaaGKi
OASA+XJR22Nxbyqz3PiTD9h3PQvNBuWKIAJhP+XuHESyMkJ3eHfXjIGohpNb6Bp+lj6/yidyUtHN
E23kQ0ORF7wm8jyNHaE8RB3ldn+Gqtn4clv0xPaws7pOojE5zXeFQ/GFKAhrg8DhqZqlCLsUbhe+
b3HslnXJl+qnSKS4UGP3RbqWsYndhQFvJZk66kzBOT0pjGD0l8Aj1zbyqhnfQsSeuWr9F0XITSAN
gnsup/kc6yCusOjufKS+ifkeZ6C50FpfpaZxFpbV76xmOa8dJ2d0jCCpCRFIl8U5NTjhty5OEQT9
VyrLYQrY70Xpt4FZFcNWeb8u2t3LgWQ5VmCRY92P6CIx+LN3teXKhFoPtKRe0FtPIXHy/7xLCXLF
rHiod5dDJNwmKHPZX+k6an8W6bvFMu6ZSNuTQUDHycq4S+vUh2NhPvCTRGwmDUcL01K3RSw+oDki
zDdfYrhgIFMpoGYbURB6BzBq2uQaOVnda8Jg9DtfNlndlZfM2WwUWDoVozXzENmwSAV3slzN6mtA
LCpbnEsS5HirbNI7GraVtrrzSxnvdaHcw6LE1lW+jw6E3/05XO7LkUAEEkjIzl//RFVFdBJp+gB2
ww2nucpOVnJv2sXMK0bzl01xZXOJ400rkBFBJfwbRfz1PqZweKp8Fya1gm1SAsI72Y3n7YifeBtX
/iw5gvSiKnw0lONJS0NY9gNmV8rl4sVoWpuYk9nz7tmKKfQHZCZcDtE6Sxoxq910hcteDjr21EOJ
LMZqRcGwUbGMRX99uhy05V5ZmjheprU/d5vdpna4hubC0U/6elj6+qnsbCDsXq+2c2J/0MaToUET
4LwgRg7ShcF34Rw9yKI6Lks2nksxFFVIsmG5q6ccjRxlf78cjlLTNpEJPhqVMLMLRXorLuy7y6HQ
9E+9rx6dzm2JizKe0R/1TJwRATx+MGdpQpqHg2HV7NY8d2a5Fv8YnQ0Gv/3MhCCy+mDQ+cEFecz7
5/oJ6aCNZ3kdKNdgsN6X7pZqE/P3OnhqrARQh2bFQepQ4qzeWMMlR8ImuWyzQSwnr+m7sNLSp8td
zGHz6U7lfk89gsM848hKR9jkOQm7236trg1rda1bD6tpxicCJfMQ6lszPCCInZy+hl6FKYEn2aqW
x0Y4HqQVh9pFHrAeZrO5YzcGQni9ZV7UC7Upnrs1retvQbieUGEFMAOWISOFiu/4QED3rvqPS6Du
79jgEtM9I96EvMpsWRRdclousS2Xw5q1PEfQudE6tkEv4qYIHHZ+hJ7x/0Yth8tPuZHmYVYaL5cV
asVy1C1iA6ontLapVAdhGD8NBSABbdOxGCAMaqKGpCJbOOFA8KXPdhiHINvkuUwPtWRWB0kjWJ34
/YF/j81svwfNCAQiivnetbuJrhXAT6SqC/u8wJ7E9wCf5jzb3tnzUoOyzbImNfW7vHqIZXqKjXE4
8ex9kEYZgQiowheXqh/qRoIfIgN4c6VuU8VrDco2ODh30pQRJBtBYtk8Rtc1OMFtDiWE1Sp6sp2W
JTsoDfGthyBrLOHfEWcjvZwzD7EK2/5xi7n5WMTyrrfcOwgZ2a7PIMcr06RD6T5kMv1FMSJDBHXK
pokOsw5jEckEDOnhOUuxS9sK5anXZ5AB2Os1fAVBo80ZlNXS3HmtMYdNigjB+u5npDJ6klWYkwG1
mhEgjIm0lYwdekvUWeOnG5OiUNDmQzgBrdu4LdQIvqXMwPys6bgRtHTY0RaFj9/jTMSXyjXozeW2
Tviw3UVh6mnpvHZW0of4ku3Ru4JzIbb94n6WmX/s/PyqgHNNKZp/319endE9wSVEOJXdEhJGbQXW
0rZuoSnqNJ0pzm15ZSalTPBowA5BtSxgn41sj33ocTIQ3LDoSHdpQtURlUGQK4vogwz5vaulxm01
Q2U2NU5QL7my+HCEYU9rIWEMKUMH9InVtaDGlWvp96RTixt9gi+o4yI4Lt4TBK0Hs4jmQM/xTXfQ
A1rtPMOoQlGpPVKgfdypiLp5bbwNLeW62dkn5fihsysKUlNvH4oleZPMZg8t/GhK6ylVz66gUMg0
nuTykQVcal13M+R+CVCyXSCT2hEj1eI4m7IunoQpr13WMgO632vEyEhmgGnTVt1MFR5AW5hfrvKW
0O2Q3CFOyAv3mZL9i0NQ8S7uyV1wu/x6dNnCAj/NmLDrGyU9WvKjRmZNSoMfwNCxjdEClJFxnaeS
KocGx7PXQ6+ZXvs0cQmRmp88Lw8NMWPLZ8wKqqG5UsTJQakdD5k1dRRhDWT9BgQYLY0OiGofcs1U
ZCVASNXlCP5KXKO+QIWiU+4u6uZEeFRQFnl0n0XXPQGD4AUaY6dT7dajFdwE43I7a4oN3EgsgpMN
Gx0Zhi0p0Re+5W9N61vzu5+WGd+Y+PmIB6hyFjQ/ZHwXg6I70ngPqPZI1I0ZuUcx4ubIIdbKEfOG
174yCgJdsIPu3GIEodwsig9LZ1CJTp7WvDuN/Wv6KunuBLksr7VZd64KGb+W6Rc7jJiiSwdSEyv9
gqleFyZL7fpuTixrFeYmOxtCQ9HWT63NCeIuj8rRPda51taWdkmq1XvVd1xpo1ilNW+pMY5s66yw
w/uOykmSDZYLJBRiq9fVHA4jWzk7NsqdBEm9jdgewx32nCIFTPJWpVjv0sx6tjvzM7HKeqdGHXXM
Ur2UBSVOg4RRZMzxuembKoTmxBKHKlBJZvZCGbOZQ2gTIGh7+ylK/OYA5f+qqLKnzEb+5acobsVQ
bQXUqzBOZ/SkSfkhcUIOtSOoJCD3s6h4A0p/QKNNnMcQtJ01hqLMK+I9nzPohqjIDph3cAi62oOu
R91jbJuv1ez/KDOc9bw5H2qsCNtYYEVOfsmUBJ55lFZA5FIReCm0YQNUaBFHYGRlSxiKhyLZzdmD
or45tTm14J2ZaceekLDQJyJgRxhysoE9hpLBwCLCxIa9M9E+W63dO1G0rY0WMNGa1Qbozt55DdEd
7gAvUPviYt/GDZZmsGKEougmm6JYI0/r1irOg8GVptJnxbo6AGpR7StSqYNWGi84FvBjwAZavPpK
lni/sBBQeMkq8hsbDHA4rcY8jMv5tiUfsMkbsdEx3vI01wurcj6I7FHV1i+zWQ50RHj/7vhjdDs3
iEh/OBYqv46fsoz1PnQAp6RyrwQfg89TDHGtsGJAndHydz3LWKwk3SvFX2ejLPM2pahzRNp1Vg6i
PXsZvI1lswLJu9spjquACb7YZEXlhsuudpIqqG1T23LVo64Qmw506m4qLTo6qgrBvnx1UcUns9Ti
GocejAQuqJa9faQ1NQE9gatqlnGrgGH1w7SCEl3JfBk4piRcZmLvMPcta1fA3WAgtmOJBJ7tFGdh
uelz952q1JcCDsuaDB/0eHTJtVwBg5Txc5e1n8O6wPpKiAEgAUo/mouCa10chU5t33fhJf4k26ok
Ci6Hsgj9aN3qQ7EuCJuJdf02N9MPOiMqTLqOqCKXsczW0semwnbiuNnDQLxloE80WkouaeRTc4lT
o8yCrMx6CBPTk+1WJxx3MMzVNG2nmM5RXOvbAoYoV1fMoOp6VYhhEjvwZqHejy3MDXMAJoE9s66E
BbzFBX3IpfGmctSHmC9xWA4YN2hMjXn5YX+lTm7dmPXwQ0OCEDROZR8d8qyW0RU7WskIVSCnIHDy
RNB77S/GGBeqi4vjYRrg61AVnhgz9sZAxSxeepSO/mdFacFdaOGlSHJc17uhByeAbFDyqQYbwgCZ
P3a8v4QX/Dm46zIYDxRvfF38Xg6X+/7c/B1yYMiSZJiyNTYXHWjZWZIE1FUmjN8dMTK7P7Wh9I61
rij4FTMbGSprHPFf/r6JTPqWRf5cXx5++Zu//Pj76dbnrNZNoDC5PIz1KTyrvzUWY6H7sr7gerg8
9s/N32/iz+v95an/9ue/X28GvLGTxsJQHa35TOurXDTWv1NEnJQc9stL4wwwDsWi90EhzWf7GazW
MTUIRTM+NBPFo1w3E/64Bqb8/cdyVdIqbzbhaZGpte4wLgrbyyH18KH/Tuilyesbv8W3MQpDqurr
l9LqbnoqHMprg32scFSsd/7l95fn+0uo8UW3++f5hZn+65l+32nDIIiRcrH+IvZ9fbLL4c/b+v1c
f27/d3/z391na5A2VnPI6h121kzmkcoORIzZQlHKzXg9vS5RxZebl58u9/25ebnv8gSXn/788d8e
+7ebl78regQwqcV3sWrV/yjLJf8t5+W/Y6PVb6X5v++06oatwp/fX0KnMVf960GX25dfo843Ze8d
x7VSCwoHFmy//hhVLrzry4+XX10OmPioSGjHPw//20tcblq4/X/jQf+/4Jp3P5Ouav7n+txfeOob
xHXdRTDz59b+u7r5KL7bv//Rfzym/V+XX8vvapXZ/MeNXblilu/772Z++G77/Pfz//Mv/29/+T++
L8/y9H+GNVuOtSrD/veSn5ekkUmZfPyH4uf3g/4Fa3b+YbjYWX1HmChqLtKef8KaPesfkBlsF4eI
A5gZr9Af1Y//D9tx0PvoCOqEaawJ8/9S/Yh/8AIIZV3heiYGSfH/ovox7YtG8D+kcLy+5bo8J2+D
jc3fpXCDqCpKisahWzDJ+IYK7KxMd+4V0z4scZlS78RJjpV5ny/uuRs3mU2uJ+AvBNWFRTzlvHp9
R1ajFARuqkFiAZvGw0U6VNXQNwdSHH3dHU5FrT23aONwuT8vBjIWkHRb34+D3CJNjg35Nhc0co3p
wWU9wZVxUnr7KPACEdxN3iECEbe6zg3ittz4Jvu1LM1rHU1vkQvtCCsY/CE5vY/tXfLSOK2Bee68
JBQEXLN+T1v5eXETrDFLshYPiSmuvJZIXE/Al9WOIGLRStquiELZ0rZElzTMBxdaKulMFLkhWm+k
SSp4VIpbQrbMU1vZ1sFz+23mwFUPbGQ8AdIv7P62CISLxF7WJIn5Mxb8svzlFrqDckbcqsaHAksB
CHyr+kgnNFBDBspKf8n9n5bjP1nJcJ0m/vNkWHiNVttFvjou+PoekogUNrmWnpNLFwR/mMbSXHeI
CmqKmvzEXvZsGjVvU8ULYngkzfrGXP04mh7Z28mnXO3GW3A79luqjTJcMCphNSKGG9ouughgJYTV
/PBaQm6Di0cImv61tRaoMv8OEAS9DHy5wWIxWdXlMy0AvHlyInYrNno+AHJhkskEhuATYTtRn28m
jccNlO199iTzmsJhvPcRldKoyUb2deYLNfY4FDqR9wly9OMkDgneIAw7OOkKT+7nNP92Rv+J5vF+
lNXPxdM+Y+KZwtHMxp0e4T9ubPhZq6uHlUJJd7H0yqtmrZSZRlmFSeydvDVMcWmdbTFjrCAH5qEy
DCvM5EAIWkHxwCIvRB/xyE/YprMGpTw+RmNTieKxXlJoN8b8OU3muLssbOD2XUlBqre7nttgZ6CL
AG0ILnP+5dCANQM84FH9vkSAza1Jj5Dox2Etv14ywOxVZD2m9GvXeLMp/0EF8oetF1dRw4q180F/
dV+Z5+0lSJwgbUrsSfCcV5wkPJdGX0lO+a9i7YxezhEU4ldcz+vmr/qZu8VrU+hRGKGC6FW7w96O
naxyEVFHpHSu0WOXQ0QnM5lxXvyZOfGZLAAbUSRUW1cTUCdiDXXA4JEsSpvIWj8YZA3XadFQWqKl
1uCl1qmE79K1oAlXgo4EftjdiLET6I9sz5Xe3je9ALWHNd4TKV2MNXKN/t9e+PlWq9M7fJDEajkx
GgU2HZ2U4+ky+Zl2sss7YK1d5dMb07sjQgA4rD6OCdNGlFEDSZ5xiu5yVqlNq1UHt6fzIlpbbYa1
ZZwOnhU2xLYpteZHgnzfuKQq/H6fiUNgBvCQoSIaoYSSEEAxZUkLVy0e4w8vbvuw5Y8uKV9NQZQd
sUmb5aee+dhS1gNijMAbH7IRQN7YE5lA6aFUS3uyWDHX0uWjpbmZVWlxnHJr005wUS/rQKWR61FE
7Yx4sWbB18i9q5mBq5UfYwGnnurVnRzZ00D/EZumbD9nF41YzRJh2/b4QwdD3dPitreQodn8zseI
Uf7ExEa1Qtr957KOb54WG6dlrbH3Uv2aVkcL2qPvUUP1r+FkgfZxKqhT3uCLlo8kEtcHxJdrkt4M
JX2KsJO0Xn6T+cQ76aKcDunikuI6JqgOkrZ/jM1NpmLjNvNbgahrMba02rTbywFAM7uZM0HnX7xX
ypliaWiEW2s+krnURwioFC3AofVWGd27rRltkLBYYdou681EXWF0emib6Kobu/HZ0Xp1LKf4SotX
6cnYi2fRx3mYsDHBYJ/TH72h/ZPsRFl3R1wB82bqJN3N2YbynDCAS9MqCIDH41DNKLKIvYvQe+fJ
3rURhcaWXO57zUGgpdqfRqGgMzgRAbMG9TWz0qkHNrX7nK5o9Aw3JKPekdgl4maNWu3p136JLKX7
CwXjQFskf1SudfPeLtL5TCKaICIsF6WBUl/ScxMXLzKSFMEIBoThFhOOKmBjp9l8ZSeVAT6lv05F
92h5qfy5FMmLrUfmfZfFu9F2hrt6jp+9PAE/tqlBAmQbF4V32KdMcZHROlda5X4WdS4OXdtXh64s
PErH9yoeUJKW+vJmGTHcVVjS6P2621Hv8j3GYPfM1MJUBW/sGg9Lt7FaRyffzzRCvTJyPrDZI82c
UaBCkxfa/lhuxjq3r/Q5zZ4TK93TCit/VMlAVrgQj6ZhZtuqKNRTtHTsiHFdMDRpbB/V/AEniJdq
EsQ4s/yaATYdFmJ2kIe1ghZviyX67z+OVSrOlwOK26clBxP6567LH5frgy/3xf76DJfbl9/Yifsz
McyP3lqWK4PUr7293GSDTF9irNG2+5VRW99GJdVxzImoMn3H3VSFZl0Lu9gqrcoeIfRdG13b3kKz
PIGESF8lFjrIAkR4lgL6qxpVd5Ru2txZMAF19IJ7hhPz7Pz7YMrCPA8Y/3zXKG+rvkLpJiipTpTU
QiFBH3SYyQgtCmYx1A8CQeFDYsXR3pU9gJj1ptvPxZY67ElBKLT0htavkzVbb2koO0UoQ4qpmA7d
TC4tLdL7yW3xw40paCKP3rJNEyKmf7qpmx6Pks27qbzunCYW7GaDQcFrn2Z/HnaAjKJA5GgFdYQU
O1N3kl2ZgSnrrPzQuiTYdk763uOy2xVGOZ8Eqlz43T0sefK9CUrOnNTZKx2lXk7jcCeewWFMUzVf
lQDNw8knDhYmgQAfHr+IJldXEv/r1oxtN0RREdSfYyan+2lxis0yDD+NaaDZ1tv7NHMO1qicHW3C
bwW01gFqv0fK9tWX4tOgyHrocMET6IMRIqpxrSJ9CwyXFQFdCBP+mH2Lt/KR/+rNbosRQtzZY812
XxL03DbDiUkNkQpVpKtsmHekZNP5n18juTjHRVGXReBSPBQW3IdKzkfNTa+GoX+hLZTvDFIEj04M
i6nVurOmjWbQNNRil45uaqXFsJBMrBpt98Vhu9QZg2ftPsZIpFFhhXhnALu7TXWGW9JuGrAEU53J
2yRh/WAPcxJK1nSCqiR8anU1Mypi8mt+CJc+QpyBLo4toO0uIKxSSx6ngVjaGfXfvn+b2xR7XNOj
tl4tTlqU7ljFtogea4x1YS5IFJUZVErZQUXpumShLVUdYnPowOSDe4+ItNuUC3ktfAvFZhIMNYPx
oRYctnemO70OY0WTZarsAyJg/NSLvuEbnW+y2MswCBdUH3GBzVvR1/dRW3lnsYJITc07a74zbRlb
kx8mVlSrEDl6Mrmz3VXanaj4mip+Qnwrw1xLi3KzQMnnc2XF1U59e4s9iQg9/qWtiKOflHIw6zUC
/nQzs0XRCrB1aXdfeot112qWtVEeHQ3y2KotQPL+sKT8wyLRdFJRZ5BeSHAPDWeTqpg6YOCPVv1d
SGZ3Q6qtYbcUJNm53NmyH6nQNt1Bo4Qd6H7iXGOyoEQ8w/zsPPMjR3vQKPDcJaq9eWh3lqCsBUtA
vzWz6CrJdQDUXonptS+eCBXjYkbp0/f2YzJ6FZ0j89wk/Q583lOlQAIUp4nzZa5IZo4FMiS3K+6d
gpMyYtMhyRUYpw6lDgqVvjVufQ1y3qlN6YYg/J4DSbd/mOW12Ub4ejP8CAI4SltZ5YZQv3XWZmpk
ftvAJCdtvE4+AekCKlWvRm/fqH7+mNCDgG/ZN5GDObQpb5vR6lFbMvQQLB7ng/XMpzuskeu3jln/
mCL7kE1sHovkfimQDrguoQqlZ107yxy4VvZJk2UqvOfG8e9qL6aHRQkDWjvbOSnaX/aKOagqqEQ6
oqo8wj5QzubtJFhymOSDjf2ZfSBLH84+wlsJfk7iZwlfoczVc5zbEgue9lzCH2RBRtKKSf+ABHc6
4WP/wwJ4vx2ca5c+HItU+jrAGp2QvNksmNLidTTr1W5MoLq9FxplHWcs9moervoy9gJj4lF1hVM0
uYvjqQ7q/I1z8d2mB87+wpJhLdofXWwnewJ4Xvwo/cqmjBwcTT/Xaycsit3NSIOU6BBw1oRoL9gZ
CesyHugQszrKOCXFBNCQEra7nrS4Qe4z7cE18Gc7oJ7Ap+QvchYVMb4lvsjJ7rdNYe7tufYDCS3Z
RjRr5jgn2CGu6i9t2dp8kFtDm3Z9S7esmk2mcb4+vUx/9Kz/g8wWaFIHEAQj/2xXLL9y4FJwt7YA
K4LSmHb0KoS3M2BpBFSjUF+1OcCmTH323vRJ0Ajbws4Lshoi6Tzrh6bQnLNh7FpDonvpAPordovN
pL5FEr0vol22zUQju8pv+tQj+m+yz3QATeqatNQx3Tln9C7E1S8ZWQsmOeYsXli/undVlrK8b2w2
8N148EYn3i5V+x5l3r1rZKvSR0Wh4bfnmfqC4WYHG0ENKp9dheGvksDP/LQifjE5N3X9JV1sEEuS
hI0aymvDBTazfOpwyQkmYVmlp/3ZGZNPaY9riOS4YX0OMm02jmMhvWCIUujujE2o+q4Ev2Lyl6jS
KwsLQ/sdKUScC8GShSG/RtMe3oRH6IvultdO4u7HaHxxWYHjo5GEqkZEUFUWHy0YaScY6169ZxG6
OPAm2S0BCXSUtcULPf63wEfkCNs9Wt3vnNmDNWzNujlOC5AxJ6VlM0pALbpt3sjMza5KCghUhl/A
eJ3EcHRVX7zrFg6OQvulpSYK24UzLp+I73FoTo7aKgqlCc0gNUUhqQKYmVxjCJyhf46RVu9V3d75
kADRPsDoxWd8MnMWTtWQ9oTKcSIo21JPThUfoT0yW5R4ESoeYw8V0X/tAFIsrrF32epVb5fmRyrq
fjdPg0ZA/EKpV2vbNdaAT04TeMkHQrK0bLEDv+iuPcu58sv63pc0EPo7CKL0ebUR2rkLOazViShV
vjcHIlY0rSUbi6G8Kev5QUydFS49S6dGmls2GPfgYRhmiid9QZZC6zJh3iIjL8ZatDNJvNypSruz
Knr68UNs1sjo+up2GfMH4DY1zZEs26Q3RVMoWlYW0gAyZs5tGt/CFWTVPyzvhFx99iZ8zGYC5RBz
bjHcGLTF9ppOnJ/Vfkqo/uEQXycDQlXIV3PoSodMzHasd3mLdENFVhP6gkSQlvMvzWV+Veo5GWes
Cby+9UN7fI1nhCJ5C7+A4MKjNc7JpisbTnfiT0Ga/YqS5dec2fa9o1Ou8dPpPuvZBSQZk4JrtQdA
GxTZE8YAfaHl5DTak6vep5qJgQzYt9iR7Kppsanp3pjJDW1N80M00jkXiXZXZu2xm6qUSBwgAjbq
RiNSEHjN+pMzojCoqLAWu7Y1FtuebmTXpc8qgi0UTP+lex4HsGkzHfIrK6+hqOL76DxtUydq2RZV
85L63YNQ9BE9RZWrgDlBpacLXJF/lASAos/RX+ZKLMG0KGPbJ7MZDuhUr9waz03nPrdKN4herbqd
0Kv20CTm2dLTPXMdWama/+lXxfiW6+8VK//QUnF7gDTYh2sqPPbwIWZoaqODIsllBEk6huQbvHpj
9YScp9qBW5pexxGpxULNMEr2S2G+AzXHFrCAAxlAPCARzkDpuW2YwAZ/NxpvJ6aiuHULCRacyJ2Y
pN25iQ9l8jawlLyGT/Rf3J1Hc+PKumX/youe4wSAhB30hJ6UoUTZ0gShUlXBe49f3ytT54bqVN/b
0W/YPWGApEiRhMnM79t77fWs2TM4qeyqzVjwBl5zveT6sTKY1aEHWuXoyXAbo4cY0WkkhnnRuEaC
ITEekyBgPCKiJQyc0xzVBkXSqdmhk+Oc5D9VuG7W1VT+LBAB70ryVwAQr/LKijYlZveNMVko/fNz
X/OL0fYUoUl9DvRTTq3o0Jcm2UwTsfYDlq+cwACqM/2lM/W3mQ+3CwZUJJY7/kDajUot1+d7p3Pv
CVqXLVBikxuMhsDUZLFjbG5hDK+9+UqPzP5+Nsvz3NM2TPi7Jj1Co1sOVuEdAxikG2c09yG1NRIL
QHTYbbWrkiE/GWP/4jcJlFDzuW3xgHWT+zgs5ZPZ9Q9O4m7jqj0AL0E7OObYvfX0rhq09C5hOniy
df8hrAZSQK3+Jo2c4dbmsloKRztT23IqYFNdeT10DLK6Gx/dSLqUWNldUeAvXguErJXBxTttvbsp
r++YXtcbNM5H4NTGrZbq6T6uGKtYwae2MK/z3t82dqDfcQ4z8SWXfmGgkXgIZhc0ioRDoERng1ew
G7QyVd4D7EcaZVe3XjGeRxY1KwbWuZqOTlbfD0LHTGvVr/1HTHTOoVicN+DyMQvxHM9Onz3MJuTv
MdYp7qMs1QZYBL3JSF465spwqAsvW0StssvuDydvyTFaJfo6sGfzvoH9AEY0pMCUemsrH/aexu5p
D9hBkXxMPYUQgkwbFEAjgh23yRCKpnD7e8GYkPjRqUmOqRUgdquQhdWR9RT6MRWDnmtGKq4Sl6mX
Pl8vGhXPOimplroTUjc3o5rCpQ5oCwsNP21u5l3OZf2+6+S1PY6WvT7V+AvMZmPMYNOXeEcZDoYb
wgEYi99hn5OiBaO0nLD5LAZX6BL9zu3ofx+IZpIsrEen5EAJxUicak9wTGr+zGamselC+THSnGc7
+dUn4ue4NNcVQYjbiYgG+JiwV7JqyNde3LAuTXDFjIZ774YuKiK6IktYg+R8JkEsP3Wie3YrYzhN
tn2OgcGtkC2KMyjarRiDH6lrdiv8aliPNawh05i+93labmv7YhhcR1sI1qQpX6YAU+Ec6uZ15U1H
0xlJIjawORlN+bH0eJ/Ego58IKUR3US3r0acgwHTXZIFom3cT++D4WyMoco3lfs+uVj82uzdN8iy
sWH/ZBBPyY3Up83QixpMG01dtzfEWoiYGEkNBkkeAW5ol20znD09uOcX3Ek6jh2Z9X5Iu8OA47gZ
QbgFoSGTxTyCqCcMzD78h8L20CT5FRk9qbmbMZYai7idZ7hGLkB7LX2pkRMXrkfUOcD2JZ3ibb8g
IYK2hsX1vjKiV4OA8MBlQdlSzsS8t0G/xn+17wqvi16npRm31Ep6YE8NhWiW9PumIJFoWUYyRapb
WHM/NFDg1AHHH3whG5lXj4exuZR6cfHvlyUcnwa/29mOV904nX1rC5J6Ujx7nsUiFgHQJc1db1uw
0rW4Dq0iRP4bM633HD43Tt2cqcaiZ+miixGHN14NXd8QaGEFUg5i3zdMYZOtGfvZEQreSyCV2ANZ
AnHPDlqYk8DAQdM0VAsqjfqEAwzZXLDscwd9kofZHK9fyGJ/gmqVc3Uts3ZrOASqUMxZJa5DoHXd
jMR9Lky6TQkrj15HGlPbGO1Y6mv0rVzAyvZ9bZjXmi4ufZ0yybSyGzukTWGYFHX6PHz0pw+EFjEF
RZO+CzZiI2MF6EDU3BC0iXrT4HwrGI40/FCdqF7TaLavZLOQuSsCrr4dh23JbHhFpOWu54jYN7qO
N7DuofriM91PXsa6JsK457ojmju02UE0lDsKJSD+nDi9DiLMs153UxZjdlXnMIbCDjRXB205NnDv
sOyykAODICRjz+lazKYNdBjDuu1z4KxOEWIOTXxiYIr2rY9YPEXSiZu5Tw0l2Cmg0ZfOjCxez6hJ
3oFeFe/yWfCON1bjnmvNv2LhtdXwfaLSSvjkjpjgI1GJGJ2dZTVr9IH3U9c+6ya2g0h7LLthvAa7
/6gfWqRUfdTcGALzNgrX4tgn7TppnQuUjekxyLStEZETSDcx2dV1tAulNA1qCoESIZEmzhCiQCIj
aoO+uF+5IGUWFLRbOQU23RAtMkHfLM3n8+BEFvqR95rF9VrM5CM41Nl620O0N6B3ZZIU+qB3CajC
vIWPf5+1MlUxJfyssugRIq9vVlSO5W7Tra1BQX9LMWW5wwR8A/J32BFcHm9M88GmrUN2D8NaGRQ3
QdRGWF5M4xjLeBDDWyEwWRcDHccxhUvuYtmdWN6PZH1dm8F0lbJP1jZMcS+M8muB6nWcQcbaFkWY
1pvKI7yV44KBgLr5Vgi/2lkaQH0yuA5tBk6aUpLmpdi1/aXaht+CFKlpkKVbkVjo/L3Ox41+yuB4
M8pdhYV3E80+uaQuNVN51q4tl3y8YdKLbZIE566w3/WW3WDHINnkomGuh2Td2LsSYe5q1gfnKIma
hFk6xjXCvvwYe807KnF41sGUbVMrJSRdD899gv3LC7Kf1gx+yNKnH1HFec1STSSDv8cig1S0Gvp7
Rzug6YXAbM7BNjGyQ0JOxVA2/borYZK5ZEdgakRc6kCURnEaFIN7wVNKisw0b6IeUNdQElyqexgZ
MbCcUQfER6SPTL49YJTUzwX1MM78B1PI0k1UHETXXfWCKB1AWdthIq+D9YeFSzhDAi3RNK6ppXTp
YEgFbb136qd+KeaNPrsrRt5kT6b9jd7OT35uPyUmJUI4dnu8zpvBpWiUEVu+at13vzSjw/C9m53X
eYSXEUMUPY6xcSGf2NnakC9Wfux8jzzgsDi4ym1f0oLCdq1ZE9SnSSF1FyJOONTL/AnoE1mR5CNt
a88gCSRs9UPv47OInS0poStmWsViv8NOmLcag8QpgepIfXayZDjWTV7gVcdrRIMpK15TJJJVkfwo
7PzUjCGdDWfegEp0DhPDVUvtc8ua+FgyXXye65u2mYc3O7KxKKQ6uoUjczGfbbwMk13eUMa+tiiu
Hxb/AfvcvejN9tpEjxY0rDmwLaUYlwWLT39qWSS73qHsOZyYdlFzJoztvdHielU2JhK8yThqsb/v
xa/ES6wr/QMOcLjRaTwd7QolhJObRKTkWc9FgF5tCh8sjOzmOsLWuxjGr5im3MaI+0eDNLz96Liv
vdXv49wx7gytN+6ozuE6AP23Fb39mofWsg5CJg2UzJvtNGZ4Owf7VY+HHZoq4rpZckcFg9Rof8uN
eETweD/5t3FXmC+ME3zvxJlWMZL5GQgCNRUPTy6ielQDkG8tItEyfd6niAXXFUb1jdH2rJawwazo
KxMLk4jnbnjDwondQW+y/Tz197HT53ucqtgAgutMa5icurJIW/NAdRcPC6LFpgPPzvpulTbxC+Q9
A//lUzPl54768A7K8a5gmNlGTYiqw+kwMiQ37IL6IfO8uzmY67WfRcxOs8vseDdDXXzrXA/ot9/Q
mTBx/6TgRZyaKbHpTAd7RmLSVdKCi4gThBitKTxyG7f5aJMMvOMsQd2I0WybCwNxhvOi3Q9TyhSy
8p/ge6ebqRQ7uyPC03KymBAduTKw2gxDv88EK5+2sBVhp2TYNmjXMBXy11Ww3Cx5bhx0i+jRjqbW
lsiGQzvbh9klGQ4NM5NVE20sPzjID7pi6GvL7/AVm9MiLc2aT9pLQnnXMouXlOsiNe3gLMIE+4ZO
XiFVg7ZBOhrBzVemnBQqZ+2gz05I1DUAIEd+d9ahhhDiBPF+rm3/njycXQqtJI+Gep+agpRITP47
xKi4/yg3mSzU14tL/kUVORGKnMS99ZlAeUtbU/yrJBoR4McccQqSGXlT4HgoXUI40VtwJbC1m7bO
fwZo0XespCf9WxMtN0QkTIhTLjYchavGbbqjhkS8oXO2psPmrLm2bWNypNeEYFqHbKDbTAE3QW5e
2oOxsYtlTeKcfRt1hCoK6mgMqSzgCtruHHaYvzksc6AQQyvhIR0zl4UGGPCAC7Jx1l1Yis323ZC2
TiWwySSTYpH+41Y6kSOLyQo9cvAV0qdcyZ5+EcdH4JJEuyXGz0W6mkMhtT9JkJ9m6lQ1Tc2jBhXw
mDfRbZ1pzg5FFIbwRm8eM+mazqSYttE5XhpdM094INahdFnr2K1T6bsWVYcDO6ujo40pWwkOF+nT
BpdDomv0bMUPrmEQZVsFFyGd3UrAWGD2zoLWPNjeVLM8xAmuxBSMBGdrKe2d76UnR/rGqXdPJ86w
G0rPFFcwcSus7TB3xiHCeG5Tu3Qdo90HAQXwVduN+qlBqrxIx7r6OJgxqUlyd5MmD2OjVyd6N9Ym
d+du9SmnUjypeOguFLvrnUKtaCbab30I9M0wLCOuAGp6KFEWjCea3d/DeZ/3NpMA6b6vpQ9fl478
NmevQmUjccnwKYlLh31YmNCHMPNjZkano8cflYefU/r9HRTEa7JRCUmQNADf/zGgO9/N9MAdA2R5
gsMd3zzZEByILUiB/hMuIEUjpdTVaG7xjmAfIqXCEQyIQRcPQkEIqmCRzIK6cx8R8hKBkKPWIDMg
xEZjl4de0g5I2XozqEDQXinuwU/bG3KP3S2n7Q3CroROp/lWSH4CfSJuJFMhBq5QScqCFTKH8c3F
WAWSwVACY3DMS6pX3jbBFedJZIO6gbd84oSb9otkOozAHRwgDxGwB82Jr0ZcOE4fTqdEQogIMqDr
ElyFPLQV8XRuvOhpcd+FB3JeqYEy39oLm6C2yiL90zB/hdoA1yOTznE/IOUO188GTVJCDQyDaw03
n2kmBnLQ0h32MizGlo0sCy3EszANsa+5yPnuUGAnMLxTkAYeAmRvsxQoisBSGWtqUlIrA93je2aa
1jaAu7WOZg6JLnSmNTbMd5a4L95kYPnO3RsGQCwJOtbBUmL1vRKPd93VF6RRI9md7sVnOWDLaO+x
21OcD1D1U9Wc5+yKynO9sykzNmSCGA8tAQtLZJXrsdRekembrH0D9ETZu1IGucw+PrVMM0XUvZX4
9ywcmDzN73Yq1XYdmbOl1Z813w9Pi74r+vAWNVZBtjHMhYS5cBguYHgC0mfpMlsnbHWBz36DjLUD
7EfYEUM07S1iZ3xKmZUNwa8RqEakqtgIqIaQONtuKz26got/J3jvrToslapJ3SzAg50sOEM9Zfmr
3bs1wk0q4th/qxpHvjc/Z4Y/7Jh0vIyEs+J6w1U7SwSBBhsBrpi+H9vcIHTVkg2bay7bCI/kp21I
Dl/V8kjRAz2B7BtGGz2hNj45wERTzoBI2q21OuQtbDSkFWk5Kxdl3mkk2cuG8L2py+AVPcUN/vT4
ILgm4di9ZCavN8IF10QWaXy/IfzpFyPjXAMofxY0nUcn3w1E+FmJqR26Wh7diXVKJQkc/EXFmjq0
SIFhse/Q/BkJM+vsMNjXSGkg5+ZHn/kUhTmwsUHP9DJCOfcp8W/66QcFcsZ90oRCaZNWJ2AouCRo
5kgnU6NYHUsCwyAvcmb60AOMQBKSteltb9hEX82Tv6MmBsyehqo/ZOHGrHdYIPWVT674BiRAhL0x
ZY2q9MX/LTH2/0MKalM4kr35nxXUtyTORP+1eU/L7h8q6r9f+LeK2nf+sh001GBOLYEw2kEP/beK
2tCtvxQHEzqjhxpXB5D4NzvR8v9CQA3SAdEzwhTdRWD9t4rasv/yhaEL1wd0KUw8cP8dFTWQRvcf
7ETL810LfqMw+YS2ZxnC/Cc70fK9qnVgel+LlZkx+qkbzF2CS5hAKae7JpRnRio18H2O/1/31YOd
HmIW1gpnowbfuRFMZuzmNOSWcQSxg3Mka4ijg+8pWDj3lGwz7DdczaV0tEG+uwM8cO7buDipG4Y/
PT/EYoCoPn9aUcKmZQqonCtKoWqbwZWYakJjwpyRHMVuv84vxUABdUGblpXeWzSLix5m+qEgzasy
lhMsu60zG/YxGM4gmycWKAtO2bp6asPlMdfH/prG8RHVy9ZPqTgDbq924PaoxULxQZPo3Y8x15Ig
YsG3SP0Pi4Lan2GJsfe2Ui/QGUa+CWfCf8s8HmQ97EOUsCpMx72rhPNae+mFftj9rHcvRLe7Gypv
FNpY1g4e6Tcujaa9RotlhbTvGnMR0JvY/+VMyGaZ5E022OUu9owVCsEbACEbnMM3VmdrZCHZL3U+
nwFk3RsifrMrh5k63I9ColHMIDsQxejoWkm77Q1JBi5Byxw3U4jHdEqWvXzDLmpfJjs6WWgI5qmI
VnZOWFJKcgiWP58adlz5zA9I7IFVjbCkuJQandCgxFkPgcRKxHXUFW8V0GAgCiEmOy7uK2EshIs0
3yrPe2RZ82DUzZ3Xuk9+ZDzTcq4Jck4Ofu7c+GDrIfDQVQFiSLqv1uIvswZM1BWxyw0G3rD+UXeU
sxB9/PBI8Clp6WZLsJXUMnr+H+PYfngioI6N5jtM9xFDDhdqHPo28tEY5Ha1E3pMjZ5yf+pSKtGt
adVS00L0YAfb0qp/YVyApKAvyz7qZybD975rnrPOQKbF3sqqx3zA2dRhKV1Fkf0LZ9eaGcdV0lE5
711AdQ69KBa6ZN4mTJkyg9/S7TnwmgifdY1wxMXm2ph0cV1Mo3WGkIK6fmXjvG5GiiHF66jDXyBR
iHqXbDwudvlgvCDlpzRv5P5qgE/E3PNacCWXx1Oll4dS9+5DY25ZzOLYNZfsDm1lMWoE5UCpzh3m
gs7ZxOtHtZ0QaCvWUB7SpGnT+cdClCdhoFI6lZx7T9f3XYqAurd5pZHfN1ifVxQQnhsjeBGFf9v1
4MHwPGzDmHDAMe/BJlbmD6vT77T+5HYU0evUgPfnJQdaRmDgPVyXk2vsvKp6skfnR49ObZPmhAoO
wbiKmuwBCNmyg+l79JfpLDyPSshIVZFEoJOU8dS141Los+4KmIOrOgtubZIr85DyO2Pvuqc3KVrC
UWexN8z4pvG6xzEd03Xm5xhbOZJxzi0QzbPnqkPxwPTKgUealRjdOiLkm4dx8NjJ+CctyKTjbCPx
qYsNIaWUBW0aN5O4gtx9RQiPzY+qFybpMsTWkD8w/+IffMtj606L6k6u9r+D/D/C5QYD3jwwd/jO
drxqSRnyNI3YxoTPe8RGnO5EkFzHdXiJyEvp9+NAWF4pv09rQ4QQJrkAgq4Xadx5vbZtgfw/Qp9b
JOfWAGWJHjrptEPo3xZ+89g1RK2GKPI6g3N6SMRdH91kDZ3MOGvvHRE/jxYKvRYSat31x1EbCSAr
xzu0gUgyoSWyTPaN5G1AsbvKW+cXZWwKNh3cBJguV06mP/gJB7MJ1A0tzPhTt2+BhgNE8870d39i
fkH0mI2XTjQRH7J7NEqBoWNGQusvRbSNWqoieC84rwLEi8NHK8qLXg106PmQrN5vLZOJekdqLN8c
+7R1F1GBHpMRTWGfv2tT82SMYjOY1lMJ16W1Fg/5IeW3Al9Cpl8CBgGcL7/gZzyOKCmsOPk1hcUV
DZSdZlbdlpiveQ2qCUK9FAr4aBb7bmWAt0qoo5jlrQYOgi8Ijq8vnnTe3vTchAkkgq5U6Ac0gNsm
6Jmorf0PJ+Fa0Ud3iWd/LLNF7S/yeJMYwTlLmS2x3vTXFvIwu4WwuQFhUFYc0sR6CWL9pxuYp7K0
EOkvVr9FMnodmMPOn8Yr/HPBesiXO5Kyrlj5E2081Hymaq3TNx7M7B21P1Wvix6kGXWAayGOU5rf
WdLugOWccbCyt03vn2IU4mZn7LOsuM+G7GcIgAHJEjKMYXr3IEluqF7fDeQ8xvLsQniwExo0ECOK
ftKs3g4jU8hAxmgkfrMZKZ4K7c0Br4fs1T/UXo3LAXpBmpITw3yF9m7wMRAct24NpGfF8r0zw+dp
gtLvzSimkxwrdy0OsQMlqHV1+LGdByEw6lYaCK6pBrWFcelo1s31RHN7jphOjMHadrnIFxTmImfc
6/ZyMVir0m2lIB3UawivvG9q3egFfeekI3UmcQ7VaOxq232ZJjCD8mhHxmGgPAnEJoSzHE6wE0ZQ
lmErvueiuR9Q0IQxQNH8tSAD1Z2nn/7UbTUWbNkonirDfijoSazcqf+WuEHHanU8tYtY9z3CnlJr
L3UILYBLA+iPg9HCrEQpfC9K82It0ZXnI8g1IECZBED4jXNHIyogrlLyOx9hJe3aKn23RhOqS5w8
VwsHop4Imjak4BF0B5aq4nqHnApVfL0nICulUQvjtbA5bgYZEx6gy+kXEAdeVr9S6AArYvN4pXPk
wlpCrBmbLBR1RjeOEEHuV1hkB6eyTo5unQYUP0hVlid/yq+aEe1Q4n+LjSE+JovzI0rNvePWQD1H
7btv0ZKobLJaI7J9UpAekD5XbZ29dSNZQGWV7L2W/K90xJBEKXo3Eg2xt/zCvIptc9P3LLGruHh0
Kk5xJ6/fhZU8FjOXnKapf4q5TZFYPIlU97dJNZKanWXXlJDMVYCff9LFUzlwuhIn/OwC56+8p5hO
0lq4wUtKPMzWjppvpkfMm1NWm7BMLk4eAD9viGZDVjohLN4084vTsZaPLTKvdSRGGnleIp++C8jV
azPUbyvxfSlhRoI1NfxKrNxvOTh/JAGhgTqsybgi5lb76FmAG7Jcf9FQQcFc4EgI9BDGJS/RS+8F
DD3YGMNd0YCkJ92NJ8uayBrs6RxizFrnYngwvOoD8ajw9bfR9n60ER0VRFPXqDHMlW8lNzOLMbMs
n8DiSpGNfkeKNlgI0sc8SXkxOwfp7mhtNJmuN3nhmY5Gb9Go1WPmR2n4LUOmmtQ02tLlNhIJIpfk
FgDUjTs7yEpz/UpQbe9IR2wWDEotofA0OKfnufA7DrL6YfHEG4zpq9K2ffTP2QO0jmsC1gXa5aBc
x9ouT8a7sQxf7JK+RpFGV3YtuO5SSeDyh3/QetTMSF9paBBg77TQqqdXO1kCLl7VXcDEmq9C/292
0IuMkHNZ/Z5LG6rclO99SoBZ+gNkNcW45RTmLoOWN38klC/10AUE5BbZzpvpHLf2FTNyzcphctrl
Tp7nmO8fKYAiKu500MhRfKP7NBaXyEbLO9yXgoVy0nKBm6PsQtAx/5uqDadOseAXC95DC02vtzBN
KQKxRrvJcNaWL6lRoiCo6XtYl4ReH2SJ6H3yxlc3Gn7MRG6YCzATrfweA05bVTq/FaHRl14Dv5z1
tHN86pZWlwDi6i90r/ezDVKiCa4c0w7Wc9i8UQok84R6CrHpabmu2iQ5gKd5NZP8iiDJX3Bk+dAG
yX+mt7ENDzQUE3qW+/cGMdRrr/E+ok6LV3ox3hh6evbJHKeT7HwHPEJ/zoUhmcoBb1ozjpc95sFw
bFDSOfnRczRA3HrN8N8/WKX3XSQB6mpgCVxwqXETUuSSH6VbzP/7lgK0N31wwbnAqYD7fD9WiJvD
cV10yTYA0CYrPnQh0vp+TAp/LfyyOUTgyOzkabKKxzkMGf7XuFmyNbqSkMUGEOlI1zhe6C0xIdg1
vW2vanuij7lY67I3z0vknkeSU82qAstVo9uraX53rUPCK4UXs78mo+/BbMZIgjDQXZgbT/c/rHC+
tCKzD01f4+oE0lV534IqudYSpESEX4PJRlzkFB3VEoeDd8zXo2Yeh5hzqkudH3NrIGH2SPWBVZ0u
8XVUcIWq/Wck0uGuJNqIqqSurxHdnxtBhHxnPKdutHWIqK0DmXE55ofEzUlffcRMiY0xk7Nai06+
kzAAxlT+tPimb8kkjgXyNFFOBzFzjaI54a2Cb8FodEeUDiuigWkcPmo67YjC7fARzB6sPdrTI2lK
AWgkYUXPXjCsy9G9rfhdQzi2XZn97E19b9REVJsvFjjOGMNBuIyvGL2/96SoIiw+ab53Yv19Z1Xu
rzrF6+B5E9J0cjWiKkBxDIvDh25u2B90Vo+GMV038Zn6Zkddudx7JTKGLNgboj/UxKhwFsMZ7Me5
3MZOQQJ1SYm+pgaW0KJKZefC1+uGbkz2ntcsIhe8yKz4om9Rc0aUZuN4Zpj3tei6i9OLuQiysOfo
Z+JZuz58tBn3SHL/IAIJdwEWKdhOFvoWGhjqBi8FZQa1mXRBiCYdTrG6i6lrH1Uc69Miw7YK1K2U
xQnf1uoClAaVCD88RzE0zA4i7tavqh/qddkUUuPGFrHxO1jqn++t2LBF4CdbG0Hpb49NldmTBzYR
nTtgklTv4MmixzAYqFAm1N0EmjTvgXxM3YycaT1mSXg3Dk0wUMW0NRYyDGlHkYenxXw1RGiUFCI9
fBtGoB2+Mjw7BENgS8UXJNGZQPHPYz9Mu+WzGDPG4O9HbNEyIRDgJxYZGgsbdPR/f9tCfi/bbunk
2rScO/kLqK3K8PhnatPHmXVCNhUcBActqTj8SLblY7hVm/Km1MJik2r72kBmWGQjWWbqa2WtZi3b
3zbVq93ZixfOWsItPjdxouF+dOKD+n9T207rAGZzl74sk3lSv9znrxRrFfkXGfoCua/Vr5J2jPlt
h8BbPab2iXqF2lKPfR4O6r66ETJfnH4vVH5/0439Re342O3Yseqn+Toa1DPNBO4WfhtRvPKnUB/S
JGuB3zVEjW/KiKXZrr93U7v1JKhJvYlVuANuJEvscj+wOeoogRT47GAaFljyNp05X7jAwpaVN0gP
3P0S0jQPa3zsOmugA9XmHqNeWpT/2z/+7TOoTeKBIKDSm/n8y8+9F0ssKkGSJhgzDg5Cn8pT32A1
dlqEe5csS7EnyUNwotyHz/HrrMGbEhD7/McJ9fnj1dFtGSOpXIA3RoUhU0qiN63Hyvz1C3OKnEwX
k9Asjyr1q5X6cJc3I5wZ+VloEp4zh/5DpWjUxPZgljW13eefytNavVK94398jJg5tGcMNxt1JAxQ
GPmKAfUfDg5zclyy383V1+Ej/8DBkrQHzYWcM5wP6gjG7TsesOADMaqB6lKWCjx5pv3H/wsZ5RhE
RFj4WGaAUP3rsqM+7ZLc0FCSktjSaY6fR5L6xqrMKU+8r8dK19rKK5JtLu42cOtxF7nZnRuiHFqp
I0/dfJ2tvx2in5vq+YUy6MGXdRD5Y3++pCMGSXvu2gIEs7wWFnXY7s2wOX6d4errqZeox9TdUB6F
Olrytkv5mdx4p56z1MGu/uLr9X8eguq+2mtq6/M16v7n5h/Pq7t/PPZ52Fa14/x96SlzZlF2Zh3D
qu1X8MANSCHotyFDqe9p+jaKMRMFLsp5iBkQ41pWQ/KYHiHWbR33jEz/njg8ypXetZkxDdTLFZHb
GOvEYWxwyABsPlFrvCcQB3wvQAjfJHelTPXmIHDXVTX0Vm2GaaFuSr/sTo3RODpBeDzoZp4pke8h
4S4lwUCkXBtrrxgkkr3mGfX3/36z8AjSGD1y2rIKuZDzOFtJdDXKmyAeGQXU/cB08A+oTfyJzSFu
6FyJCRAGCJcQ4Cd/HoYMFI7X74ABYzOQp4+68eWh+XX367GJGAIOcPn056Z6ylOH/dff/x+e/3rn
eHLLg9WYyXSNY2vZfb38t7f73HTl//vt0c9//dsDXx/w613+3WNf/109Ozn2WxE0YDcEWNk/nvx6
/ee/M+XB8cfbk9qB9S3unj7f7uvH+ePvfvuoX29DgPxEz5O11Ne/AqULLUH/FuHpY9IoecS/bSqs
i5nP/qFHKaWSllX7RRFo1I16TG2pJ9Tddkp3faBre13FLZOv8Hcacy1zmWf1YJiS7dISErKlaM4w
ogJ2+TBc/L/u44Z21hSqmISq677Ko1I3nxnMSgjiN1WzK4Vxrzozdj4y3nfy6qUzwG3tlkUNmhMu
5MTUMxdDTKH+0Bvr5DR99nRqNYXoMKsfrNTbsl6mI4RqLNK3qqGjCGMIyGhdFg5EdHqwpGWhM1Et
U3Vf9U3V3dlv3nJ6B1uFtDDlSau2mEnsx2hpqFTG4SrW0dSHLG1olxe6tUpo00IQpFUPGL49qaa9
2vrjsabRXVahUiqiMMUSw4IaoIGKWDanz8cSHZ5sjqYDiYx6DmGFtY8I8lT7U6lv1JYS43w9Fo8m
x4CNAGCek+LYNi2zXwBL1QnfDZtqD6v7TmM+B2UZbFV7TXXbYpVNoPbwV/dtBlK0ZnVNxVjO61RA
mNpSe/qPx4ScP7L2+UjUQPDZgfvcVjt6KKipdZ5P3Aq7U+3ir44c1n4Gj8/7an4JHigquvqgmnG/
seZ+Y92lcf1ziCV0Uu5RSxtAE33tUfVgUpTUZpmr9prOL7BEElHNVV4RwRCZV6dgEDLKXjLLwjlB
dQwrT7FesqErx6uqTCRR5dv/LaSNCsxBi1sC1GX3Hxbr3zcdccRUJQlJ+3pslih2YgpLlihQShoZ
IL3E30XoV8RCzPZ2bIdX21jQDaj9hJKEY1Zt9lxCAjOMdoaCU3/tCbVjvvZO1KDF09x5BnPKJfHr
RnVGv+5+npSdU27TOf2pdoPaQf9uV/Vy/4ylCQiFcpfaP5WDwa7Knb060z53kTrzvGQAvzuPtEQi
WHWDrKjPAF7SoMj0tYIFydn50dZgQyvNQ5xWHwGdhO0of7tQsv4yT4L71P3PTcSTIGwj1s/qJ9Tl
7/j5e8stddewENUYsLLU2RIniGbb1Hv5ys/20SmgXZWpGZ/nUunEuKmon1UerWkn9yZYrCUsZ6mo
iKQODVwmCae6mcLaHrf0Lyk0q2dV2ntQwMRxlupZHUtKpPIFpFN31RPqMVvTaDwwgVBHWmRC69Mk
Mfz/a0WEsHUTccB/VkQ8/2xyInD/iZRTr/kXUs74y3KRwDtCB5nt22gX/iWGcMVflrDgTTmW4egG
mokvMYT9l46Ry/As20XuIKMs/6WFMP9yTR/FLsg5zyBPyf3vaCFk8uhvODlmiLZBJCUfkFaXZel/
4uQMbKcxTJdD6PgfHtpK0goWY5yA8NZ/kwmBB4Lzu/t81/8q+vyOEatr/+f/EPLNfvtnlucYgm+K
uoLaLr/HH4mVQT/UJtFHwWFujBShk/QSDhPpBLUggXVBTvmjbfVjDzNcn2/8wnuttelItZl23kC4
i5sjICvtVTO2I1ZTjPYTclIrDf2VV8RPsUeaSkauk+OIqzizgVmbeH76Bvc6QzDdCdcjOTu+LkPv
MLaEVmsDFZpBa+5+OwL+zRd1/ykvsdUXtR2dAht7ymX3/lNeEtHtmUTq+QdElYepg3QhEgxWfQyD
AWV3Skl5bcfmB0aPX+DbD9XU3MHgydddAN05rujjBzlSzvxXbuXXGY6ejYdOWEb4bbHLcYlxyPM2
WWaZJZjtJqdT3kflydxzLbGOaGiOSLFa4q8tE9GbIEUyBf7NakIXWxU8o5nEDfhu8vxbpkZUoIOu
IqEjGYw2WWMsK82lVmBbfOxuQIc9uuAcfFQkKzfsXufagTsb1gfEIk9FPOurEDX/2vOp23qsRnwh
bF4S/zKSWdaa7gYYifDoRbrBxTgvP+usvkv18JeT/i/uzmNJciTJtl+EFhgAA9k658FZbiCRJEAM
nANfPweomsmWnJ5uedu3gbhnVmV4OIipqd57LnuYSUVPOFw3Rj/Q3qKxuBkt9ZGXOQg/r/uEyD+n
nCX95j+cq/mi+/OidCzOk/QQ8Bn2HxelXlmFmTYEA4ahBiOipE1pqm8eQWtdhj4sU5lPNdW2KGGQ
NnQliTR51ePwlYdaQ8zgt81eEIRG8emuHcUkrQLf6/eGsTEiYtJDEn9l6b4Ptc2kxYKWrONhjMMY
c7Ad7Ck0B8YrDaax8UG8dXoiN0YQfcnYqxlPIf8DSMU0Mue6LzttW6Gb2E6W9z0JreFkVuU7KImL
lecuW3GJNiZq53zrc2oUr22f3ac5F54z0N8AgwF++lsts3v4ZfVOnvKuP46GvTFEcot9tEhGc4Gf
lNDlMfWaqXRX0HFHaY/GI2LiD6s/dL0HXeDP9EdEGmEc33neuHEswvBq9eVW6sSJekw9rpj/cJ7+
xWlyHTCLBOFCdTTmbO1/Cq6uLbNtR6f3EEgV/QaS3pz/J8edwGPSGE+Npd7//Q8U/+omdl3d5Hae
eZ9/5uuiT6/TQvATTXQQhW3fTy6Gbmu+GeysfWOgdzOBsKwit31XI1dwlHOGndwg5wHvM7DVLyj9
8ATwWn78+8/2r65ZD4EcVwuxtN6f8jVD1FmG9JpUeOPi1Xm4d2a4GqtSvUqlIwGH2B3Yn/Q/nIN/
8WNJG0bS57gwl0zrj3PgVQZjxl5zD0wuvgbpPusFzwPkvF912fq47dWeGd7zv/9doaj+71MvDf7Y
YR9F/Pefa1QcCMPruXEPOn1OAuLvgn6oVmGfXPxC79a4dTGu42ldWy9+7TwjN8AwPxjMARz9Swjv
nHZwejyWJW679EqH+VzGPGR8XY1A8Qh7IvkKGgdQg3gEC67TToDCRlCrjcSgjtCjj9FbVmkPmWWf
so6vGm9nsiGDaFvyc7fJwDg4QaDE9Lbh2rwHTU9DxK5hwyUoW20WgMA8Zzqz0fwbebRobmelhBki
9GdLgLKMfDzbrX40+osq8M/5bX/n+SV+cuxrKzrhTJoZQEk+WY8DaqNKjEo+SZvIjMgxwJpN6o7a
xBGjgQLXiqvo9QAhtCnTgasl3NPTxQpYDHS0ZcPIaStQ9cM0WUX0D9Dijc9ml7+0Yv5vWVpR34+P
mPCSdal1Oltl79kKuPF8jy+XWee7zfhR0RVmQuggei4RDhHfo7shqiQ2NXnb6qsBjxUiyPQvUe3/
WUcILAZ/XhIIsoTgQqSNSqS2nO/df3oa+Ej7Wra9AzogY46NxBjT3bEHmPYaqsR15z24OgK+UBRX
0/ShczSo0HvsjgkpUONA47vbJiAmqZyzauW7+kG4PS22NG4Z7bIQUaugbAAag7sbFGsLptMQLxhD
xdpIVblOdi0P9E3Txhkuk45w2pKtvCZ/YA3ERAOYcKxTTDBuDxE1aYitdCSTAIcYkwktSc4uKUzH
ryazT/Ah9Y0lQbfrxyrsH728h1vfCXr9dbM3yHe85pP1U2nMhXx/fB4KX1vxzEKGjghBbYjzejL1
8JLI7NEtmSzbQ4WOIldyhfn33WsT/Drw2WSaOYxiPWItYm0jXYbRU0uJFYiUVDIEOC15MpBv213Y
aW+2LVcISca9m5ov9ZR/+Dkm9KqWb9U4w6iS6ClmDryC7FXavraJfefiohJY27V2K6f2CIo02nQQ
JPi55Ps43iFoacCm4F3KsH8y4+JgdBGYqDQizbi/VmPcbly+ISfhq7Jemz4BJFN2j1kpv8aSoXBa
FbusqOhRFh6hg+wWj34cPoQU1mtHNhgKldgpL8ZGM+EVm+dPg2+wOuFR4ruaw3vUWp+xBQRBtVvf
9I5aQPFVqOPAwG4t+X9p5uAViEgFoTsBLQ+9OtWp2FnCJwwpJkNchO7GZWPeApO9Iw472nVThK8o
rjZlbAKjdSAkk1ZG9naRM/uurGjXxxB4TTMt1mqGTQYKSFgmoYLMi7MZAVdJwmbrWgU0BJG+jxK1
AzLf1ylInmIC4SK8WLENtbNUY7DCAnNI2/JAGs6mmZuoDvMVi4thBACjOzkhR3JQXHYHQHtUT24O
sW3EIRbYxJVr3VNQl9jYRPWScruuOmE+hL2jEfKgzqI2ps+sZZTGP8NSYu8L33qVJQY6vSREWYRQ
ZWdcr87qAhaEp6ARGHv2vWsX7gn6m5dMDedYkOmE9MZc5UnxMhhoficPB7yH3w6dqtg7KRZhC/4s
4JwUnKDmDLuwXxEcHVHLI+nsxxDD3uTc5VFxnkLzDgfQttC0zzQfsCICzBsUbkUTDAv+QuzSfvfR
GdljoHP+UyzsZ1kNJyRXR6OjQpVUK7ksUhwf2pPp82SeAHN4VoBxj8SlJI4eoLpxP0GFrTUgR20L
+M/SjMtUsSW2BXd1I+LDqJjdlavhw+S2QWuS4hUZ0Ur0MfHgMY9oeGNl/lGZOEHqyEBXko60+PyC
iPHE/PSaEzrqn/QG+2PVcx9jPd3X0r8lZfmUufL4sOu98FqMJpMbLbvq8F/suAECEb6qtPtVYhZZ
dTrR86K41cO5tcuPpmyfvdr4pnBblNOpHA3Sjz0CcmlqxKumyjBLOT3Ca7lpG5+iu9lLVd6mocEP
mDnEtHUQ3kb4zkWIWTNBNWEk3qcC2sP0bXhKPEbpqUPUKpA/PL/MRxIe9ZnmGndNxVhwnFGTgWLS
jIFirxkW8Y028aeomLrMfyaKaN0P+XTraghahZF80ADjvFuvhd6nF2CiKFjsQl9T2r55BquJFuvq
odCYATo55kQg5w9WYGu7nN0B2RsHbWjSTYvpmn3jKkbUswoNIt8T5CXMIvoXt69x1JjdYxkaq9ji
Zi5yAwWo1bw4XvagNcWdMjFzEYuOvgueRgPdoawhadST8+KwvzlOWQrUdIh4Rk7gk9LUV0jp2iPw
CoCRc1K5F8affvRc1Vj8+pGHZmg+ZAFKiAm1jW3ucTiHe2zZ4Jh4ksaVfVJeY/NQ8AmQz72R5BR9
23TgNiRQGvBPpkkpiemx718Kb5Sr2mhhuU8QvrDt96hk1Uhg/cC5Ut74XYu+cZfXWz/u4430vFd4
Ug+DYK2mI/cCRXVvDciaGlSTqwd4o8HRhrGhysjZmuGYk9CJAAGn+05P9YuOon5NHYmSqK1XYLze
C8/6QGw+o2wo8Fg3gVydpZ2dCjP4wUgVC82P1EKVnpYYs6imXpoCqEFDXNemkP3J8Os3XfN++GmE
4g7FyOhrr8qeEKuKfMNeH3lBPqhDq1vvXTU+pzxeVmPi3sUO8UWNkxDZ7G1UzzZSJafWc77iGB64
dKu57Zu/9d6MfLUFvGoGsmb47gfvtXFOMpSVusIgFpveXhTDwMjfOCz/L2itYBOxvNWTB7AskSvT
ozTohWTWy/izRHTsBBC5ABbR3Ued18UarQPHclHPTC9aC7W476A9eajWB/4+AyQ7NuROdzAPHbgH
BzGKt5y4+E2py61RkuitW6R08oyjF4GtPHLdM8T0r2H+YZMLSNYgQhae2hykipGqDF4YYjuDGa9F
3H80Wg7VBwlUIOS7Vj3Ekf6YArfZak4D/F2bvHVv8YjPqjT9ULm2F6y5PR3jvQ35eyuLBKyHJ36F
sV6dgEFmjX3fg4hDm5QZmFyH9wZISYOzrIMd4WVauM6l9jKOwsKAizmwL7rVQMEDIxVJPctAsmmR
KKvibDTZ0Zp9txo719ra+TZKSF0L63kDiAtmPkjABwTlkiTa2PKBcnVipmIOiMhHUNDTrCAcyN/T
gVEc+XXhhsy4+uXV70Mwh36mMbE8etuhj5tzKjuGXWOGaMSeBwnm7OCx5wDjBhXpOKjphCidqEuc
ffjJielY/jW3MZx9C9WzlIxkXI+wPmRzBCTdwrmhq0jCrVyik5foTVyFrBx4+VahQ3aWigXef+Na
SB3RrbnJegPWXGNcYwO7ukpfuMRZdi1lIoqww1UbUI1IAqRLLcXdbTRnPKgkTCMlDzR62VV0308p
UWBu9kuK5OqEDwBCqPTH4N73hytlElm4TojGsH7JavVUquhMwsmvqh/OkUHsDKhSt7W/WUwU2X5C
wlm1af7LSIJ7o9HXAr8e2x/HW8dMXqgyrl1rs663L8i4flFDnbtyLlNAh8X6xNJHM8xFLliNiGI1
HEDQW/gpU5TKLSi5b+z7RqBbODh7s822HZxv5JwCgK3ElNcYmXXsNGySBYKpuRO/DPltY/C3ss1f
bSqh0yLCUZxo9E3nIOUW1SLA94uIazkAj9FOZBjeqLth4M/RNFPLYyzp5Z4mTXmq4LcjnEkr4rmq
/DlWzY+6oVZZzu7yarlWokniVx996mwzaIk6mkeeiyhieQUxDNx7Se5pCAy3rjwIphWCwnT6boC8
Y3AdHpkyfwQx3Z++y159199nc0NDj9VX3PnPbJgOFslkCCAkPInghTjSaI+0lM+ry0M0sLpB8kJk
3wYnd6S/EzQ9G9cOWzE3wTHGa02zIMQaTum2tsxmDUBAbtFB/LTG/rj0MJsYMzSecYyh2trNAXgU
kUTY1L6za6M8Qi1IY5/MvZx6UO5Mnpvb3mZ7AtxiVTXxV2fRkJNS+wVQGKRtxS/QGNpKFjgWggnS
okWJeXLYXlYO5qEBChGMgS+0fsbd3PpbNokoBdeFDT2RXIODm8M9XbbcU8e/LSIbnF3XHAsjdTfD
/OMi33wRYtwySeX6oIW3tLm01Hsu9eRbOU3UtcxfGfrGP2pffVmY4pwmOdoDv19c3dBAmmDiEhCr
xA1vo0Z/ZEhCj63nP3LGO0BozKVyVlcYhBDoeR5uW5/pUyQA4yEfarNi3TWCMHjbC3Ff36MRh102
UsKRBEckmP8kq+wQj5azrkx1wAvxmdojCQOdcZzdIBcjuiRt4sL4x1bsZsY6tI3+AOjCbj5rckRW
8xUzTOj0y7mPaU+QtMNdJ+geVE1abCVUZBjG4Ch1SOnLqXTJO1zHkB+Pg+Qeb+e2Ijm+Hr/W8NA4
1U/fpiOQ9eO5EAH1ekejwo5n5lSxd0Y6HFLPXwUkrbVV+vQwiNGtLMPfJDO3oidIIzcpmui5Zxjm
HKSoGh/K1pr7oQOVcm4FN/dyekKeNPCBQJL78beGE7HtpuzV0FnKMLkgxs7vIBiSHqhP/Ubz+8fJ
GvoVUarcHsq8aab7oEsaJ1FJNe167qNGsN9q8OhKNHwrTkwXAyb1R9RGD5pPr3e56tQAw0HoIF4G
qpN+mFmwOmEw1A8h2XZzI0RVXDyTGSAmp+PI/EFHPOw+JzGZHvH8d+zaSi6ooyuN5QRgoGBLPXdi
nFQ+VJX1I4HZtvbwSdFI+gUX+pZZT1CqoAOFHmxDvtIIABha1fXcqBwD7lGZRWTV8cFz9Ultm1P4
dOHFSec+robY3K4JsOYC3/aNekqH4RbndOe7nL0czid3xZzd2CTThEo7JVuzUIeMZsNKslBsJy74
1dBwXpfmdkYzjs42ukoy/wjv4+u1U5zhqjVIFUupF3pgYwON4bywooNoAL4ko6JtBCq6bfrylI/x
t8CiCyO0SydoSlQxgoHUevRd/BXQeliOiQIAbBduMy0nebRz0ZNFNQEkWXPw/KewrqN96IMkIVZh
w/YrawFeYa5UQKjZKUzewHByPFaaJNU0/WJXUGzLzD+RNPe9D1R3VC1Mq8SdvlL9pZkvYBnSWNM8
hccPmknlsz0me3mv6JuJSkcX7exTk+6cHtNWmmQEwKylZcGFR/+CGaw6LzMZ8lm/aK9wmnv3OUqM
WzLJh9rnsqWAqpO02TqQ4gyNfNTlGpusDBNnbBI1jbUw6iD06G35UNeg1cJcfekTT9q2upo8Kld6
lBobf5R0w4RxBldA2Pde6OjODCPywOqQ54GqA9UzCa+qm8WHnDqPfELf969zF9dXl6YcH8MueNNT
bmpY1tomAY9HcPHcR6MKDjr3aPvwjEfuZ37D+ldZqGo9RhgDRAFThhnfIbZokHox0DeeKeswnGAK
0cqECEa+cuUV/raPHpU9fFZld2KJ3fjWiBU4uHh9DgiPGwVCFlUiHIpVbY3+3mi0u8A7pHl0zMtD
pRslPJudsvp9UBT5kUnBW2Q1D3rdH3I6UsLAq08TGwIr2469yELOx6vdpBRjQaBvevujEkTXB8n4
Yk/OQaTOZ+dqP0Bp4rYRGs4qKrjSPNqCsjCKI1pRmAoq9jeFEb8VCd76aBy+ObLXVjU4ps5MLioV
7GsyBKpgFMJVZ9cY6DA4NMZzWWWofKObXiY3c4weWkAgW9Bol8mDZuEn1cGr9OAMQPa7aJP3JmCz
GLnJ1ut0gFiE1StHB3GvTzDqI/ku/CnY9XV50zwLfvmIaTmdYqLgdNa6pu2ohFV+Rn3cnezmIbLo
Z66i9jAihd7i7/vlT0aJf8cvJ1AYfFTfzAnGmQ+BXkL4/f2+8mhrIrc/aXXunqtSVHtTCx6xik4n
kSLRw33urrtBG8815EGeJeUGezsN0Ql6QR6aIJVxfuhIYHjvhf4dDnWM1a2b0l00s4vPQHbq3YxZ
nbPVaRasQgC026zX93afgA3TTHFqlMIxy4opTqTAGKfl1XJQSmNiytpNCM9onJaD3yJcKmsyI5tQ
mX/92fIXUxhd6PkP2yCmT1jlQIYC8ylozeiCm4hwjJQ7TyH0RcvSojRnPknLlK1xfWxZjuRZ9/hB
Oas2yML4b/zG8kri5sV2Rb5xmJcZPIzq/28tgWFJm0b2/60luKt+BXn2z1KCv/+Xv6UEQtj/sGwI
Cabt2jOWmrnyf3MVDAvmgpS2g2xg0RL8lhLY/zBs/o5xq2E4kmC131oC8Q/Pw73mmC4xYnAXvP8X
LYHwlsH2Pw1TUSOYfARpoJowJZuGPyZEqm4nRUMlus/8b7+VZnYygVPpx8OYBJAw29fQLP3T5LmM
bCr14g7Rz0APAfNFFh2PuVz/fXBngb2PyZ6qW8yc8/tFw7McqODOTZkn+5jwF8YSs+JqaApnJwbt
SowKl/58yJ3ZYpHGxqbJK54eVckTTOTbJiQCIk5se28PbBZIf3Z2ter6bVGndCbM7uybhLQmmn9f
tklDhor3mrmonSYid23fubc99FH9eN+WZfSgXNrRjXUTg4vUtk6vslXVEf3598gOT0DDtHNgYT8u
tT7b/SUOnGbF8qJmWl4tCic2Ta9Fj26Px96d2WXFXiaSyBtdnTWc/euurn/6g/9DD02bADJ33Oa0
+leQ5LDaudT2QLkJnvLbXSZ6SUXJAe+ryS75s0+D6lz6POori2dvwG+jxSc5787M+bAotpa3yyuR
Zc+DahSnjHOQ0YE7NA6GnjIIzmqqYXS30LYyOF6LUmv5HTzbtnmkohFUboCiY9FM8tNWGimbuGub
aBvkyXNvxpeYdfbMrqPdjDnGP6NSzsltQ7qUunEXWVCCNWunBF1cXCPGSg8MVuo6JEe+01kwBUvJ
pp/DRmaRYtTYx8B3630m5wAzMdsiZGtjD+yd6gxnmK6KgsUHXWhnpAEyb6cTR0rm0++v/o8z8fvs
5JGytlrVfplWtteL0T/QMMAz7MJmruYd6HIYBquC0Cx/0YKfy/wepZgdV/t2boXQ3qpPy6vfh2Hu
lhgJkn1rZAfHj2eez2H5hf54S6ObDfCc+1cZwoN1XNjoSBZl7fISp8h9n2COJi3pY2FsLQCv5dXv
t4umdnIq6+DO8475nOezfHZ59fuwXAzL22kciE+RxDkud+RyMzoTRMa/tLXLHy5XB5l472YamVuK
zL+/0+X7Ww6//8wMacir+PQ7YzeZwFCtFsHeErC2/E0y9f7GLXr2ZTM/aNFPLoehBt+43OdpVDHb
rOekRMn0e7toYiszZvb4WyP71/tE7eyxebDwmE5bd1ZhhwuOpUo+A6W3dCZyaxNpLpWYom1kulBT
kF5Np+XtcjDwcEJJKEj/kx+xSA9C+PuCTMID+khz9pSzLzVcRAnDSFagW1W8LLMx22dDc6bT/+bm
JHjkho6prNVOrmk+j3C7d/3ip1o+lLVtoig56fPNtvwBVJXstBzM/3m1vGXkL/bURnvIN9lpnP8H
+q3EKcXRlQUCVmEmjgp3ztlOBc11XQu22lzIMCWaqBO08eSVfbRje/dOOwXXvBYCQJle+GZJuQos
SiR4nBShhJKfRm74nR/K96JuAiB/1rMbk3S3fMRyPtthSn4KRTH5PPMDbfmLLorT8t3R6eyNfWmL
m+jj53FsJu5oCHVqeqg9Kosc3/W27epbPA3fm4oS09R6zL1IVQJCYuaVbm0Y/s+IeBlynAoc7imA
db96Slw9QnPTvupWeSAPz0QT6X0i2JAbPIwPxKp5VXICr37p0wj0ZMl/UUYNriLMR21PS6Qek2vh
OtneHYaPAY6UGNRHYOXe0WRvsalTlyYISStgc7kUBggdlcrWotU/0L6ATRHMd4e2vUUGztgcfdfJ
yDAsRV1U7wN+OzqBBe7f0UaDbcDeQaaD0yHlEdFFF4vU+8nhagrSa4uxUDeKCbO4thmUFR1HOoui
HJ7ckIYOVGh2UKnjrfoYMOzYsr5Jch1LSV7q3DWFnYeTfAjrs6fGV4a22XqMIX24YfZTmZaJRbr9
oemBdZoKQfvfTTAo1gSMlR0+Ry0kuqV7ieh/74uYHkvsYtOCfbtj1jDDLUZw0lp4Z5qxeXZqmR4z
5TYrrPrAgkPc1PAh5DwdkQVtBMMivWnMz1rlMftjDErkAKzaulXIHWq/2coIanDQ3+VBDFfVKhti
6oHhV0xa3GGCmku26KaF9c1MDgYR7UN2GJZp7kyzNdduqn6NYtL3kHme22S8Syq7f6Zxw47b1HYN
nZDtgOBtp8/uaCjY4PuM9mDEjEnLgn+U3Pf7ZqJnyYkfzkamtNswAvQ2g5/hmJBzmWjJpvSLdp/5
6ctQNAPE2VjsRG59y2Mg6ogITpk5lYRoN8H9mBRns3F1GnPBWtMq7dbaQIeDHuZnm3bEPc4TtD6u
kFtZiNuCFKyo24qrW8hiA+cGWyt10vfEZl83CT5XBBByh7jdWLuu+QZQIGzPuUdrdqJjT9DFRtej
nyqg29wDVqQ7rV1baJtiLHFbsp4fmoEbqMvCjxr854ZOjrPpipKtJg0mnrPe1oDvcuXD/HQsGl+d
IQArE3FpTT9FZt47qT/Tk64q4TslduNb49UfbkkbaPCufZ6eLIf7VhmwTMM4uPUI7A9GgtdsvlWZ
c5ApFULwln57gVEnQRX62m7M4Y/KQDvaWfGixvjYSg0v3iB2tqW1m0SPd0YczxEMkJBJp3vNUaMm
RsxyogdE/upSu02gTNI8piNmc0+KOfqx1xPgBxDj2rG99yZD23a4gqgM+h9Bhk5FJX58mBIJHuYY
2uJt1nxuCs36GGzE4o4HcGp4aSJGmMCNv1TlyIeseq7G8FJ4wbBF46iOlQJBTF1qnLK84+PG/gHY
bLTypUq3BZMhzRjuyRR94oPeR1EAbE7ryVmFJRSNwbFO7V/xaL5PRWCs7VK/ADmFJK8TuBWYxSYK
YaATsAY5jwFlk6IhqVJdu6Z+T4ctic66WX7NKoFV1enhLk9A88QC/aWJJpDAknJbVc73Qfp3MbEU
u0EvrxFhRADdQ3s9KHFp2oG9dR2t20w9GI56hFtK6FHXPBM9ZdYh/J+oOoc2uHUHF3Ug8wHCRUfs
iiA8wFARmg+3l1hM586kW4ptWRC40w31GzZXgsTuohy+jG2DGxqtUWCuTPamarWrK81PKb+xsffP
lV9mNIuY7+vc9U3JDDNV6r53KGV0KyCljcqbrNSuVcnOmbRP2ki7sM3ewyCiEp8sMOkhOmHHewtd
mE0Q+dk/WP6mCPv20Bb6WUMNsEHi5WyVVv4EENgc+SKStRbfFQyhvAKR7wRgiTjD0InllTYlwaYF
y5EWQW9XJSYmUA44BwLv1A0RycrwXAxW7PMo+i2Pp/bGWhqsi/a+cst2zaRN2xj0h9tsnNa9DQ0s
1SNybCNEAonebRWtGOQpWJ/62cwhu9nXMb9fXgWKV8vbHphpPWqUZPP2ZTlQm5LJ8T9vWRIzGhvZ
62AVlN8pcd8csE5BF9jEs611OfRzbfTH27wd5BGUKJrhBLkZ8dnlND6ZZqUz3KQvhZI6OjutQ7hM
Cet6MYRiGpp7LHQKapv5S2gFL0OWvJi5jjzIq8ctsyiKG4FDip7Cj2D2lETzYZrNEcshHmizrFzK
oEPGWUrLtD45FupUA03EKg2NhmcoUeTJfBCSUGba0pdlyJON3acKtHFrGlDc+677e/YDRj1wjO6Q
MnM185LoymAaT+wxxlOky2YjzXS+vBjkua7xc0wmzMiZBbNARIU8diTpzoam34dmrsoJ9nTmbd11
mVAth2Kuh9MiI60HMf8qKPGZmTMJsLHkqCPn5L2X+OMOTv0dwlHIuYodDdbL/55ExnNVvrwVs73F
3y1j0l41Ecnec33PsysEmEBhSBhhMisjxlrH9GiJJ2nmr/CguwOrCDzwQQ+uQUdoipVa6O98ptru
vZbmXNy50JiVRz/b0FR7MLTOeSQ0FtgYpme/iYebOx/8sPk1JaC3E+mMJ63Hpiwq9kdT2HrETnWC
SA1f/xZllE/C/hEFI63ZsUNBEzGZkvMlEkZ5uSer2b4T3UgAM/VCFtqfbW7JS9n5UPyjABZXwdY0
RbVC6wkFmt3Xu7oyPplzr5y+zh8vLA3FkwYiMNWqN9HEAZARDXA9U60Nu3E0WTKTL51vwzhGwIJV
5mtM/PzaiIaWfwK8FWl1wvMQ3ixZutzSjqjuwjao7npbUn/qOSGHsZwbfMRSEF8JV0jQqUpzwCSR
LTEKaOFwNbzxYUjqK/7BGyfCO+SJjO8t8cusK3WzymOcTeaqDwt7Y2ZxhQ4pwf0+ATdNayff1R4U
/XIOc4gnmFTChlulRLup82F4SFsySAxCbmBesP/nglnRCm3WRWkQ0sKATkc1ddaCtDoOjBz9zKpu
3hjVtzYfahyYHev5EMXX2g7dnd5Xv+RI08CDkuqsm3KCVYh68DCM1n0dufnZhHS4grMwbckSvlnS
DKAr8wgOvJxxOIOGotanM08F8sywRowOKXUSYC+OovpnCS5vFxuAWzWmrVoXMkYqyY4YQcwjGRjv
e895R4F8H7aw78cJ3F0v5UM8EMXoKnrUXvBNy0bzviGLgWFLQR5Mpl2lbvp7r7V+Rs1EgjxiXkJZ
9PbBJIg5GpmNoaSZwJOXt05kyTmTHfWcuyYIMt+ODjSh3uwZzyqeVDF31Lo1RXmXwop3orsmQp4+
kmsJYfast8R6W0P6ozFNezt6KB1CN45vTKqJpmHM/6BKxF0A6eimpFt2zePFAaegU1FsO/wr66kS
hN0n73CY2J7knNdEDvAWWzL42t43NmENuKfhN1q5ce1wcRXdPkQAj+aFT4NdA9bDhHxrGsnrUzOM
l8bwVrFhNWg6HBiWvOUEJG8m1VygM2vKR8akP5Z0aQ78s9mWVLSSVT7jyqycPYSrEi5nT1LjoO6M
qN6Gke9fXH8wt2NqnRxRPyh96C8VLv3L8ootyjzui/WNbVfZHF+BxZQylX1PgIwXiy27vqsWIlYe
k8cuBgQNBik+dx49IC2PyfjoLMFsqdtZeUQyVEzqmbCdfhePs7Ko2+olygJsTSdofPaTwmXyKIJh
RciA3OOR+JG4iU7wBHscLYCj6N0NwMavuuhewsHXH/XsoyVx+B5i8q7sUv3W2Rg8ebqqdVZ9F/o8
0wSBtMtQu0NwhJ4P2dhbGbiSyFYSCZC9IL1zi1Ddkvp7D9iUdHCzOoboVp5BvJy0pHSPZcU/kcT5
z15cUPXaa3woDiLABqVaUOW3OZcj7mZ2ZVU257xpPp2E1GRQojDt2orUNMwhSFrpbdPraA8y1362
hTMCe2a0qWf2qwJpf5BW/NQ2XnUTocyPrSWelwdtPdWPAS4uhjmyv4k4ZXs/qv0iVIFCvdbzdDzh
9OFCQLO8aVxxb0V9cG2lsUMmmN6Hpn5jNfqofVGdMnd4gJsrrlHOFdj47aotJJ48Zr1b3O4MitCn
oZQaih3yjhceNMmROK0jW+AfhayS6wiFHL0NekoftuP+OHkZBGyHGW7eGyfDDdtd4s6SNt1FfcQz
kivmXVlsdquuuZJZLO4i5QkSmzsTMDLsKfK0BVpxNExe2FcImaq7YYIbMndTh0PSxs4PiFx7WERb
7qka2B2O3z6P5ms4h7n23ep1QkHK7hAAzj4N4jslRn9QML5n5AnRZSGCO9uNNlkL7TtDXj1o0bDP
yvzgJc6vmLL9xaK6JwIpXYeaZl+FPIVFWsKtGD9jJ0EYbXMr2d04rK0aiWRTGP6LIoJYHmPYe7dO
5fKB8rpjXq7ibdQ3PpqLIV+7hvdVT8zFMpuwYNjq0dqx8cAEGpN2P6fAbkX2XJpos6YRIUYIX1MO
Bok96RwvRsbzujYoYCeban5RI5V9RZZXZdyWUkxvHBCcEloR+M/XBqvoJqxyAULGfCl5TjOYylDN
YrwbiqBfldAaNyxlly6IgotE7KOikWYMxXrT0LeWiHkJPZXXyZCCpo+2QY+a7oM2+TFUcOPTsUO1
b7wmNpIjU7POXtxiQ02MEq5ZBYWVnEZXxv5zq7fDJuwB8IHq65OS59PIAJ3g7/Sum4qNIIjo6qVk
mM3ySdLEqo0uEFY53mxjqK6ivhVdDsXV9iGVu934FJgO7g+mm7SiEA4CkN/mtR+twygJb4mk9nZI
hN15bF/LSF/hAYanWqRflR4jC3W9/lNWxSNO2xS7FGGwRFo2KzJMn6dRmbQ1MeMqaA9XzIw0HDz9
QuqZv9UdLTxOlD/rKPLYtRpP7KS+uum/qDuv3diVLcv+Sv0AL+gNUGig0/uUSZmtF0LS1qYnI4Ke
X9+DWafvqbqNbqAe+yWR0jZSZpIRsdaac0x9OHk1oXBUjPWyqsw/gItom5jWvp/KtT6S2R5lSDxj
pDVrq6HR0TIDJGUpQVTbQmJRII0swy9fkBLj6LfCq2t/Nmnavtltys5Gjj2yUci7WR4b4HGai9bE
dKJKxzmW9bixMFo8SqWPS80pEcIYdojsVmkrWyjan7XxVLLRRbIITlEXv415IA+9JOSnJwBh4YWV
PBYMLuvOBmnGPqOj4EJd3w55tY5n0VnV5topctBV4BRTu8Lod8Kw6XTNF6yliGYCz1m6AkpYUGvb
rBTvuvTVqepBZnj89gPutWVLcA2oXGHsQAp/FsyNX8ATrZLOZ5F1guFJk/12ElpE5lCJaRJTZUGe
D4o6lB9T7VdbByZmEjQkHkKgX+WUtutCjxysjExp41DB76xxsWV9Z+36oOyOsUI1zTavEb6GpC6Z
f0pNp5asYuCSesVh3rfINS7Sju66Y9ysBIy9O9RIzBnWUD7I9pCkT5VbBsS79Tbx2aRmxAkn1ExW
Fz+6DLlyjioj9aQhtn7fZPmjoZGVHvR8AF7QOKs+grbWEVS0ZNomSbLU2j26umUcxfmZxsQWXaW2
w69aH62+bDZ2jdu7i4eUUZBn7DGlf5sOhyKj85stFL3w4oJyW+bSiHacijZWH/GOTHWyTibkWmDH
xN6pfOq1SilSj6du5fWaBU5AK4lM5C2Ax7wkXGGExxqiHw71o8f41KA869iJpjLZ2KkEegfwLEw8
9YiqB4oPGZlJ79Dq+tDsOdLLr26Iq6adE1kaNn64yaNJMFvR/+oQQrLKRrQuBpuOYgEibsNZmQZp
nb3bcpi2aOCsU1gUwVaOxVdTZGSp44tCiqvn9CNLJicMpwHmRcuQ9urKHlR6BFm8MTTBxHlgYslM
Xuh7R2foVKVX9uToiOgqP4NmWYNEry6N3mwsXtmWCTKFoRM9hfQ2zyWj/6R/T8qkP/lZIxZuaElU
ImTI5V5AkVZpT06aesf7g68I9Ag0lcJgtYurg4VjY/fQKfyII6QsfIWvy/POJvQ10if2fptoVyKR
fjlOG+zD+avGS38NXA9HivqOBj5rQW+5b4WnlRfZ6tUltcwnEQ3qeDdVjdSsawIC1sIc+6dyfhiC
ep2X7VPQUamWKLyvEkm7F7RH24HiTPFAcB/qNpTFeDezPJXHKTHSfRUg/ylz48GMteFZn2KuddLI
VskwAXK2DdCKfHDLuBbeXmtTH2CnvREOA8tuUsk28Tm7BqxdSzx36SErputQc/9W1fBldzKZMxb8
SxnJpVaMcHmjlji12DD4X9vvfnDs2eiwCtiSnwn3XcS5ftGiyrhQ8+4n3aOoc4FXdxOH83xvV04N
SNHPN0p4mGHr9kqDUB77KBnpb9vZ0S05Njo0bgnibM8+JhjNYjOgNAUTna3KzFF7UbAIF7kGvR1w
bUrH6cFvuIisTmUcM0+g3+TZo3WYOD2KKmHdesc8wpvzt1oaJXsSQRAhyIbhiQyyK07WK0kV3QGU
9bbOACDbARKYAkGVSpBQ9aQ5YAuAZmYQz84AE7Q5i+dyQFSLBjJN1kZVWlDrqo71I+C+7tw/Sap+
kCnJLbbzr3j0Dn3dFZeqIYmvT7GLyFC2a0dNF6wd8XIKrB7R+OyZYD68HYehQajKVp9SNm36AplZ
S57PJtHE1peesYrNqH0tCARrNdfaWx7z5mn0xHYkvQs5ZI9OKG+edL9Fv1g1/K4Dx3ThtzcRBv6J
Bu4tMthL8pA4mCQxgrXbentQoPgjxN4dHUQ55MWSTkn1NjrttnDo7RqThFFvFsSySf+xGWhP9Q6O
VU3T7BXsUE49LR0l1Hw/VjRUx1KS5g5Dd5eAkMdSRmxrW7+VbvVLH6tmGY79Z9tysvWHdH1/Ha0v
na01eW99XHIBJ1G+6w1yxn28OjECX8Zu1yl8dTECbjpNTiyBLg3iYHaHMHg6VI19E5iObH14tx32
nV7ZxYYwof+Y8d2nff8y9/v7e1HY3kjIKjd0c2n2FnMvSczT2LYmtC6kCVPFNiJ7YFQMn4Cy4oRj
JQDZf4eyGEh0l7k3axDuX6fkljO0ivb3dJEx6Gmyug3RaH3M8d3GbJ02Qb5ObBIOfD16jFqE901M
otPfZBLOUHgAFKErbYI0QS8+ERO2tGU1pEzXVCFViGat+R0boueBR/oq6NLaNfpDZJYFmtLQWKQp
2Nz7Q5ynl7Bpki3aauNQjxBI7IGLu2CKdQwzbH4caR65WRTCKvnqTL1JzUI+OzBKUhrS3IiIvY+K
lQ6emzXVEOI4cod4cTbuc6sdaEJPeCVm1oc3C66DiZ3XnAIi4KLgxUgBDkZEJs5mGuQ9smbQTowL
NnctBAzMK7k/BPM/zecm39/f0ywz3WRj9fIvc+jQ4pSUzYrSIQQnPb/y+7NKlNi1/vnl/ZknxnSl
LCZJlIecglXWH+7P/H8+u38Zz29YZZo3QnwusSysZSHQNbOw5+t7bk4/h+cEJWmHuaVh4rcJi7o/
OOxe+4lAnnsu04TzHMHmnNMkciaf94f7l3DNGHmlVYAQejh1GBiOpGfonAN4M+bfbZp7mvTzZxlG
dhcpZKzOdNUZGjOt4MCbWoq6z4+3tdDfjdECgz43TYl2rQ/ZvV/KGaQ+BJ7z2gZpvLmTdwoTyNr9
WTY/g6LlAKdLr/dvMUgc9rH32swv5x4ydH9oRBevelLJgMTREf4P2JTrH4pqLOm+iWAxufKr82ma
lW4Et/SfGrH7s86qTq2JpK2bdWKW0yVzwikdYYaDxjqw0myndS5tRDqZyWA/2D6uy7vq6b+VmnP5
7Jof+e/zv/muxIjOMm7+x7//l69Wz//z9m9/KvVv5+fN7f/5N/8/iuAhgWfmovzfRWJvP3Xzb6+J
ijgLff5nrdhf//J/Y2c8MDEOFUqg45BmBYX88pdWzDf/4TqAWBiH2K75XzN49H+4lm6AFvAA1viu
B/vmL+6M5f0D6AzxSkAYdNuk+/3f0YpRjv4ffAULi+7MtyHrzibeZ0bT/CcPdzTCGi/TKCaVwUk3
UCN/ik7WS7NPruCr1bG3rHydi0qnKm4/mxZ91aidMjaYS7cZY9vdw3qlaojY9Th/lGUWrhy7QHoK
HVC43mdCdGw70Ger3IHQj4hDVSZFuM1Tjlx9FJ4T9yhGusOjfjCtEQZYFFCTIkQC3zG99Z+uTYgj
WExv1U47tuZ+5UVi1+vMWxXNOlyOwbpD/jFJuVdoQPb2nI/bzUm5JpG53pydS8TZBnB3xMBoOHIf
TaceBfY0J+5GMa3NOYPX4OSeE8obszf3c0pvMOf1lgT3kjQjV3Y632/mMwF1yYrZWrehtjznujU9
DG6lrYuRVoTEFbdgaVALYwQLIBoRrAeL3EzHiIut7Vfo56l51nmSQQYwh+esJXfYSVaqGxjdlZL0
y/ZTjbmNO7qhvU2hjvSBQDDG+mNLnrE7ijP2I1KAEk9buRL7raENwI3zRiIUlSR/tlidkzbFC4kN
0GRaHiMgAizgPxUMxGvgPVgg8G6aTn0GU7kwdoUwb6Ihi1mPtZtBOPPY1K9u3D86tlp2hDejHVm4
ZKmXikS95G26m1uZQenasRfB1aW/SRn3gjD604bU0glyWzICNJtsVCut8ffznzLVm3WvzDcJmEb7
Uc0AwGjZzOnTumFfOJEiOnFJphZEVFsDOWDMDpgnxcYuowTpowaOgtUdIvC7R1/vzmanvydVnZ2m
ERq5ORjVBkEevm/q8cQkuCGvBDOKzKaRNvdTLN9pVyHh11s8DRvGs0jRapMWCRf4onFIJdal5xzb
hCgDqmAEZUeCWRQXXIRd0texABsTkTCwf6o56TufM7+hkHOMvulzFrjBJkBVm51Nhaw71K0nQXB4
RoA4Zt5rlcX49PsPO8q9tTLSdylATascSXIyIUi36HZlNKGcZPAZsyuYy3WwSZTh0ibI4lPtdLPl
P970pbHNdHPinZToBSHQ2sSgk2U9ruScRUDZ2ZNOFa6Ltn0zc+gX8LE5LdI/YiXgNgN8rmvYVYQK
TyFIjc4khd2TjHKs/kx2zNaooR1V6EzpO1bIwclwN5L4OattfTlOAVQa2P1SeJeGlvTZY1zRNU3/
Et9sk/aRevILU2PwMM9HxfQ7bQogwJX5mzbFBXoCJkede9GuC6yAJM8zaSU/dU6jr+Zc+t55COec
+mBgutvN2fUNIfZxt+S2eU/TJwyQRLf2YtVBbVhbhnPxVAqtIYqXanwrjeFn1DpvG3fORbrDvjWU
ufEMiavSp4aHob+Kh+5hBL2/QvXDyMw3m4VqwScwxzboAW3dMHpUTUyfLHysu2toMoZXwezLzC9e
WTksAC7DOoH/ENuwxCLPUCWqrGIZUNsyrdN3ev0ZjHOPpv4chpZcO+iOY6R/6tP8AUWIdiBubDwy
XTyc20sFOZa07hKpTqS+YaUjsyxse5uraS/NwDzlPUdG5jpPgwzCl7jIDzJ/pguDgjYpP4kxJ6Pa
iqNDTQ91oar4R8DnNoLeuiazfze3PLJtw+4wxP2rF1iz/O6VhCD6tRzSut6fQ8n9xw4bRSa6AkfG
NEOkFLBxuOnrnMCpdS+aE9aLHzf9k2juaz7Nrb0xYOybmT99y9iIIDO6IOMIg0O/eUR4ASr8jhKr
v1gO2IcqR37fFdXGMsHHB94XZv9oWYx+vOJIs4kbawmiC82UYGWS1bQdqi5aANOKHl1kdphJGg3T
qkiwtMQqKbYhtAO3UfWi0wKGlyg7Mq+HFmUdBwGOJQ6wTMT2SyF0IIKYrVd1yhQtT4inhHBQ5eba
wofOgRlJYWLoGwpE3mOvPcsiepGk0vvy2nf9dhDCR8VQEpvLLhmq0HwsAn2Z2YxmpSg4Qjtah0QT
4xkqDQ1NS2ei5e+B+iM9wsCTFWS6Ge7KH8tnlStqyCBKt1MWfLj0aHfFnyBv3iHLZ4A38NCMAhfQ
bphCJFIZ+ir9YtN0Y4VjeWlEC+zEhIfVWMxYdQbJeoT3wRWwrAIZr5Icu4YT6g9gRtapY3HtJLib
U7kMMz3belpkXLrY2neKba0v5IMFL+ihMmzOpUyNba98H0w7ProxZJHJS7A+lRyfMaDQdRLnGoOV
SyOngYERu93Fs1t2yE4/2nrwnNSaBdGKEB2t1XlgOApR093FtMic1FsbTfs8efIFdvuNJEwyoLM3
kkeQwvlgBwwuS2OQmx4EGbHHckDhbZFFqk2rHk6IBLKy6+o96ypZtBqCh0lefdzKyL6PApWWJT1m
uf1oLqrJF5QT/D01BeTWBo8o08bHsEUxRer873ak+ZYM0t9wq30I1T+1zajt64jrP0AvVwguTM4c
/Q4PMoOF0TrEqKOrtkH1UV0dxDhVlYlVW+JwrOgALmzxU6Eu28ih+pHt6KIzGn3Cxqk+KHI2NFWM
TdX7B2LPZu59/KsYrJtq/WzT2fZTxAEkySGbtEFA1Y6PK2grfDCFvg/H5kQQNco9tqNEaeMKGTpO
ILc7e917Yia7cCKAqMCERU9w5wxFcdWVz9zSjD6k59Ub2vbZTu+YKuKKf+mq0IGNY37EYbLtMa93
PQbtoB7eXDVHc8jiZmTem9Myu8Ix4B6qHtSFJbC0yaY0dy5t5s0EDHtXGQYo9eTT0chxwCT0zWCp
3Co/21qmdWSIWnMD8Y7NdpiFZQYvXUmiUOK7J4ha5iaIegOADGVu5JivRc65y3Xzz5TmJOUQkwom
swsHBT6avu6pGJvXvO2mFQPyaFXRE/AmZK1R0JyiAdwmpM0XGTAimlJWrrrXsnOFQpZpyyTO1YCH
EYaCKb6wFlkXq8SD69EFGZIhPUxjsy+S+DExhHPMhPMpukRRW02PdI4WiRMhUoreRyzYS19+uEqD
btXYKysmyg+cE87YQauJHY/PNbkRNPOmxzwBCi6tFMO9b/wpCro4ttuBAppgknF8ArPhpXtRx+vc
TwHjECI0X6ggrDcen/Oe00p+8o2BIxJrHcY+hfJBRuum7sUa5BrxN1lHzMxIK0+pcxR6+WbyvtJM
YM7vc7HtMYFm5pem4RTtTCImYA1+1ZH5YZuVu6+15Jqzix6NIiBwehKojq6MlBgI9xO57mP5FEp5
NbwaP2abPqXTRVbxI4nKxbpxE46UuY3pAIfx0phQoomquHk945DafhxLxh56i+9O6tZG1fpTNXTl
heTZJSb+vQp89rEeh6ljzot7ik1smquG9snRe2NJsuKjZzknv2jOYYaHgfq63REAzvYS4ny0NVpE
9DpJDxg6jTGnIFKmntSvwpZvHHk529WQY6yOeMhS1A8ow2a8hAakq4r3wrbkLWvINCm7tD0bObFK
taX53N28354XL2jmPzC8HbZ2174MHpY5XhCKUIZgm6kpxmOn0W1CC7vIBiuC2TTA40rN9pBrf1hj
QCJhU/twur0nDfTb7avS641GI/Q02eali3zSt3nNi36q4C8KtR87q1th3x0WtcOsxGdd9YyAs5k2
+Rs8+cAMNC+7pljsOFi38kMK8rhKS7S7CZXhAtMbQS+FtJckGpJqToSDV56hzuArZF79jgPtu8Nc
HKbZcK3j7qe1amuZ2qgFZOE86BQbJ4fGrErS1YAzY2GFrrHH8vqgc/1VoV3v3T75qnHi6D7XaMYN
sGKY+RXnJ61w+FFalYANkm+jM/6YMnuqU5SynFgJXxnMU322NYcxcnkuDZvfCYMoflc1x1z4C0+P
v9CPT1it5UdRK0KARva9B5Umh7oVn1RRjwyUX3tNbXStnFameSxy+TFHZzHUNph6TcFT0UVbJ2S+
BXck1lOQCVFOeOeTK4InZ4g+fT/iHVZr5SgA/nqFYegzZNYUKAOuprGJKG88uz+bWU4cD0KioMOT
kfsHuL77pMDdYHbu1oHT4Nbuzg3jr8B4GaZpPVG9dYP4JZAPYnZ/sT1EizNgKSBvNPjm9PnL61hD
7BBUv/hlGufAzlbKzemM9ztfx5kZlg8Ts+LCCx+myDyWsXhNtG4tCEtjZvUAWKRbNLnH3AXBbTwB
QDDIsolTZCrEOfoQMmua8PN/lebFo7CbVedaB7zJ4+yen22Dw9VxEdP26iGdzPdSVbsUphrqrUMZ
skJrhJg61RFn64U5A8oTQFFExpGijvBh4bsIWiPzsdKNV0uqXW7jJI4y5yvrVnDCz5PmQxyQ2S2w
rXMq1HX0tAfAcOva/dWKas206cTkYOnV2krgkp+ESE7vKinTjWHpt7hEk5CyKht75vxEH6X2dVD2
hySrR6/NM8T4CyRaU9M4FNIXH7IPZ6ZAQDb5apnacv5FexMPMEPt9nuQ7mbkiJOFhMoZULHkwFbA
QQB4puRo56blxTNblFrxd+AMj3k40BFgLKKb3oODKsAS3W3Oq5MFTYP5oymBijkBsjNssBBIGOGR
di2fmahl9KSR1Q04AsiMXAqNGIPKPDSBtYstAYfLfPOntl+mrO1QRpbze671/k1V9jaI4lsoEKiJ
T0/fJgyy4A0wVK0cCF1j8NCa/WuE/k/U3ToIU8EStKQN8sKx4pXuBeyjhupZi8OHzO3IG0vKhd3Z
zvOTcGN1LDWCt4c5PRNs3kOGimNv9Zyn6LictUzXT4lTb/VqIr2qY9EQEL76iTqqIhXV52PKdVxc
kNNStxYUyppcWn63Ze9vD5GFOCXSr0NLB4CNCwu0gOXYa88IZTZanKidFhKV2hCySgUIPC+ftftj
eCyj4TRl0AhKclFVJX8ql18gJHUTC+NmGjxURtJ7C4quI1EWq63bY/xoa9Is0oDEDG265CnJuVq4
M1tB+arHn4pjXQKNJsyrYjbonqxIbOlccYyLrIsTgxH0Lq5/VrNyJI1Nivn4zNnxy8MPqPX7WnGM
Q1/VLt0G6BxXz2UcrRaDMPCYIU92k6i+EAT6+8IW3ZIGX780CgJSgvpBRDJeQgZ6c930OCDsWYS1
/qW0frzpyVX6cLiCsKyWYeOgGfVhy8iHzkq1hat7qOe1m9uBerX6V7OmBVPVdKt0EWy0xLx6Ts6+
WE0fDNLlrDG3N40/cre1O65L3MG6XIqCuUdfZudE9/1LEhnHLDTRBIp4raYkPmhIuLsQqUIle9pN
XHew11oCgMwPq6o4RItvu0N+MyiXYXju7C3dW6cm1OEqqz4hpaEdIoFk8k5ZQDqpHiXNrSTIaQ6a
imPVHHM6nitHjw/RtNX7GLBD504Lj5QzWAvRKrfEsTTCYDtEoC5zo//N9BEkoKeBgZzUrhYsG1BB
/XWR9WSHdcZ68AADOJQc1fCcYrHguEVQX9l8QNkBocXBps8JA7W1cY+bv1pGTnMklDZYN234HgEd
kEqDMkLwYxnU9Yr0KYMpUE9QEMM9bR6OJlMlqCj+FB03aIuDYimc7t1tMuqF/jnPQaThd2qhwqSs
4owg+YmedQzU5G5MoT22uVmu+NsZ2g8KPyCv28Fqsh3eKKq7CR6NS6AFYSw0BLqaKoHDGZY1YCoz
XiVznN04uAcVI/uQhUe8ashMsKa9URgohob2d2X1wwqhrmLn7ulWWWfZ2v7eiPQeWX29rsyWcwGz
j0bQqMxFfcHU8uANYARoxS5gNg9rqWHukt9OSCswddPf0+B6SyIa7SUn0W8vdH4Kz0DJnsO9a30P
GaLQn1VQ73SNTDu7jR4a5mpWol1Cv+OqDjxwu8gyBVUOZ0Gy4fDKuKQppA9wVb6TGgokLP9TUkUM
+cNNRsAot6hFrKMn0yW+WG0ZZdq+NG8hop+p8/iPZ6jkmF9ynfZlmTaPeWXdWjBbCCU0Mh9N8oY9
HUugx9BJkrIZ4cYILU4mpGgnuiuXLvO/Wkd07RSdvkQWGjavVR3Rj41cWEkp2ctZt7RNq8YbRWe0
jEwmkmuUc8FvDSGbO9GRctMoWxZOR3oHR8ywK3ahR92hJTnDOTWUh4ihn4hIwfGMYo5l4vA7MMiP
u2A5mXsZwqyF56PkN545cx1yKc8l02OQ4/f35oeoFiYOHeZFrlE/WENjMNU1llqWcraoXObbcf3X
MxWpad33xDYGoaYxCKSHjug7Xjmz/OL+UMS5e0AK5h7MUXIB3r/ZBMm4NC1u9Zo1E9tq0hLubNZ7
pBMEV7TGhYaMs6nmwaAo9XhFawbLzew6tecHK0Jss7hzocZy4CkhE/D8fEWxkRo7e0zGLe1keRBT
t0PoOG6tOfbAmp0U92c9ggLbZ5Ip2MByuE1t9VgYMkmJVcD02weUIvefHs+jSoETwS2rIF/Rk/eX
9597/2Xuz+66/3/5HqdQMCPC3DEqNw9dgfOE8X7IlHoiJTmm70MbGmOQa/71EJeUrUxW3qzZsHl3
Q8YFrL/l/al3Dxi6WybvHsmkYf8pTRQXyRxAVtvOkVzbdMudh90gwSASiy5EAtTaS6PkTbw/tNw1
697UP//+lun4B065YitN9GGLv/8AjuRf/+r+vRS1AYQSlva//6DHLbeyJIc5pnB7OoAImm0sJX8/
BMqC7XD/OkmatVQmE+NgnoKDPlwUZqttPSytZR01qyaCQuwX8tnLw+JcRZyHO43dtKeBLYvwWHil
vvdttCE66XBGaxgrHdvASjVqSUqov4qzfQW2sC1aZHslxUoaaBoLD+l67ASPBTobJPmt/pSH6pLA
4F6m7KVIjyaT/bRPTl4aTWgdafK6Zhau4879mUwN5GLZ7akJnFM7JlvV+OjC6UohwDEjPIgFp1u6
kO4isn2AlUmO+Zyu4pgUL2Na91uwXAuPi/KY2tY3OjEYyg4dCKxsNyPMxUlD6oK3Ml6zRh/GaJg3
AZRWDgS5dRW2D3Ye1EekPihPRrURiBYmH5lXBehvh8aXXdWLDhMhEgj82mo5dUQjBC2a+SLTd6U+
Mt+FbwpM7kUfanOd0g/Ch9L2xSN1ooUSBa1QHraUS8pbskhazIPQzrQ8IAcHMvhF7Zs/CM1INm6Y
BwxtEKjYgNRLgRWgutb6hayAnbQoVaxxm3v0PQvnNTOajnR366fQ3GdFUZ1LcczzMd9bI4B8jThh
O09hLJsvwKCxO6DmzUDh2C2O/zjBP9MNtxo1TZrdoLPSb7H6a9jaTwQs7fsgvejJiPWoeqUZT71f
ot/twvJlxLSKMAFKZNt9xEXwMP9Y4eNlbhAjeK7QV3GS/i4rYKh08BnEje+h1NcF6gJMQMWzY3tv
No5H/rhf5DG525hF6UGp36hz3xteIVnOyDfwB1mtWf+KR3rYlfmsmlPVEvZJo9Ijxb1+m1/d0qbd
cM5cd9oGE9rxLnoINA7nlcNvGYsDtCrepksa+VRuNsJqB9UO5x9MaOyUebmFmfYim2HbmbCi4qT9
XfcNxyvqXDrg7JXmXui2hlPjZqYzMm9mx1ED7k2JosdEZI1IC2dAgRslKX4y286ZmHTVqiRHIAH1
FEcwrKkqgGyqCdXqeBMmWe2Rg/tD0IMyCAIg4qZurtpIdHLQz87rxqG6jxUdh63T0qbHjQMHPPO7
HTYQ96Gki1k5QH51Zhl5VZZr9PQtUHleQslkb37rGBRZnyCJ1x0h6Zeioko1EQYuvNaBUtevosZ9
Ntp0y5TSPpuM4NKu0ZYhjlNKXRq+oTwrFy/l/HkoQkU2KlYBJrT6bIz+W6f0T+zlwBYr61dXKZ9a
ltcsFZKFbvyGGSYWWr6OTBVtgUWjAgvVzbUzGgijy8HGukalgI7cS7WhX4NuKnVOBs26netVOgSc
9GvE5mWYNTzh+o+X0QidwH6NRdXRF9T6ZRLgIMwYROh8iitrQC8VWx/g0Ph4An9JfiaoIvkUttbv
vujgPoX0XKsa3FOD48/myfxHSeIBkMzq3ya0qMq3wSFyk4ZJx+1YvSrPuAZj15PdCHlE2do2l68U
WcQGM7uHxWS7S7tX6T4IoyVgqZlF69yYqNtcpDR/A3SOq8kChurJNeIMkAl1x9E5SVbyl95OcuUA
4uY64SPx1dHxqjddcy52UuQr2ghpPL3Vndybdn9tjGgDR4OfbPr2MkvaPZYfY0fW+C2NHbnxXVDu
kZpZc5q9jSIUZo0mWTjT+exOtRUQoly7NEZMoHz+jm72uxZbwAN8NvNj5hknpdwPyRGMEApMVkG2
CoX/JAP3y/eY3HDZlFb7Y1bTo5APnoklyKYNOADCo+vU/qCoZxAsQ2yhaqHiad0mARGj0d6ytcNQ
44LHvPOY4QTVxvQThskucKsNvxqOf5deHKLHhzGkE8NhwVw54/ASVwJSWqY9FRmR692XFoWKQORm
P0HnHmVqE7kSWQvbYHjo+Gtr5kY7bbQ2hY8F0gtWoaXtcAhf6FM9up77YOXNI4jpRVm6qyq3rvef
Oza4k6C+xVR7KCm96imuyWEEj4lEjyO3DfVykbgEOXFA4kSUzc6T/MWLh9mVEpHvWI4/WtBs4aTE
7DxzjYgOlu0FZ0f7VKNZXXRQR5a+KonNCZ9cA6z42KttYX8G9HFhkTrfmC4e+pGprZIvqUQ5qRAd
ltrFCjpUXayKQ/Dg002yGhpFUROzgtnWZw34Uxu9DxDJf/z8S6+gdTA7u5VoH0joXumlh1m4Yuqu
9B2LK2k0ig7roAOwUh+0cSkW/ZQystmWLLRaKT/TqHhCTHFVgbPMhT3tmi7MEaF705ozyCnWo4Me
2DdHt98gqC/dghfA2XKfjF6+CvhdoPfNsGCCJ5FSCMYwC432KWdycsw6LLDumnHgJw6xYt3m4iXt
hkOXPOES/dYjzjgmfvC+3ubcJ2y027zprrPW0YgZ2djjHrv1yOdCX9IXRrFE0c0oVKOMH5mJidTc
Ej5Ci7kyz1Au16Nuv8tJn6dX4bEKm1UJ2rn14MZHDrMU3Vl6UvxK2+6tzgCzmklytWIlFg3E8b4p
f5Mzzejdbt/9XK7rpv6So/1RwKItc44FbfIi3e6X7WVw2svhkbNGuaF+9NgAkgGLV/YZQzsImE4s
aJfCllRfDp9n6A8mNwOuEuwNfm5kO38W5WrNY1rpJzGsTF0SUyAG65qHBrk0EuoCddu0dLiVKmuV
eHyioh2wEPQJV4KjcJAk4p2GPgzlRGfg1TCXNLLPRqIICNkoGItZG7eRZ71gXmzzxiAnSEG+9cxv
zehXrblgGeSRAD2GFz47JRKSI53XB2dGtHnxPh3sz77LCC4cb/5ofNI0A7/fd1sN2Db7Zfk9399h
hba5btwlLTaMqiYY88F2b7YOpDPuWH1cpnC9NRJlw6TNV3jbXdMjbC5vd5HXOFdgFBSgpvZdSf4X
R3stWTV1IkwWbsG5xVH2G9KAnV26ak3Y+LjHsbC4H/e95rfp0p9qIk0tAs2Yt+Zr2YUzzpolE/Ct
AZRWQ4ZNi9n4qoFCTBpZQQHx5UhqXYQ8S1PhofAiAC38u512kEbykkEOIbgxcyisHvQsTY4tkxIL
SGs1TUxkYM0WVXgLEvddj5kLRCCCxyx8bfTu6NY+eGZZH8M2hpZZip9RliwZ5vRYptPWS3BbwLNC
p49Quscc6TU4NjyAsaCcP606ASzuOStvSIG71unazYZdWRhrmwn/EnG8+7+oO68tu400Sz8RasEE
AsDtcTg2LZNM5g0WySThbcAE8PTzIatnWpR6pNV91zcUpSomjwEQv9n729uEMciG7cEU1ob7pV3S
6dSuLr3MYj/ppV+wkt4PFJFh5NvEQ9n5IyUQGoXZe0V4c+yWLsBKnHQErsy8I4cd9zDvLRNfWjHc
zQxXxwH/vTblm2ZcsV9qnit8uQLGfPLUtnG7tyIIElN2kHV8Xyfq1V4y0N/aWXYGwiSFQtT2vTi0
iIHm0x+IMe/7M9ubrcfGlWXQpVF0FbVy78gJ8ELH1y9cCh2HyYPtguVE9vNoeNkLRImKuTVHbVpx
kLUASzI91TvkYe2OYs2iauad84g6VWiHInxEW6XWrBXuFfDdOUWeh1NplsFwQHTcHpv4tCxTCsiT
8NAWg/Q4sS61ejExJ5APwYwwpHbTW8HcKmTnbIajlT+5jfO9ifPsarqnIEdznjePg7VcdBI7J1Zm
vbnwlfQllQ0HFk6ZfOPG/nISDYR1QqU3S5OhlWKa1wwldWSC4SqAdcFYaCIkgRBJvNu2xFrQEZMM
BtRxX4Pmh+yhThoqjTamnT6V6fJUOYzpOnaWs4qnpyh/9HF0LMxEPIOxWM30Xq75IsVi/OqWhZVS
CuKsWXSwre3xhN3ilx2URG9Ecygy80UYb0Uuf5qEoE2VXV2cCuWMAw9nseJlH8Q2tEQiytKpusOf
/JmspUuEt5wNBnqCRe1K3LJYERN5GJoYO1KPjViTnjLbDAf7HkwRUffMo0E3kIUAUtbkmTgT0eJw
hvCtUdtkJzVAaEwYomIw3y51AP4NxDtsX0hAnxnPMCOUhnfw+/F7ZbOWKZvoedLeqwWajXHEy1CB
BUcL04VGKe90haRcze9Wx0S2GChpOrY28QqYKIeI9ALjtDTmEOb+MG2sKXZ3nKFcpoV6yCQ5sknd
VbDJxkNfuSeyrKdt7GffFuTa9lC+TgXyp2h4U1Bsq75jL99ELQXVdGMhfps1mwOiJSWo1T0sqJ+y
GgmzhFhNfgVe5on2E9bzkViDez/FEl8uo7WdObKPgIvv3VhQaDHqdJ1DArd1nOwcsqP1fZqrnugi
a1fG2ZGzLw5r62UIRAl9jGKPUKPq4JCP4RflQ+YmgMSd8TGoMN957yrDJxqAEada/970w6vMthHM
kBs+e2qbFZ+HZAn7flGEUbQAREGGXtokNlS2OLPuPuap3PfBwixdmUe6PoO5336iEev0XtblS5oS
cVY6y6YRnbMLTOJd+gRHUvWrrfJ6HwwrMiaV38Wsm9VGJvdjaj0lwuxPekIDrmb5Onz3azs55i3b
JEaMg2cBy57B+mc9LVfVHJKIljafXny3vSXYZEPfl5t+qcg4aV/SCKYRfq9nSLD5OeX+peArsn1v
N2I3QGI6dAWoJlQyod33bNaqo+X005b91vMSQ5Z243u3Y7IOReSb9O30NEKIUjj/tp0eRjCHZYZx
Eh7JgnUZ05z3ZLgrZcW8ZoYz7RPGK8gpIWDX3bBFhY1csTiyzAFLBbnp6BpHm2yHxzzmldnZiEJv
ZIcbN7g69PuH+vi/Jdb+X6Wvlj7YzL/RV6fqRw2l+DcOpyM//tR/aKt9+S9mKEiaXSZrmLH/oK0O
7H/5viVtqJoObgG4m//J4fT+ZfrgKXyL/8WGucnL+A9ttbD/hQIaGpqL+sSEnC3+O9pqi9jQP0Qa
El1AIJbrmLZw+HGWdP6krIaknKDuTeQFAV139KJeo5l6cqFhHN1WzweMA8mdyy4XUYhzquJGA2CY
96nH6TOwjP7Dx/dfpGFav+e3/fvleLakZrdcxOgW7/uPQu+cDwW5YuleHBet7NwkzSGzf4zYn+7N
6hvc44acLEYextjcrzPbf1Ni/79xYcF/8WnANuXTDQIH+MufmKSwhBcV2J64dDr6WmNNesZwckTs
W12QFxVQ81EkjwgMEbmm4T+89/Wj/k8g6sd751LhWgHNanrmSmz943vvkimJh9wSl7ycXLZbgAHk
TATSPOAJ7lL7Ewa3C8VzXnvL2ciyd4m8Mq+z8pIp0YeUZ90mTsxkW05qOf7DiyNE9i8vzsKUTrah
acFL+dN1MmGznk2jE5cC4e0+U+1Xl0HboW0jC81PSpGs6ItiAdxh9TAbyB6LYQ2+G+3nomYbRp3Z
Tto//P3rEr/nDH58aNwNVmC70vKlv96vf/zQdF2oEjmDuCRjxKChjTT8KWZ+VRT8oo2OX4SZIfQq
kM0uzDBVMbqr/cg91x1rk/yoMkaZjgLXVbQziNHeOxhmNLAMg1FhYr4PRryrQ/fs1K29mT3BdC1O
rcsk9TtrbAmJ+qtsFcbXXBzThdIPxk39xqr2xYBw92TkzQM3WX4LrGpnMhZ+lBDMithuzgN4GeTP
vxRsFzoVg6xn5TunJPO+GtL+YgIpvP79p2X9noW3flrS5LaSpm950sOO//unhREbtnMciUta1ybB
sYhcQOX2u5yPEXIOw59Fsw4jnZIhX9X9qCMK+//pC7Esnjw4SyxuqD/daHHmmEUyz+LCdoh1kJnc
SjNynpZBh43dP88LO7NmVhcRiVPfEzrnG/rT338Yf71yJHp9TCXwNlywcNhX/njlpH3TGRKC3GWM
kl+GfURRSneIpFMEAe6r7MB39E+Pt78+bfk7pU2MMv/kSPjT1WqOmQC5UIiLY7pH3SHRNpT9TMbw
Qx2VxgEjxXIpXcg0PfqVfPFuJm7FrrWcz13n/sOtY//1eSNBIHmWLR2AP4Sl/v4B+JFj4SixnAtT
r2udT87VCfqbXyxbMyuCJ9Off7ge8AOyAIm1hK91WMbqZgGhOik85igLG+s29GzV1ey654mtwT6Q
xZNDQMmJDAKkhV0eEYNVE9wF5iBnr80mZIU7jsM/xI3af31yS1NwjgEB4Tf2n69sBsV2BBBKXCYB
UrJamugeLIOzcTWWFp1hDFrNsY1BQgrCfHEqlEusH154p27aJ7Usm6kx6YeGvDr4CwlmDvSPXd0k
rIIm5zK6tgFWJt5HZhLsQKUi5RiYZhtz7B1Yv7MfkAwc3YbS+IOx8PfX6u/+p3/ft0I4AS4sLlfv
I/b0D/6nvAikLvOG6yZ326M2EFGbJi93Ipfhwuh0wJK7//u/0lqv/9+PI8lphNnE8ihD7D/fH7rx
u5rlOPHYK3KgZIb70ODGtho4XYHbBSRG4FBMCse/fPzig32X73lblf9wKFu/nz0c9AS5Ys4MBBWK
99c7tUn6msy7xjj3UW6gEzaf2ZEVoSdZjAPB0qhpMvPQrFU3KmznRoPASQgn4ujbyEmCIt7FcRc/
V9bY/cOh7f7+RF1fm+dTjVH0cUuvRPPfb6IG7actgQ2eW3S30sAyY7l9ts3H0uWgIO94HDIUHL5/
Mz0AESjLd00Z+UQhj6BNkfbbLWb5mK3IZXJppqVOj+4Yk1cRtKhl3IBtB5dxVbneUU/+PqAqg3Ss
cGzZ/MFsdgGooFzS1uBeyViMVzCTdUdPA/Gm9wPCdqJHMybWLvZBYCj33HesZFTmm6FOMDr4a92X
YxcLy1wfCEsq95RH+W5eUtakWb23jDE4Yk01H5CZW3V9+fvrjK/w9yuN/RryacfjxoWfwaZC/ukw
AGOUQedyxDmOmS8qV76w/iT/KyXHT1blvbPafwtICzumkqR/89q3NYqmLRVaQtjC6vD98EC3pq72
qQ8DyVyxf6Uzk6BkkLe72lZTYnEPlF1v5KSfFpJxuHYIhE4YbJ7nDDVi4MlHts9pWOQkSwrcAjtL
09vmtgdqSWXhJKe7NoaERQoHhE7DU9hT4nnboX7bLovI2afrriFMbOU8ipUE+PHvOitgBAcewRyd
wyHTeL6PBKPbOkuTnPBrj5hWnPrCZB29WgpkedJHYn3nO3TOoJmG8mJPcbXtbdkfKA+4hKaVZq8d
JP/sS2AOPsreMUKk3ESJVl+gKYynJameat994rmWHNeyqCvGtznV+7lI1HNitw2QEnJTgtbQBDfJ
6D5HbL4xS/HQ8wy9h0ZX78aWRbQ0G8Ze1hK2WaKupfKRUrsx+ExnlaDMKrj2MWPqOoAjp1xbn0U1
RNt2KTA864ayB8fG2QFPnLX2q2cS2QT7FMbkqL8pDmE0TW9Zlb067hHuCMSFoWdpOab6qsTEgnsy
v2CwiXFIud8Gdokw9zMbrR1b5ZphX6g8Nm7aMw02vqNzPoASZg1DHvrJHe/SwZE31D/hgkvnUnVq
W/SB9zzFS7CpZXRo/b5nVRshWVnml2xlikB0PpJakJxMgKyVJoyNiQrzx1Vm7tQpcBUWlTsvgek7
jkhrzCE9OoVK3qBU3Qu/OrJEG5885EFqcijk++FJEhZzjQpCQ5n0A3PLCo8yHh9a3nqE0kYdNBIK
j7LsEPlIkI0+aalpVfxSUsVPxhj9IuGGzJcVJDsmBYI1fGw75RbLrYo/5w2SFaQju3Qg4bCPQDHZ
i++/Tg1goqy6tdnkXaJEMDRUHjnTkQc4rgDZFc9z92kAwMCKPRyMCAmlmnHFJaFbJ/rOICwXULuL
HNaEWMVlfbIComp6z2BT0NzZ7cpHKtzlyLXm7JgvUM9YfDdOwPwosSufW6mYdjgkmn9f4V1FjmUZ
caXirWMSHf0K0k5d6qV+D2LO4CBY6ofJr+94koHfTZYgjFlUbl1lwiEfsGMp9d3g1niJnK9ZNT0F
eUrs6kRl4dBJh00isstUjbc1gJHhafusnDiMxRQ99Pgoslmxt81QtgTyZ1r5IKbLrjsovJtgUsb6
BCzhogp0ACLDVi+BfT3OWfuNyBN1JL2zOaq4+Mbke8MDI7jDEtM+8AaBzGaddyJp+psIovnSl/Uv
RsvTDV2TiSKSgBeTb3WD7TL9BPjtSjDnWZGf9FlEz52NhiAeBu8dYuEyJk/1uvttiA3eCs/p7lWV
7xZZlueCMEHsOr8CbAIMyBTrtr69Fx5uy2H5HpvVdK6GWe3d3KnDPO1eU/NUFKhVUeq9pWQSq9pN
MMFCvY8j1DazH+S3KCYWbPKcM5pqUGo1Mrq+5RG4tAwAyAy4G0Q3h2jazb1ZBkwoSTyC3mhk17o1
Pne0w6E7YS3sWNTyIKh/lJQUm1wxPrSs5qHJY3UCgXAldyi62YlkObJUz6ZOooMMMHcZy1vizs4+
a+fVIuwVp3YU63bprYPLMpSKiZbytvRGXQxVgYHnYMlr6ltHkqVvGZG4jw7TTrYJrJOQyAq3y7jt
arXvVE8bSlTUp8o7xisDcLCcEahl+dIRZ3dlHxV9boX4Ga/p3z7kMNpoXgnuH+exaJDKwmcI4CsA
IgIXUuxgx427KmFgzmFdHVNPbDSRtqQJt180FRra7rg7dgxTr+UYfErIoeZ+G0NHW+KeGCdy1RAt
tVrpjVO586f4qs2R6lowd/Zi8y4F9vM2sq+arCzGo0tPXWr3pFRL3HJvPUCV4Y+L4Rop5d+M5daN
+MU/mrOKzvjA9JCPrOsScs18IrC7oYK5xmicevF5URiASJ1oT+hVCSCBdlVXem9hlLzM+YIWGh9v
Z5PsWZKWsDcz9Ykxl0f4ok9wPQbAqJT1EwxURFR9xh5lmnAw2tr5MgrETU2m91gpyr2z5JwQtvq5
sAQg68MZT1UUsXSlG9pMLlycqg4negbQ34I8EjZIXCT2Y2woZpYuvURgR1iHYUbucT4J+I/FJ8/Q
xdVR13nsgKPU7bBD0B3Pl2Fp6BYb/aB8fIaiiQEhRe61sY0XPBNiExkjEJ84dkM9NLTxOYGwSecZ
rJJ4pkgm5NpYBfGm59zbE173HBua3U7Ba6vm17FAJ85maQjJHP1qYFp/hUOwbCMLir0JEQ59CZaz
fIkYjq3NhS8m9T5nNmZxLzUveQ35fdBMjVpR/SqVk+x8w3WubeI99ih07n2FuCXoG30oB7g9Yw+o
y7EX/rogRlDvHoqGtXuhBJZ5NgZnwz00JN6eDWxNaKrQ/iwsUesEnFblMEf2HcR+SQ7rYNZ0l06/
E4ExhumCZVSjvDQ0xha710BJuowBdJZ1fI8ktSeahDsl1r32Sn1rfePsat1cCDostt0yTuTvhGZF
Sxx4s0c/juta1givSf2572q2w+OqRc5E0p9maZkXeyzugGWiFnPmtzReCzBW4cls3LQCyZtnw52K
ZIrJPQ/26OPvstZh0IeQPdSVA8oPgsPOZpbK4Y/XrNdVt0OTtNbJuX+M6lKv/sZp7ysb434gSG52
yugASim7YRSy7E3bGu7+428EUzqEjSRkMne/FrE1XbMoMIER4o1bbGQ+5NJhEC4hcIni7JS92PbV
7J6SpPL30SDzm+YEx7iqAu539OBdYYAdWuOEl+AnC9JfST2i0vfF21jJ96bJaHeFua8isritwPyO
GSClJSkBrRjjw1j2LsRAgIoJwdhNh4gOIdbVdADjyoFGRfRfbSM49fpizFzfpdX8FK715gQ2d5ct
XWx8WWjplLNDQEOZkr0Yy9cB1/5xzMm4NGtQTJZ80sRQsPxxCZ+skjcpL+swTCdOEnrAy+lSfulq
QZdnlwhqhi+uyk+eKQ8y1cEOo1xMEUeG6JSSVbmoZ80tu1dehXS9eVN+k4elthZYsyyYW92fMApH
KCKqXTcPGHwT6ybaDt5xpm6GTQCFWa2wwf7gfxpJHdx02vns88/Z4mub+vmNEHp5SBMNcZIo8cLt
Z77r+ptZzt8GotSH2frh7ke4cmzmiudxnmBN+EhuRCOOZffZGLDDlDlKKFwjIBHcd7vAMo+0t9hn
Ftu9ocgJnzS/10JRYgd4h+rGRqKh3bt5BD81tX1DYZwja2vQTVWZwddC9PQ0s09P4upxNNvtKnTY
s5zZo+RhbdRsc3NO+XjQEnUpcnuvvbYAr3Y5ivaVLNLtqqKl+kXeA28bx4oghSit7+pM9HuAs56N
Pr7T/fPQoCUrWragrMPSaGeKwNqqNfEB7slD3I/YJBZ9tFa1wjI29B6xu0/chmanV8fZzjlk1z0h
CRL7Bi0lbfAUsdcFrmllyGVbDZsKf+2epq/u04latkhWYW6PIeC+zYnrzL8OufmGocg/CKnlticA
w3Gre8MjlSgy++0Y8ECnU9tRI5IWqdJh5wtQmG36k44XBUTSI0mLqt3Yic8cDFgak3exyJpnEid3
7DU76s5pJwzv0TfSNLRJgnY6tGLV0j4VlQVGDOrSPveTAxX6BmvQqYRVwCOUp5zHds9of84uLYZT
E43YN1+6aBKbgFESPHfKyph8pzq2n82Ep0VZoi1cvPoiQFJtSydHXNifF1wL5EOysOSFhlXs4Muv
5TEYmnSHAwIRrwKDWAwenv383U/cn0DwODOwnRzUnMFu8z6lUTvv8zbhIMhAV5QJ5Ns4vpoWLm6n
R9Qw+uPqfIkeyya/S/3pqaEI5vnRQ0sh5Xw1Zm7GjjE9a5/4gIENuPnqCds5o/vsTGLBdxq9II96
d5oSwsjA4LxEzdS16bhr7YMOYM5Y0mIdXVM51hw/KFwApAzfHVx6RUI8QQC5KseIZsgtDFPmu65T
78gYYQ1ffy8MgPt9Fatjbr+jJMQJWBM/UiBg9Az0E3OlrrWPFqu3vo62261KtGtMIcgydzxWHomG
wG48nrQ6+bKEfavu/Mgdt9EUQJIW6tG2+ZlGhLSLFwKHlnehTJyxIwp1gx+3oIYGbXpXShhpvvdY
jYnaScdFQGoVZxf0YreuWEWt7+fxiG0VX3bmYk4bE2MzeXzGXLo+n39+hzkXo5ZFOy4YViFEEWef
boJHxff0rQa7uBFaf4NGwlGPCKNcGRr+4AQbEkV7RZ3vsj01O4HrGqFUWsVPgiCDTZNjsIoAOe5V
LK9Zx+lKQEmYFx5y/Q4PVjjGnXUEw4bCePzWua+F3b8TGkl5suYVAPXR87CLlbgoJy22dDkOHFjr
mpIOv03Mvt+RUHoWU3L0SrLVzOYXcb4vemALDRaQdtjFdeAXdzGnHP7IZJsH8sHo5+bgkMlByEV2
9Nh/b20zeEJ0tStUNV4ZgU7PEN0tKCgziRwBUyLiZ7q961c1pw80Y8ssjpBDwSavEKMoEG9MPM1z
FzlgvW0/2iXjUByt2MeNM2rzMBgVVjtit7ZtC1rUm1Ib3EX70w186yYl8GEew2crpdCGlHEgq0SS
x1zLvS90dsfPye4+flfoKrtL4vLBmZMFq9D//e8KcQuhl7PFU6dO6ahMPJI298XHv378QlPSmHzM
nLiNg+ZwEOgCtBr7cCza5K5xHFJ0+nqcz200nYAwJmhg1v8298l7UpXJsdYd6TO2cYwhup89nPl3
H7+4/+93K0N1q+MZ0m3svziTfBWFMx4HqRk6FWoKTklsXNn58K/e1F6x33MJ5dsmsNgTtKm9b9Ki
eSsOdTM06LmK8litnr85m/ESeggtBpDuQMvNN7pivfMA9BzWHIQckZdpxfu0bN5VlZWANLJ+q6Lx
0Z8ABNP/eLXIDw3GhjrAIUawgUV6wyqJwpfDWxpJPxnQumLtVLfOxfY39tmqocl5cJZi50nj3YUl
uQgUX3nMfAxDOy6v4TnL4ntCOcwQx/mBH3vPUAYt00I3F1iQLjdsafNDmhE2043zJ9U638gfkDva
k1/wYHHQCaJ+xDpjTByqf0xAJV6yfMtIlEF653UngoKSJ98ar8p2kge0Lzl4nttEMp5OmYg6So7X
9Uk5YWjk5I4pa6vMuZB06zIQUcBhc7pBPKCgvIvAv4BL6a++agmAHqp7taTLXRMXdcghpcMUXhD2
8RT464AjCDvFjibaPilTu5eiXN5naJzPbC9unt0nV99vjWMHaX+j5wg41AB6W3WPeL2CY0dpQWSO
5T1bRATuotgadwapFBfllvfKhZxfxMV0zMq5POb5HPDERrLvQdnYzMjIwRYiS135rbrOwEL4gif0
grpRJWnY2WP9YDIq22hUuF4ZqGuUEW1uT1/KxIh3rDfcq6qqZwnaAFFkfq1XF3rrydvUQFXykZEA
MrP9kHNzCmX7UJnKA8bhW49u8pQXfrufojT+MqryDlVq8r1ukNRqhm4y9TBQuM7OsPtxz93ytTaK
4lgWPQxH3Roo4AjSrb2XzOt5vE+aPADeKiiiQ6c5B+IhJUwtOxW2qC9uUv/o2k7di6LGgzr6QIZm
Tlfb1W/B6H1ebBs7c2eVF956EjYlBCutYzgdzplCNQ87X0g6FCEvGo+LR3ObYyO/TfODvTged+MU
E+gcBQTySIQryoq2bASnlT8wPzWU9308tJc6rr/YdWmibCnco+flxtVvq+dgBh9u1KsQnfO/74vy
WpfMT2JgwIiX4y9dE30jvj49y9p/mifRXRFcvFiFa12wluP0Z0aHmcx4QYdYP1mOc6LdhovfAqD5
aD7tuo1P/ShvTIriB1wRoDYrHN25E7dhyfzw1pijeStEZt2UWdSwIkVwUMRszJuP//jx/5lItbj5
z9WyihGlekR5lDxPUw4OhR0wAytKgC3EVLzVZf84BqI/cRRiVYPt3cKFEu61XkMfSgmMMyhFNW6Q
MrpXZ5iYjsC78/xPVmOAk8kYYyz1jFOqBolG+3OcJvkpiJzg2HblvPMQl0vGomEztQEMEnbgvHT2
WvZknpqM9rmISKJ28UJyHT+RSP0KiTWbIrKhCtD2wsmvyjRHvoOk5jbQxhaFfEIyCqUnDyyTPpQE
qo2TcjfyannIkQIYA4xAt5UepwyUcFkn7ykOb66knS2q1VeP8jd1q0Mpgt3Q3Qc0ZBhIZ4I92zz5
4cjE2i8GGYWQ+7dDIoMj1nD7LGw0sWb8GV3TfP74hfvoaRHZD2H4PEl93fLYZdSy+Mzoh4mZ/cfv
ALAww0e3rfbVGmKVrbmIJk0/4KcI1aknZ+pyl0+l8BlpJgu5ziMxUVRj58UiHmkc16Ucff/U40Kt
4YL51sadRrh0scbRMVZo5hvmJ75zlRX3hsmj2YwNfQgS61Q6ibcBHFvg+aYJsWf5PE/yh4px22Ty
4/lqfZpa7Yaj1TxOHbZ0zeN6r119n2YkmGC0SyLFx+wAO8ScVNFO8vxSzkT3P2TnxCG83HN6LKbD
T1gc+uQJdYGLw66KUn0nSZDPc6bRbVz/crvcuPD0PzKFa7A+ifmY+2Ha0PLNEoFvNRCa6DfBSwN9
6THFkeC78c9BtLB4Zl6xdg3Cp3qejrRkcIu7+GZBgMagh0gzM6APNhWmVcTKwN6BjRVgoFuenJsm
jeZz0mqI+11xY9CU782+pDhkFIE1IvjsjIZNEIHxrFebmcT4auCnDTyG+37cx+zJgnszZ0AVFN3b
SC9JsAODdQudpDdycaPOB2Ek9gRegY5SZk44VcnnjVxxnmA1Muo5lLM9n2k7Eadny4NDJt6kVx9A
EsZSPDWstLbuMrR7IumyBbaz2+MvGTKE7DBLkrA02GO4KPwyahIiBNCmewuDTcP5SuqqCaQXSpjo
ylOhrR3L2wjTexGyUsC3C9Vpb+sfjOaA09E6dZIylPmiF9Pv+Ev7bjIkKguPEW67jnw0ofcJjIbc
Tu4S/QgkXByX3HywYjAzKGcUa2Lc96VwTugYQdgYA8apaSDroFuJBBmgcny0DEPGTZWWu2Qx68so
B97bijzzwEhXjfzZihJSQZA/OvTZND5gvFewAAfDIcY851viGLnRV4hj0761ggl6E+ScMifVHMQe
oBMo7tjnd3qmr+aHsUwh22fnNvXjmEfRwWoQwcOJkgER9EkQMX99wpZf7HpCPTtp/IRTTywwtuwN
hd9bip5nYwQU16JgldZ69EFp4iGcbgSs+vIlscpn0/bjfSyjr2RSLbts9CFAd0wJJtBCTJQmEXYV
e5q+9I4wMvdB5XyO4vgrNlZYGc5MUJEEyjLPqbWrA1J2KrrVJCXRPY9YpjrRDlMT5tZKo0Snb1fK
se+8OfvcA9fYT3n3lHXDj0X3XIq/ppRqoWXtZKdTg1S58XhSHPyMoUgKHMh8XbqUEX6K5bbIcdE2
qL1hGKZ7o5aYAJDl08BLPf0ImnXEwUYazEC+zbq2xLkZU6YTU5eZIRthTrw19KUlx8hiREGkrfPi
EsyGa7/47MoOXwaV1QZTOVsV0tw2sIjbXV7Ix8UQb7M5Sp4Hvg0ouNrPUqCTtR0k+UpNuzkSPCyc
9fI2frnZTD501xZ7OSM+ZTjNyMO6tCKCh+bMPOPn9h2JGLeHr95Ncmd3msxJlL1Js7MHCwYAQyAy
E7ZYpU2srAwyTP/QTssLyWWPweKH8KL7o+on89w2Y7tvEOo+QHHL1kKS4ReMgjRlR8pUm0UcTJYw
trJnTQt/QYrvoJ3bzZTeZyfIqEllgJ3HKrIdj1UX5Hgrzm4K2VG0y1cSHPuXLE3ce5mM98MYxI+2
io6BO+Wfiq3PYrWLOnmdCp4JGPyz0DbYJ08mRXxJDNplorYDgVofVhG9JZsrst8qcF8q3/8mIXzi
qvGObd579009bMgMSQ5L2mUHk2iOqbRpnyxV3KfLeCEaTD+XrAw3RdV/WoiXuSSi8q9iSKivxAqZ
i8JlEEHYeBRKTakyRk7OGlxFdwQllWuxJVBFss6fIQiyN+D6G6yXIpr0HnM2pP3mbIwifnaX9Odg
OIxy6qW6lbW+cwd/CmebQAWzKX9UWLKPDPHUEfrUNyRbOAkax/xsx0u07VOsFFWujk0Kwj73Wxbu
+qGi4AI+zeRFBF/qddkRQXhzdP2lnDqSBQBwHalKf9g176bGtLv1y5KV0bKosM88CLx9TxystB7M
uDFDcAZ6RwXYH9PGOFgjjMc8hZ0hYA5CF8fvFZDLVKHpTmuTVTBbopG/6JMbV++Euf8QLaSdPrJu
bi1Br6TjMUdNcup86Cy1U2yLpHZC2yqmveNyQrND8ncqaTyqCVwDuMpJMsj9gpiwGEKG6StmVoMV
oov5zj66Jz23ffR5FuMTKbLtLFugL6pDf1j1RNzi9iPLAJYwSdL7jull6jZsuLR4jK0ylA6daNnm
iBe6nZvydBsExc8clVRbokWPH+A3BxQfYl58GjrXPEcxruUYKf8eYepWteWtcqc4nOf8jFaHtDLD
w1ZaDawl2YeD88UbHnPoRsnsHZzU/hqNfHMJ4ojC1tiRdX4yeXJu/ZSlKAPd3IUBsoxc7dEmIbOD
KSQ1NBNBmJTqGLVGcnYA0XKcs8/MdJt8bobVYkIpUrO52ZroUvfjkjMv8MaZo4YEA/i51sE2UZ9D
SU1ZtsvmgkkLk2dP5n33SppoFRJCmmNuBLbgRtkvcA6ABybnu3YxtQ/+chbFTIdOnPyuV3OIz6e4
djksLV8LD8pwEp8MIzeeozb0c3fXpR4bQ4KT7yVk3G31E9vjNtaNuNa9ljskKmJTGeg/pWsfm/pQ
8S3dGxWlqtNxeKOeIQcDStDgpWzPMKUlU7AH47IBhNJuE9lwhSZYRRmDYgcDGRBpC61ZS3utJBjC
2h9OWEWZp9EWxTYrcQOd0pbZOA2Cl6SHtKT5jD2xhyAdnH0Gxg+IqIBJAeSrU/uugCCDq4QKLrPb
KLQIU5WvtsZrxXxmJUXn/MTsK122z+kamNA+3V+tX1l78JxrkOWxTMuYDUi6HhsKJXUAPB/e0FiQ
PkFbeu8qsJ+Gpa521wFUkDES2qG5jrK7jXiZDk49X8RYF3ftYtF/LqRBo4Fjb4iWfNPNetzJUWMO
i6EDLuZs7f4Pd2ey3DiWZulXKcs9woCL8S5qQ3AmRUnU4C7fwORyCTNwMQ9P3x8YkemRWd2L3pZZ
BE2iKBdH4B/O+U7QVy/uxEfF07IXXCyLL2JgXq43p7mJBJ75grN9b8+XjmcOPU17tFz+tGqwQ8/S
m9fBRPxAgXsTXcw+FO3elJWgw9UMn4FEzeqB3hUmW7ty8STzxkZ2tajm4YyxQZlw0CUGHOApcYkk
tHWKzqDxNl5XnVEttJvCmh8A9DUbky7MF0IhbHDbwpeNlV9qZUy7fnLUqhYuJpGkpQU1veCY9q+J
7zQ6xKMSbh5Jdc0WntYTQE931XWVuRUWY/dpZJNDyru99fL+GiIVfMqlOKU1z1tFuOcx0CFtj92m
0fpvMU+fT/ARtpS5XpPgchpGSaJ68tPooj11IQyHOPn7xe26/t9/cLtOy3TwqKY5EjSRahtLsYy+
ofxDsgUT1waVEi9f3q68XVSuR4ps4wx+Vxf1rkSieUtruCU7aLMBvvr2/e8rb3EPFeeujEpbr4+3
WzYB77MIRuE6d13674GjxYqcCRBQS/YDyU+noOQ0meol9+H2l6Pb3bl9qedFfsB7wAkETMvvi6pf
vLq/vyfBudvETvKhLXG4FQ/viN36WmNO3hKdY+80scAr+NnvG+hVgP1GwMJtWMn8eW+xjDXg7ATh
FbeLaPnK7fozKTgJZb3THm/5CfnytA98/DPQdHv3lqtr6k9VSoo9iffkuaZo9xyHUejy3e2qwTMJ
+wytJyuH6JPaYQp6Li3xIEs2wYupalcSbbzvA9asIHvfndn+dfv1W16JsjxI1sVzY5lMT0aKY5Jz
Xf+msvvf6rwxKC9RAf6/nTenz6LtPtLp76EGf/3SP403xh/SJbHdRrZnY6r4HWkg/7Bd4TqGjVrT
WpTP/7LdmPIPwxLSQDtL+YwsH5XxX7Yb08F240lT2oZlIN5G6HmLmAg/y798Lc1/fP9fRZc/UCG3
zX//w/xPySPWEnTgni1NQC2G+E+jicmpvya1OeQMvMG5TAhiWikD9MCoHUoV3AUyPNruTFSKaz3n
KgMw5xXRXh+BvWbHhGb0gGSjp45Mgi1ncOghskSDgReOKQ7aGctk+NsqPpjZuKBykqdUazFXj7Ac
oNczIYYqMLBsPAzV8Al6PDa6mQyJf70kfz3qvz9KYen/83HyTNm6pwtHWMSM/YfGfGzsyU6F5xxY
chtYw1tIvCkEq+UQwRGRjBiPFV/LoXx9S4YJb0ExkC98t2rWfYp6pTD01yIwl889co+aLdG8uJ4T
8B+RE2xqaRLjA+lyMaT6Rlc+FZr+04qQMd4usjyim5Gjvgkk+crwREcxHGItR7atKnb9mK1zBznB
FtPBcNLIHZgIpsbLAUxrcjmo6YEYTrJJQ+679Z6aALprhr4bDoXPHtKxo7NcSFrBYz75rV7ABFsu
bl3LhFvnMGuPv69mTpEwXA6LTQJOCbvRvKcwm4+3iyhuCUwzpOkjvqqOt4seI+nRDILHkSTnbcCk
oVgZTp5smZy8lXvlis++JBFusjjyYGtpj+FUfS91BhJJRNRM1PGcFQuMKsQdclSLRxMkA4KjtCig
F3r20ewqGwhBNn8YVj5t2vIxI1iWfSnhwtA/rk5GejOqgOBoOXS25IijOVm+nVtd/u3idp2m3HVj
0e2ovIgYyzcP43KrhrcfxuBuL8YIN062yDczBK+pmOqNa3DjFfHw4SFdiCcYSCHH49W5fTXNM5FG
31Ka7W1r4AF1bCqUEMd/ky226ZmZwMQJ+RiARzk2fBzYdo005vFSyJn03EFbvYu0MzY4YHlGDFhX
k2k86i1XzbrYgs7oztJxa8z7PXjp5UI5eg5nrGSsh9vy1NHMbFPVvd6uul2E4cgP85kMSNt8nMml
KNgeA7i6XSjvyygp5TNIfzijfijWpwfc1ERQ07bqjELiebYBd1EDWIMNGiO0V6KeT7EJXbtHeY8A
/5xxNgckJ354DoyWJt2g2mYcvOT/aDoPQ8UGkBJTey01cBtqcJJDqyALZTGKL5pTu5iTY01/OoEc
CN059ktmNSgq5atE0rkNioS36sxGOJ8BCSRtdCqm0NkiKn4Ok9r0ITB3/vjQkT52ROZwhxw5Rr8Z
Ek9AxqCgQV7x2di7Cc5vLRvJmdaBMbJt0OQ6Hdtpp7E+phup2YFVpq/V04Am7Edn0f/PgTfRExHq
3oVlfTSXoKBRD1lmV6LwyxGnPeHbRyWx2keas3h6v/H7AKzCThxnB8JXbXfjJqqycd9O9q6NbOuY
MNNg2x0Zf8rABR0MAOetJUeyX5sTwY/xWqj2tY5bzsUZPJgOmq8H3NXD3di5/akbIqZxcfUUKlp7
qk7VW2qrDcVLlc/eWikcsqwumZjTjyPr29jhIFdOpt7MIaIixMDvVvBLgxCUQaSZcCB5ingXy50w
4cfz+KB2sLVHmJVBbQBKPrHPq5YLrDeMOyZ2dLPyZVY2sBA4UHLCrPZW3m+CyoZFPeaPaHndda6n
QGEAIm7y4hkVJpblyCYCvKQjSz2INei9SGc3em1rquwe7sZ0BA1jHmT4Ei3S9zEtTk6bfskQRTzQ
9y4NtE0q+k/oH9thDpe4neTcEG221TL5PXItvzAMY0u+8qu5RGJFEBfnKajWHiT71S1Dy4sBuYnE
eW8bkz2kIg0lqjSB/jt9HkJIt5X5gl0epLmn7dquupRdhUrDCz4n98kKix9By8FXMXlb3uZTVhzR
4jU7x8t/FLrubLA5zEdSZ/vVkm/NcIy1blM7gKRm7iWLpsS1Wt4PXc6ugjDlLqICRk0jhNNsw0a8
BrGGc98Nrq752hhQm5jiN1tZAhTlDXFFZcZtyViZQRgCRwUAB5MQyzYgK00vIDJ3+yRK9bUMyMuY
qw5WBLpYC83rOgFQToL2euTFQa9tM7egpOtwG2Wa6fiFnInRmMS+cuv2YHW8vQrzmo3WuC4c/Q45
yRvk3SRBdB6rT2eKLpaH2ChsEtgKI/JNo7DvHFsxXYX50rSdWqcITlha9FsT9+LFwGy/QXPQruGS
zz7dHew4naZHGGrrjS45coxdd/okf45JyZqJqPE5hCeqh3qwlnZ/D18Of1pKoEcqySPKNrcqNyU/
b9+IYl9PKLbUxPaTEa4hA6gwGU6puPomjGhe2URGrBAXrOqY8iXq659uHbW+idiGllVTm1xL2k2c
9fMh1Zx9Eqp9BPgXaRJhdUXE6rYM5ruxHpYEppS5CHEYZu8uuqyRXY/keDRDA2iZwoZSYUyT1cAE
yEIhlXM3Ju3FjUtSkwpNe3Sa5eeJcwEafBRqXlrTteZ8BAHOVI4stt8IMN8OtzdaBdG8jyn6K7Xp
Ujr5zBYNhEaOWy5d7VAVb7FOZTZcRz7MK6ckCzbygofBwanvqOzOcrtNm2XSZ7O5oPG07XIoQxRU
3o/CyV+Kjj+XfnMky/XUGZbwH/BDfV0/sJcjsSg9IkVcxk0gSslEGsB58jnvHnXCM3YamOoThDu7
tV/jDKBBaLGJs2PeloaVamuduSZyhHlXwrtCnEVITcvLr+IEREbrkPhQUBTqyI2qiSiiiortWwb8
NboSGjjcD6H3BgqGXdGcdxt0EGk5bPEBf8+kQi1VaPWma0xrJyZv9l3P/c5iCDNcNxCUnjOrm5pM
POQR9MMS5FacezulhudqgM4Cg/Mrg1lZoh44p56Oy5GKjJqG0WwJNTUziEdBWugcEpWH6+ZLS1vr
1IEYTdpg1+JPO4SduSmKnGVNbMH9bUzodi0rLhpDuQdb1KDFYPJD180OUaME7gJFFF7Ynl1ZcQoh
7ycXe0flZ3I77jzBExMnFXjU5uAN8HcJd/UbPRwYfd9Z+BhfvTI/eCMrImRw63rBqSf2DLJcuScX
GinTiF+IIP0cH+R3i7yjQEHOYVB+12bojgutASEbe+XRS9HpSjdy3l1snKyfQFaUoCvAW5HODvgb
KsN0Vm5AGEXMvpy4aKbyXGgLBcNN/AooBluan/iyIwalqNCbX7zoTyUQjXShaUiwGhZ4DeKTim2z
rLBYEmM4M16aW50HlCMDzjFODNkzOf2cGc6tjJTIMEAejOaRElqPLoCPeSF95IVuYHhi65+O8j4k
xrmckcR3yP6yhRTiLswQD3gIaTHGwhIh08MhXkTcaWBGPCett+VCHmlBkLBB/jGCJBFR+n1i9QYz
5x0nPXI6FlG91m5ZyhfrdOGahHnzYCykE2xO9prdKglbTJAISz7gJKqWiVhM4YCw0V2oKQJ8Sjv9
mhaaSliAw174Kv1CWkm66gXdwesIgqUAxVIuTBbZ9j9b3Fq07PBa5PiqwLe4C8fFnIJdHGl+kXTM
5WBIolnBYISKdGHACAPWTTM27KlQkA4LKYZCn+xh4DH2QpEZFp4M44xLz6g45FXeFgtzJgU+E1Zs
AwMLwytYGhM8Df7FC5iHTRDCrUHxMyPbjc/WwrQZF7qNgbI8kt5n2b0PjXjhfLMzFxqOAxZHodip
Fk4OOCWHURzsHGrOL3eh6cAKInV6Ab478k4C3NHSx5ky+9pQjpULkacAzWOImFVUjr1Qh7wa2R9z
8YaWJl/HEInrHrpPR2Ea2uoaJQtvRn/JSeFhy10coMyRNgQiqML5UDqImpyFHlQkcIRgSDICgizU
LYwhFlfTwhzqgQ9x3lePQXox4NQsbCImpj8HYEUwHHV2l/CLFCCjYCEa2aCNxMI4GjDsUBjBPYoW
ANJCQkJiMS5kpPnGSFpoSfPCTaoUBKXUZo8SGEniIytdtVF8gONDfC+52kCkzWpt6mRoxWG/AcNV
wTVNeKoXZlPoJS8VECdzoTnVxsOQUo/XPGa7Nt2dVbgXiUOEA7x90pT4NRO0E7AcOoY2tKiRDDak
66ioF5JUSMu9kKXMGcaUAjblAp0aE977MKiqnCKmjnjQCLG2+kKqgsWERzqTPyxTibsG5BcCd1bg
ktSE7L4Yq1eB0XbV21jy6tDmSM5ogDMmS5r9ZOLKVHANdh1xIIVq8Szp1khnp12jQAfvRJQP+LM6
J2MlU35dW8+g2XlKORY6ZKA0gUIjMrZrt0DLnqZ552uFc19qJBAjJ1nCaeuLB10VF3wNCyYW72EB
q9s0xD1aI8q2lN2eZr8g37jTa+8D89Cjm7ArcTKOElYmsk2afiTY/td9bL+Bh+OdE+UocdCdhBjH
j6xfU71G6jUX+y4r9qFJ1Jwi9gp0ZbmlN1tprHwvHBznkMoxNDzoPO0lw102aaxjtfELJu/bEKcD
Y3XjlTUaaoTm2EXDh2ozddCmvTQtlgyDDYafKEVsDjH5t8NSlBiAMNMh+wBVcZa5XOgG6BpoEQkb
JKynw+m9hAxpcCrJxrgXhnlyu+RglF9D1kzPmkbNoQtjHTcHE50BO3Cn3tVZCcbcHjagHRkv6yYT
AHtjNBoROzaaYGN2gEaxBPc4vk8kEqxVMEM+7GLG6AEL9jgh+UDEQHx07CqBZNrO0Gr0idTq0YcB
kjbtNN6kIBFw+KB6HBm7O7J+1JzwpTARwhJSCMU6vSqAbqYDFJNexMLQsNG3ljv96EecE03i8qEf
fmSd9xSzhwNyemHhz33IyI0xSxmwD/2BJHmlDyanMPyUPojv7xkokcaiccjcwrfqiiFnTdkEOXkD
TO673gwblTbSx+g6rnWPIq/FirBtWbOcyvYtzoYCV910NCaNvaQjC1pdaujw7KSui0licimKwktH
L0f4BAF7RVYuxj/O/onjT7pJnF0Fssni6K71NJdOBksUhWDh61TYtlT9Sjhesi7HDnrFTCBHSGqH
k4tNZCQ2a7yOGjAgl4H/kVvIWCKMBJEYFQTBt/YbE0TermPsI64li4KCZOrmAxiV74jjOL9q5QlJ
nbfyOMcqdEfNWKZUDHwcKAs6Qk8Qwqvc5eO/PJGpEt/w8kA1WxOOCrg3owMXAdkdqUpoutksMHpE
tyB+WDNaoyAlJBD74hHeaMU/Ib/Ybz6peKui7FNjFoDahz2iKVDmWvaDrcuSTCCCgRx7RmlL8Ba1
/WtSwiOzgxdpOtNmlN4zAadEptdLZnsZPGoVJ7IRDa9NW+TzCb+vZu9XoMWs3K8STHyXEAI0oVWs
hsKB/oD4m71usIrJskFeYUEx3OvoFv2GwSMnxw/CCoJ1KUx3ZbmwEJtU0MtzngjHEeeyw/MWDEhh
UsLBgiYIsFFYE3O3io5csf9H7Y63pDOx0iZssAc7CncBYmWFkH8lHfVTElaA4jK+BssnMuybfMkU
PkEvMXdTEDE+EZyQklcVWq8ZELzdKCuyY7SPYcBgFLQ/4mhek7+3L9seVSyE2umOY0jfaU82npyV
HufPU3ivCENFPUPqUC8X8eweGO0F9A8DOxj5wIh+pMBR4V4gFfmitCBq7monHVtHe0T/X5G+GbA0
rlI0sETK0YecajQdk8kTSJX/MhoFcHSUn95C3sv4XCUOrx1cClQtHERnJBUrwBp4P1IiOku2aEPw
RV2FGUhO16oNwj1Sk/SYS7muUPF1dbPHZXlGHMfbkcypvTTmF7Man4Imvm89C9i1E30qIhkdEkfB
n9tXOD2vVmQ9EiBj2t0r8W8QvB2AzDmGQIlDOzvBDH1q0RXi40JAnItrjt8qcEsi7wO4taF7kiNd
68y6HfOCyII3HDBbTDeMqsYFDOvHUftJjAVdiw4ryszB63d7qbX3+vJZMwmbq4tvCLkJqRvpuPr2
Yy7xa9ywkHTlD23XqE0v22f0OC+B8aQ57HatUvtq2unOCz0kKhpoe9494zpb9AJhPX6krAnd2Q39
HlqKUWvvI2IR0j20kU+G+ZOCzUcbj4OkCb9XTnyYOgSwQNOWNX/80HRYmp0v0acXlziRlTLC98iU
DwEdZ1yqe5Liv7AHPpXLYybI6cUpk3XecSD39HhlwFUh08jhEJ2wCBNZeawK7w6xtEF25ba32l8G
+rqMZ/Gi9LsxjAXKTXVIKVP9ovZwSxXS2Lr6GPr0wXj94gFtEoMz5vt0INkIxWCa+3UzYfvIElbg
4HDMipgC25g2Im57pvqtdgg1+RTTK5iVzlk6edUCY95nlBxkThk0HQGRMMhgDmM9A4Fo1DbUU33B
Xfu9mzuQYMu13QYVCgCiB/AuwtojYCdF0jXmiPmDjqRbbPlvJZFFq16l1S5VxRGjcLSPBRkqI/vd
wEG/SonNCHMePvKWjJWePCSP2FImkvTmTk5eJitNqlednu4yWNVriuILYpXRGmKrx9arZ1PRaD2m
v1GxdU6xmpra/DNDSQo5d4R63Bf4mWgltl5P4F1cWVs5p9+apGaR3VyrAMqCQ/rE06gfORA5mwwh
/m36tK/K8gcxY9hCS8J3p/KXRa3ra48EQdwZCvAs6WnxOmr78exF9a82gv5oxZaxKycSjyszde8C
inxqrfl9JHTqECSZdbFm3giVNz3kszWfJJ40LRfJnVLpqq1ZZYuJcwhH0Lz17iMCm5npY9GFnObu
ShyJm8zEfR3MxrQnsSof20s8t8zSUBKA4yWFsyWfdYCG3qVqZ2RfZgR8U7aF5WcTg8qW0pLHbTK0
BbzfqTGhnmbcLCGS+EP5LPQugAmYOVtDi0GB98nDpMmADmR8HliMrksD6D7TcSJBnH7DMc5bVQW/
pwZw7CRK+7PTKyiHclyjRXzCgBidYlQwUZIcFR7JE1Uyh6+ps9Dd1D/jfPylGMsc3cI+uip7wNOV
rPoZ5r4KdBtci4OXJXF/4vnCSugFr4VnXtyw+zky+zkRpDr57MWa7Thgi4VWsQoEyOUpMBPIvE1y
x6bWd8TIUbBs3hPimjAvLkEvzIvOjZd/wkLJsOYxlSLqCmcC5kdgoNkjeF3rzkmZzzG+3qaJke14
KPt2zNQVWjpCfEQqcV8NF12LXgN0Ichax/c2qapzvbDtvVApIGA28bhkjZmart9Hw3TADcaw0up8
HX9Si2ZYFxEJAjVVnJlgqMLUcB9XLkYzgZ4GzM6479yKcj+SG2sQnZ8k1nSFtKEtDsREV91jvPjs
a3HgNIFWQj9EhWUfivqrDrXhzIv3a6gS0q7KmWWGXFA42tnFRH5yve8mO5Fdk1LiY+Ka77rGfhmE
Wd5LdSlMgXq7ow7Pd7rOOiEPU5AjJasmL2rUcexrPqH3lZe1xyBDR8ni9MxoFq2Th7S10atfbjdd
gbhf1RTdtbPzXefssZCoUw01cjXwirr0oLId250Tf1Ztbj0q0aHBjFE+eF89SQAZlBcASXFFAUwq
HALdY6h1yDXifMYC1F2tMnxgdDTsOBSubK1FFt9rAWt37zmQKLxEWQ6PzRB/xmkBB9zWAHxzih/S
8nWIIwZefCSJJHwnWNfbLdvCdYx9bxPr8nvslM9GW7T3waga3Mic/swp/B4GdBx6aj3OUExZskQ9
SzDkLUEcfyNpIt6G07dwBrUSMkSdlfsGQoDcwGgdSSj60E9AcnS2eUcF0cE3ZRgBOzouqkfwZgM9
UL6cJ/o9EKHpQG65S1QQ48tEgweElBep9hFYd4Rub8INaER34zDtbeC8wDWQGcXlnOLUDLy1kc97
iM9b1Vbhus4GzEwzn8nqYh81MDOrJKgQ1rf0nLAkz4r8Cde6NgijpMsI3Fm6ySgdyRtUlu/Zrufn
UfNpadzPKFEkjCek3ejWXU3WM4r1+SOHdJIi/t2bASwtWX23BpOYqWAhMjjbUgM+XZlNtLc658HG
IstyCY28MMCnugYMVgI+UaKjGyZGciYHfeWSyg7g7SsoAWeRHbw3kJMzr0sv0MA/aK6iXUJep+vI
91EhyBWqFIwS0VaHcXJw609ypROggrDvdUFUhqlZ7sUOHmqoQWe9Kq6Ym3EXTSYfz6S/92T3IyR3
sG8QjU2a963K+/cSvuI5Zdu9lgnbTlGmW5Nnq88rCO2FYrjT6j3z8vI+pW3eVE2w8yJHX5vIXnoT
EbmyS/zSaJp58cZn1/6RRvMiq8b1ZWrd0bCtnPw2aMKohF05CR/Im7MPc9bSKI62Go4Wgjjh4ZDj
/tRpMdI5PF7WZK0YLAK1Jy0syRnPJN0yt5+ReCE3t7ZpwLreGcGAvJWMqr9FvcVvN92m1nu5ibsc
DaGuhlOLoT2p0fpFg8OZfqg2AamGuTEQMBOXzSGqKmON9vg6pKFzSJ/bLCXTgbhdZzDzU8CbZNvq
EW5aQxNQT+TGmeRLmlnNfozJSq0gf6xg7uyE0Nnc6PEHZcO8bkFN+MI1H9MqaNYx4+ZVbFCBqB4f
euLm11RDnwjHCq7FTNwqazGIdmX6C2cC0aetdm2z1uV5ccMHF5bKxusNho2JTWP6OOeWcz/HGJ6L
2b3aOWcDiefLoiHkoI2e0HJdRGTioxgo1MfRK9eBEOG3tL2vu6+A2vxxFoW8NNq8qLUxACN6mFId
GK7oeLs9lu74ZAL1JViHsdwQms19pxs/8wmUXZxq900HU4SKH1oIp2e0c9FdpdK9UwE1soYKAMrs
G2EmdkNh3BcZpibhnrM+YrwtP9PofXAxMet8mpRVmRv0rBvsfPtwoAbsDNTnkyjqFUdaiv8kd3cG
8eWRlcp1WyYeEtAmO3m6se2+JbP6KmosJ32LZLU236RdFr9MJz/a5BZMdXmXRC5pR2a3c2ej2tUa
hxdVZ+BCjbXSRrTGtktTFFB6D9OKZ4pQKg4XOQoaX5t1Z92XHhNpmCPZMFzLgMNPS+REaI8L1wWd
RGyGP1G2o5/uDcg8yXyXag1j+GnxCE792XbCaJuM+bnrAGl4NA6sN8Z6PYXaIVNdfzLSedfhVDx3
4/e6aBB6UxuRTYgnwIn0c5qXcLVy5nrIozH3W157GnotoiV1eaUIXGNkbB2HfH50BlJDCYP8SbWh
rer6PetggRHrwlaocI6hDrOAvntYi9HapVbCyQ/OwKO51DcOIHf0ufFGDYl7QS7vBxMnvKQ3s/sx
mF1mDC069o1InT27tY+kbtFc10biJyTRiZj2wwjw3UqP7LTGOgwWm2D+fLMFVHKNm/kBETvycUJF
aI15OZNq/sm68o64xORzdvUDPR4nsxA1KY+CAqe5TlN01lWzVrZNNnKDCKDz0oMDyOFCVDfnvnlc
Wkaknam5hegY33HWQNs7t/eOU/PyGXykU/Jx0KJagmNFQ+ghQwLylURXPoiI0Ykba+YmqzBa9YHa
s3VnaQy+iTlPkDPngeRuFG8yKe7tMi/XjahZviRnzCnpk6sfZ8x159uFpiX5EpZAZ9GLdaR4L2Bw
XlHENmwlU/LSJBMCUCHdEZIcmau5iNkceeVpdvG/Zi7UA+X8iEuX3W00mw9SJ2AoYa+IaoBNBN7O
Uzva30NSxGVGviLmuvvCTvJvKHRXdcvyvVhS9cLWRkeybDoN9lWidyBwt0dzuq9ZER7lItefgFBx
ZEaBztCkOHWOs5Jx9Wx2k7tplNTWTOqgBBy1hqEXQai7ynaQePdl68cDlMgMfafpwqdJxeybYzuR
4jTeOx5+07TRsGYA164oAyniPkFpsLdkjjl0Xb8x5RKjoghj8Ry73ChjJlxsokCpmRBZxnBCl0I+
VJHvQtEnl1DzrqmeM7VGbU+ZLBnctUT5TE6Lumck7ydeNocEWDUqJTDEEQfZBNXldqG7ySYG0dXb
ZnyAhkFylYmnV40cZpnJWejCkvpbREXlTH2x0wOmOFVkkv7hkVmrN+YDZglxjsbhmOKaXpl9RH8a
tMPKc2eibUx5JkzDn4uifggRS3LcPZYOtdPYsgGZwr1XFGJroCeYYGeBbH8NK9s+Cyi4OzbtSET1
7N2zrWqTQ6VjtxMiEJ2kWMNs/Fay2AS6oW+qXpzHkQMTMM6D9gpJxiBZOu8XNgTUwYaTuzADPmQA
snYZgc9Y0oIHLHXGKhzIfzRkP1/J0yGiaTZhFaTuE8j1D2hCnbBelUlZqzRfLxSWbKfLz0nrHTuH
1wcv0y52oGuRSP0Q0iPUAv+sNPPK16pM29uj+jLT+JdbLb4U3Wk2yiUf2CZfhgmKxUeAtM7dzLup
FPbPLJcIbXLIpwXyM11zz02NFKUI3YOXOm9FHDNdauVdl8/hE7GFRlLkPmUxR8bspTKa4YL4S8Bc
FEDf2YTQ0RXegd6fswwHftaw5KYCAuREwrCwJA0Cwajf5MleCV50QMJgHHoWajEBC34XAoUanW07
hw8dCzLGd/DPdk2FPLDIWXBUxaUenIluszmFsyARgVNCp/fRuo6Yoai2tijqSEn1xI5cn2wrwPN2
SxiLyKcDa0CW1ZQHGpvdbV1ewziYt4RJWdBeOmNNPPub4z2bBqshHfwd+a3sawqmG8zVZXKwzSL/
kWeCbrv1KeqmKy1/cGgTtjGGROBQ4zdVQV1fXXiPSdIcmLaEayMZeM4EvFkM8euYdQQ9ckd9q0/3
My7xVZI9kqtFpzRGxwg53w78OhPuoSG/fKLpddD7eeNqhiftZ4kOWD9r35zU0/a6Tf3Qxdp9ZePf
DGyOu3O+5C5jtygtFT33zkBknpofrbEhihhP6KEoe9jXdkPpNstT3sXBfhl5jyohj621fsmJ3j6T
xb4fSmMH6RmnKTFJSWEQmJdkWxr46SiXi9tXlt5NxxawNCpHvW/Is2JhapAReJMK3y5uagykCQTw
ZPrIEjpCY1SbCVw3gUrpSMfBwicuKVgj+inUYaToYPskIptAs79+frtRg59i22reC3edlW/CK3qU
Y8Ho02geouW721Uh4+iqx5WXLNK22EI4lLnlFtsdSyqOGQziU7iUg0MaC7xRLWqO83KBphABSGLr
9GEmHd/U9Ucm3N2fF69Zy4P2FvVZoSXPbt21WzJv5j+vkkuK8f9qCbQAgI+a9l962/V7+/5fqJ7j
drq855///Y+7uGmW/4gi/7sK+q/f+6cK2vvD0C3D8EwLZjtxoiiah8+m/e9/aNL440/586KNLtCF
RuiU7T8W7bPrEvJFIyUkIOJ/CqD1P8DYuqCrhSWF49re/48AWoAy+je+sG1J2+ZV5J45aKCt/8nf
duPKThXYqYwk070cWiSBzkXmLaM3yhIOE3jiNGJv8xHoF+nhh3Cc2GG0kb6vhVgQn+SaYfVIa7M9
QY7EHd6WB0dT7xk7GhaO3efI/Boo0Fwe0xyFxhAOX30pinMzqfvMTeAvhOm8Bbyh0zf6UzjtJt6I
m0jrL2byXZ9KgoJFuZ7HxlvrtZvthohhb2t+1SKbt6Mdnqwhz072QxcCXKGI+5FXy+S0q9ztlHTm
mk1f1H2EYLfAuVhPTjH2fh1jwTNDpnfBDKVSJ9opp+ocO6haUufgXKKf2ztGKe8TICzEQsFHSCLq
NC3ILqlmpw+jTbqcNffNLh6Z7c0ZeEwjDz+02pBHK2/NZ0x08Z70rLfITOKLXFIc3CCM162hx2t3
DKZz4s6ECOJYJ6wrP1h00jF8YNyDdaJpG2CXpBrDJdynI5NyDFXcuQqvj21Gey/oGMdOWXsn0vxu
km3j4ye9QwQEPoJhJYjB4SGL5ifPcamakzR98vSfI4DNPir6T+hzSG8w5Vqd7ueUt4SDBfR2gIvX
tOc3RycIR3cVj16OQkSg//aWU9H0bKhi2jEc5B8qyVzirOSTdhqsE7s/MfQbH2ayGbfKjKZdOeLB
mCvKtlnLztJARoIkjZEWlTBJmO+MU/3breHEXGwSOE9jfM0DWq7Awk6iNG+l8w8mOcMCbyEiQ9XA
SCXxrJtKk/upTtEbi3rnmTxI3TQQKjoRo7gwRCAXf/SRnZzQoyYnPRr+ugAAkv7t29tPb7e73eT/
9u3tBwF5SLvRZtSx/Euag3At78fSrzkik3P673/j9u+p209uX9JEyy07pet/3A0rgcwOSOUbo5z8
+Pte/L4rpBdOi3LaXP++7vftfv/Z23W3b62UNoX1CADm5Z7+/sHtW9DJPRv05Sd/u39/3lKbMSYv
4owwBf32+4Z/+/J2w9ufmVkWaQET/FGAx4g8cupuFw0pY8TBe63vDJN+Hhhzrqw+l+t+ojuwpc3I
h+l3kbN9piL5faFNVnp2RcZ1WoVYN7P+D3dn0t02k17h/5J10AdAAQVgkUU4jxI1y9rgSJaMeSrM
+PV5QCdtt/Od7pNtFqZJiqJAEChUve+9z1UUF3lu6C2DoGr8nj1zBH7n+iyGxHHBrGhadwEW4r5+
URA+1hW1B7UScQWTrTvRLDxHQ5GvCX9mhgoE+cS0Wjtd7wlAa+sJ1QZGpYGcemc4EGcy7VVs9uvm
ajrFCaqTvZQxoSWUQ5y0+caz4d2iwA1MUa7qNn0h3EBsrz83G1PuHIIKfUcbj7lms6ulGWy6srdO
AdQC2tLca9LcB9g/0vilyk6/3tc4sKaZhBjkGlIXnX346zknbNei1dVhmF/BnOy78qB3ponYRQBE
jsj25THsEc4aYcKkYN7v0xCCG4tLWJKsNHIv3vgxBdSytqfllLr66fqq640uU+PnQ+GGMeyR5JW4
ArwYcfre+1W2FZmXIIpAmDw5WAdczz7WJv9GvdqROrcgiFRsfCv/DkKA1UuFoh0NW3nOnOQZjYzc
qqrPNjW84cWIChRqP4QOQCjDCYTDcBrjEI95VjyC7B5OxXwzgP+gGai8tT2/wlSXvpvEMWOkP9Cp
vgkvUQ+5RvMbutldYe+xZezDMQ9P8XzTgY8+1DR79ME2aPFoWB2Z/eQOb9hFoHxklBRnkb+hhGJR
7W+ZvsJYhGqz6XNtOmmjgZlxZkLWcZbsCTJAFspT1+enPqgWukVI5vVhPB/513sfWNmhLhcn4pZ7
DYReFMzCkRnnmXs9FkmECbe5pXf7sslo8btqY0RduOw6lZ7gYQJ4m7R415lQkJoHjIZ08jLrNA6T
sR+zfmcVjSxRWyQIMUsqSEKDqloK+/l6YClB8VCGVMBpbKbnChfzeaqZvmIDUZvrQ0ujBDoSu0v6
6JidGzpxKFxRcGlQO2TtB0TDBncphDDVps26oD+EIhahEwRh1MNxme7JW6jBuKFdaovAuHXs2Vcn
0hdUCkDN/PjWBAezMxGtEaceM6EFVoPxcfY9WPOTFHrgB6s5x6KnElc1AspCPL+mrxvMkvO9n0/+
enz9xfhqYbz+/I+XXx+afD0bXEi31z/tmI0DwgRV0R+/8Ntb/7yL6fgJCE6IZPLvW3L9e9c/P2UZ
m6d6v1wGMqroD80+yut7/vZ6KmnGkrjkYBnos3NTqzBWXW/c2an562EyGx7/eO7605b14taywjQl
gEwzaPP7YEBZst5gCiLfIh1IJY854eRHlQcfSBJmpGX1ISfnjQJDd25B7xPzE6XbeHq1IZ8OfBq4
JoS+2laSwcG3wT7E1pZ0h26nfCJ3SzzYBAMVS0p66XqgwrupSQrfZ6XxgoBtL6lYUUtbWZOBED80
ApQr5X0n812Yj/eN0aOT6js+sxbeoig32sSaEYdIqwqjpYSRIRCi2SgDiiqWS+GkMaZ4n6X2iYiF
hvXYAu1/sTJwbcUwLaberfYpRBDd6uSqbnj7AtCqnJXgdmC+9nBqUKPEziZz1pnKdAhiqIerpn5E
7ZvkPjV5Cpdcl5udxOoJl6MaEGy5N3GhNnR40Lxm2ls2o3PayPZworskZyfUzmw0pgUgs5WLy+vU
Em+vMxAudB2fmlEYHV/7XlMuBYWu9vYFt6Ay8PDYhb9PYLIyRbEjLCHDPqRCS2RsmK7MSkJyD2KT
iSRxQkA+EH7rA4Jd6OdAiQk6rRt04N6A0KHuX1KDGZif2gPsKudO43tQUR3vfGiv4FsCaIvAYRd9
GLIT+vS97Op9gtWmDWaiHJnVsOI3mf4gDVTCgVWeRw2Np5nVrzKoaSz5VreOwNFhmfOow2RqXyoK
hZGGll/rEvLHnQGOEY0oGotvwdQFx1BX9abn8GQuJi+jTcUmT9Rb/uy0qVyRd7jtNXwxmd6+YrdP
Vt7gfPSOrsDmYIdoVATwlyasV0/0auZCcK8xqRigYelJxacv30ydLp53dtz+UjolTfHWS/cGPZup
T1iqJyWlAWRDbvMyTf5X2Ho7p6irleOLpR4Bl/ImsWOPibPKg2GhH42pS88NhyMYIJ0sRY9FQzoE
rD2AxdjlwSp09QRFMvSId22KH46loEj5rX4c4QL3+XuR+9GKpOedgqQZjllzwrdAWbgNz7mebj3F
HhRo5KhwE7+CJKQTyjvCs9hbJnKLyhBvwzSOdzTQKawm6syaGz0eMAJK/DOeiAPULfVbpXUPWXvA
6WCQ4gLFqJiQmdp4I1fSmsdk78kLtRZmNbahOAbq5It0GxFKLQQv1G2XyIw40yhq5QFViYGWGvXT
WHrb0OZ/z90YZvBkVM6zFaOp0JEwQTsVu7Y3d2ErowM2ekxpzjkY4QF4+kGZ5LgWRnELXXdY2N2u
zm1I1ITCbIiUbHet6HdGsm4FBXg9tVx0vSBJ/PHZs9HkiOh9IHZlMcDMWWXSFFtyYithobFrGFbs
KGEG4obBSkoywMbRdta65j0NtXiOk7qh65Z660BVyZb8Rxmzb6ecmG+z39q5QN6VsQasA+AIcXIr
jUSCqApdslDnGA90TwOIBBZHFIm84JVsLX3f18NrXxXV2u2bmzByXBoe5Te3obSOTRaDSBOujL7B
jjB4KJZAXG1yOLz+RJ8iG9nueMb72FUWrTNsCVkc6hss5c92CrjcDItoaZZI1k3ScjbtOK5HEWtb
6AjRRteh6kRuYCKrrM/zFCdFXyJtwjNzBwdx0dTyECFwLIIgRQo9EnVeaufJRgXOsJ9o3cZoYJY1
fXDvS3CLBbXskpL9Euudu+xGKjnSAKyRk1elMZNHJJosh3c3wEYqNdejd81SLjYjJlKgEEk9I4Ld
LA8U8by9q/8wfceHm4+4bAwCKuFJxWdv41uDrhaLcHatSYmsTrMNeX/5SuPbiKGbLEVUfgY2RdsP
nPbpwhokCJtoeGPFOuDZoTkDPw+sc1ggxJgKfzeVXjRninIEC/R/+ChMMMArzZK8a62Ls0FbHHh5
t8cvrS/6pIdn53wDRmIvI8sF/T+PeITCF4emil8JQ2zWuJwOLvOnKagS5t9WuNasBi5lloJRdcXa
Vq6z6TTrM2gPOLv9h5qdvggumcz9I2QLdzEG1o+QEgYM9qjdiZiQuVAeGKkIJfe+CaX2Kg1ZpoNg
MjUVH0aClVs4wX5afVM5FyWraX6UUdAuM3Y0yq25AzMvR0OzP4cazZIpjR6V07CyyCCtdj0OGT37
7htcAT2hI5GjO1xBvN0RkUF4jrt2YvsugNErEoFChBD4sWshXQEapakI2KhGB2/k+g1HwUm42a0e
uff0Ws+Bfo+T94z7IQVqo4UoPxXZpSnDiW59C8z0Gf01qn0EQN4AWzkNnsm2kNiOSeju8vuSlWdl
EzeXg/9aleADg8TdxAZwxR4czXrM5Ru4sQavqreLjRpgEsSguChWrdVDi6qio+9USIBrL6J1uYTP
sOwRI9R1t4RnBGA8dtGmjljeLqVbiLVbyYfc1e+SnNNPC8N+leT1Z5oTDByl1paW03e8g/q9pX3B
79ihGPTuh4pE1GluqKFxEZWxK+3uVcVMLJB8kVLOzB+YA35RGJ8JGLAsDJgiT8sCEZcJhIzdjjjd
VNlqKqOvvrK+yYa6CYMIUufST9ZTzMt9/5gW1LXSwORL1AgSdKGscGHMAaww7KI6eG8oWJN4hJK5
iMNvTmS/i5ysKDFQ2DJF/hjmFG2CpxLIaTiVyTqxxnbTSvd1kiV9qVDb+eRuFwi+FmFgEBpcwMuE
09nkGUEd7hjv6oYywnAfwRsygvy7zKeVirduVfKuWA/0/K2ptASloMaY2BWHKFY3nYtyvQ47pCgJ
WpPKGqebzsc5oCfFG16yfa4n92Ofv2l2Ge+iplyN3ai2zajmVnvwRMt7XF6nXGZCpJCluEDTEfHB
n7H2nZAMbCLPxUgbbC3D3eS9fRZep2/TSiswXHebSlLT9oJo4yU+4wfGAq9AKa/q6aUgAW7RgQYU
6BOJ/Cm9W7wm2ClsceycZBeJBGd4D2WuUpjmhg6da638i5cOt2h9bdHgpyC2aNk3iUUgXBWj9g9f
2pbgFEtZD3mrP4+hEkhEWMLH7dlIC3EMxMFG+bNHNjz5CJkVu1lZNnPQozn0+ZG2BXgnq3r1HC6q
me18kbH0hSNoNiYjHS0p1y/DuiCgOjOLTerfFJ7V347ZLFZEoS8Li9Vn6NLpc2n2ue7Ona2Ivhvj
B5R9c1KofCfq7VFM2wam16WdrJum6kkYQadInN0kj1UZPu2EXryBGQymVEA2jC9U9fHGo2xcZmpe
sjv2lkAhbOQtThKukz7za39nOlZw2wuxQt9D20nJh6i1fqBC7xZDNJvXm5GWCeTjpRfr9Yl5XZEY
HyGTptYfQNM7hBjG8GcAm3n9ZhFZEGbhamHzSVwaCzV1Bz76GA/bvnVeYOwxuzaRNLYT3s9EnAyM
pkgRCe+cyHfOsz7a00w66xpGiKICwDS5OHnoG68cmX3T7PGh6WqIgkOlr21PfbOFIfeSXk2zsRLz
e0tlZmWbU7RvhPkMUuaoptFbGYrAHlu/xcpnkFCQc9VtaVi1XBS14NwE5U1Xd8SC42THqVFYa4gQ
J9O1d20M6S6YvNU4kJ/ZFyNimiTmOKwunRneE3qbrdwYSFs+NI+zBcLIu4NVT3R3h2mdmXNf09Rs
PKdgpoMMaYYFu8PXMG1SKn2p/XptNP38VbDC8W1549RUAvsyvpWZ7lAFrpcgBC6U3o921pwJ+wSN
ObZn9pO1cPxbM7TmmBz3ZYTLsSL047n0+ntiBZ8r0TLjbciky7XkPjWAWIflaK9TSOLIvsK3FLoC
+Qck4CRxtS0kOtIUKf7Q30ex78LmD8+6WznHqcWnjNoliw+1ux0TpL2izvcteOMNEZTtQiocYQZd
77bNb9J6GNbzaFGWI6s54YsdXT7UKn1nvnoBSaR+n4XrEqrikOsDeWWJYCqNQM7TzM8ST9+RRRBK
T4r/qF1Ai9mIG8u9Gng7Jywxw9E6yPwSTr7tPdMjD19k2KB4FNhY8YvklNY/RfrQVogxRBC4+E2T
+8gsIzywjrvOuDisyuArQ6p1qgJ8iZh427ic3R2ZjUzPZfGl0ggrYE7cxJBnpI9FpMZwUZQoS6km
UsJqyCEkG4dVj1wmzImh1COgk14DgbTY+TXresnQ4VddsuxCs2Pqcgsb7JzEZI9xJNt7f+gfcetc
lFvjqBg12Jue9uh4Adx8vWAxXe8LqAne1DI7avZ9nBHJNR5dIGWLzvIzLq3EZKUSfUtNs3SscQD5
vWkzzadEip/P2bKs3FtNQNBYl+6i3CGbnswUkbdEwjlMN6yJjMN2QjciGYM7roWkpyfDsvKgR7dF
8xjXtXmoQxY9GcT+Y9YpAE8oFyyYcKvA0cSiwYU8xo+kUAPdqpr7wYmgc3ZodetWUoszgLCyrZ3j
5isEDqi0nAMCGeDQ0cgkOMdVkXJAGQLZv0k4e+DZ49qJrGw99mRhqDKulqNN6oiHx77lalmlKQGH
hv3l6GZ0LPvgG9x8t0nws4RWvAGM8takBeMHuQbEQU2LyHHex6CEYZa2zIOdfteq8caj3rzEgW8t
Z4+MbmEQZY+xtMHJM079rhvko0I3vDJaBxN2A0/EZugv9ezblRBCE/858BVJlA6aNxOD2VK0LJ71
3ITwUmJcrsM7VCJ75m80j3SiRqbqTVCyNupnRfTlwmrr4jxFxChbzWsyhqxmlfahKFIY+iCgMyBY
ZEXikOzoZpVzr6Uwyqm+H5p8gN1bjT5lCOvLm4Lnscb2mYVDQjvJxMwh+veirDMI8PHzVN0EMI/P
Cn7jJUpB4U7Mzde5es4FVYNiopDjaOmmsaqNnQJigCeP5j9DrFZNCPvxZz2KwG/hEDEtNfX8pRbU
gKcB61cyfbIUnGyTaByaRuWY3oV8Y9S4Y67zF9EzhW50ahADivvWk3dWFf9IBuu2y7pHpfXO2pG0
PPDp4+wBoM2CC6XNe+0P4E8rqVFXZUE6CRRR1hg9QlTo9oYFNnEyD7kDHt41z0r34y39v5KZPGvV
6JmiUbahOflMVZRUC6u5b+aTlHrkamS9uMxTJGdNEB178vo+pg5e7thbqHr7kTad8L1NlKbLGDHn
sg2t7aBNO1eYuMI0whK8hiPTo6W61Z1+08fWc09uC0coLX0ZTj+mXtTrRrM48RE4VNgpCQsL+wcX
jy2Brp/whYdtOGoH5Vav/hDM2VnQLvGoUL8i3jprnWFTVvbbJFJjx2UzZ35DjBbNk1sOi2adjRgm
aONjlsjwGdfz1dEdtYtOY3bhVR9A6k6AMB9Fp0Mk9FFKtSXCrjoBOWA99lhQFkYNe38i9qJC1rqJ
rRwdr0FAaMAaePowLLImhkodQ+UZzNhYKgaKNCZfh55gyfg0oid1DET6fV/clhwinNceGug+gAgv
0lfkA2C0SwPKjGHVC2Nm21NjQX2Ve94uawl+0KEMBc64F8phak0EaGB92poD66S9TTVUm0UyvKPS
h4k0It1BwuXEDWI0TlAtqNMdDp6u/kDn2h8rId6yJl+XA71XI2pxf+qEDJDkzRwzfnAk3UYbqeLk
Fvu2U1QBS4RKWU/kYgzXzWbRFrVMn6mC4fvr6rkr+oWhfuFIy74xIWCLqq6pvOQX06PxHFrauApV
z6YxYpdu5954ojB2dszHhzf8mQRtvjFU+tkktMDDCsOGY0uajC2AagCUYuEweC4GrcUixoC20hqN
umRAzNJUZBjNg7MuR7UvFPNDowe64AZbTqAFIpn24KVRtNdC8owjK9phNOTQqMansalR4oE83YzK
3TdRFR8sxNXA4+lBFW61DVu2uLAngu5yA4+6dq6BizC9zm6tuD5BEkCP6CTF1qF0fBAd1ZdavBQ+
mMwht+k/SHUDfIgRgvZ4q5GnpfUXLTJw46EnR42S3HltzDWzV1AlehJxa7Kvq9jAs0EC9bYwvEuT
6t+kjR7bCItN1xWo0ORTGnmw8+t5eRSj4Mn1dsX4tM30HLBAe570vTlp7m1feTfDWAIzGbS3pqQW
1s2W4NHNSHVOCaSSYbAcEIGvR1t2myJERWbnN13+GY1ltLD7vVlz3awF5riuNbmcWN8jVGOrsHgQ
6aVvEZUrX2M+iy18XWr4WLXcIvDUxkSgUWXQtHtX7HAisg4F6sskMFtRBKJurl9cqqXbXPNyDqie
SX0qzpElH6GUbolCb7eKCAZoQ5OzrKIU9GlIbWA4SdCBy65FnyRK4y53xyOQiHFRDk63j9LhjGgt
RzNL6dFGjq1jk2MFyRQd4raI8rspMd/pTZkLZ2/iaNpkiuBbI4moQvfoBCP9Q4VecM/Y/MMJ0XZS
OQ3XcWx2m5SF0loZBJI66SXKilOB7S1pgvwEEPdQ+xoUxylRO1N0Fzr/2IGQtGHdNZg1+OCNxpRC
dVdhVApy76wP3UsIgGs9NQk7GIsBgmbCptBzPzMTQffPQW3q+hKeU7SH2HhuEP76pPL5tdW9AoPc
anrXXyIcyYRNN9pm1LGWD10QLX3ltNvCDadDj4ccHWfQbrmKU/6sh3eHI4GGxA6Be8fxUaN3sNIA
N9HJFiBMgrF4auc+EQw3CEh1lKOr7mk8/np8vafmH/967vorLvJNGEfz71wfX+/98ZqILvZygtvB
qcA75GYX4QqbZvmXaz789jY//+pfvqWbomLTRxDaP190/TtcDWlC//rjP38TFNexKfqYWRrQ69D3
SYZzAya880f8tX0/3ydvjBPp297mt7dVqj2yZoq2f77z9fHPF14/Se3a72Hvd2jQeeuQ0hO74u9/
5defuu6460PQDnhd8H0vrw9/7VHdNnJgccYxUtqTT5IZ3UZqlVFMrI6ptFWoy2KFuEZRvENg36Ua
K5dujtc0TVaSiM4b0zDAfrEoZs58dyMF5g13ML19LOKt1C0oSg2VsHFqn5DoIXBGGG4E31nyB9ik
YxRqTPDXMJsZ5hHT9R7te+KiiJsF+zqSGyfz/MlrydUW6Fns+D7tPro01xGYZM3SbpMbnZDERTYC
uxk1ZwZUnwxscl0Vf59bGGqOAYjb8lyK6T2pc7yJlX3qTXhPaEkItlo49oa8pRuRwa7Dc8n1KQ76
VU2iz5ICxaLP/IuO9WUZI0fFpAV2G7ABkQAgGDhh88m7nSPH6RW1ywl6RRV7B1WF2ToS+L4juW3p
xWOwx2gEZ3wpZUajOyNKock+JsXuLWhxiRJkKTnaVAzrpyZHCR4ktGscDlpU9cOeC9tOK0mfadDo
hnJ8F9Tyxl57RaejLQNzOM1uNkHNlkwAPV0CWN9CCOjXIWA0ux6/Icth5dCQTUignKfFG8SU/jrq
FS1zq3zOUvlJRsyw6qrxs3fINsCgxcAtio4UOa6BBLkRgjy9hoH5WIC5p1efUATEmroqXlCvotbC
cU1aFEaVaKm0yN6R7emvcSOSa6JooMcRZLXMc7eVTvCbkRx9PzJILqQyYAmggm3DaNohVV602Jn2
TY8BHiTka9UTPeZYMMx85hUSQz/Nnm8TflkKaQ7tKPUxroI2/Ri5qK01JB6bBgqLEUm8X1hoIst+
qChxVoMKNqZDVz6b8huGsbWHO58ejYZ1KsP3KysP/ol/VxJnSo+MPLOhls89GLnBxaCfa2m1acYN
P6XN5Clyk9vitpm853oqD3bSvGdDdJlGupZW2H7ThxZcuIFu128cZ3PVPMnSqRe/qQ//ivb5J+uT
dpFpC2G5lmCqhK4Pwd/393um3RBQjX8PfWsEhkBxChq5WGQdQnwnobMQGXhBddQdkeU/2iVGGC3L
IWI3hAC7AVXhrC1woYg98Q9beigGyuWgPRqQnBDaIgoPnew24UAonPqBoSD4FxtuzPnyRToGRb7/
/I9/m5WI0pQ6h4NwbSGp+//jhk9RruRIjXZPIzjZa5JUECgUgrwXOmdt3FAajHFURWl4a8dhBDkS
CsM/33nGX+w86h9SGLMU0mWW94/bEGFulUOYRXvEGuNtmZp75MGEw7cdmJfJ0XZF2hMaz+oAiOI5
avUDzigYFt/++XYItJ9/7gukosQukULiGlL+AWxNinG0VOIE+7b0x03oKmvfNrTndQbBvo5fO/x8
2yKVj4YbgNJKjGEXUWzpSmtf+rV27rwGEgMWZpyz/TlAMMP1KuWKbuDQBFDa0tkTxtmHMUeSxMFt
+vpcajVKb/JLVkqjJ52nPskAkfEu3a7bkTa3TbzCOV1vovlek06v//xjm/979zsmYBjDcQxXdx1n
/vlvx26rNy7ubyjy0jAz4kHKYh17mC2MwNmUNrlH1qRgRfesLbtpZ5vlPhsIVYnTiWn7cMqzoNtl
em/tDDvr9r4FqqoLQiB4pd9t0yk0d63ZP7RkgW+uW/7/FuyMuvi3r+Z/iZr/M33/eM/gDP9UOs/n
p3H9lf/RM1t/cz0wFrQfTfQinCh/1zO77t/QOMMcMVyTNqThcuj+Lmt2bMdjWW9JZND/IGs2TZYV
jAHIJnXhGf8XWbMBO/rP0+cqtTZ1U8zjyR+nT2yUpgUnT9s16Jg3JN+S94SyVIt6rDykemclEMUK
TUVQz/wNMo9IPUHB8Ns++4uh+C83w/EEem9X6K75J3Z5MmrCoXAT7aqyKEFime6x8dsPp9Y/PeJA
qawyZ6pLDdAhSY/NXKELyWzd/YvN+IvBBIU3lwRTePMamK/+97OKfNi49jrh70jYJP41Rewz4i7d
a+hTOmdPUYBZg3+RkfeajkpjFkbchZERcpvnGFVE19302KnX/2KzLGseTf9xxHdm7ratGxYNAkef
v8bfTvchqe3KcBTiiG7MF+hIiq0VV7dGEbqnzCHbkaj0YVWEIcWXab7oj8Q0IQy0ykVV08PraC0h
D7Qk16vggHPXgyyYqpPjsPz2XfIOc0YJL7v00P5O499vUlogq9DuAXnRjlrnPS3q1guH26mKxgP1
vRc0j+Vx8Ck+CEI1EUlQEZGF/qVVrjxYd3ZwX9l0gL2BlBbZUGaeehggRv7Dm+G1liDZoKKBWjc1
IMv07BtpvQZKhdJPJc1Zz+rPbgBGgAJuls/kZz1GpV0oH0EhBSiUdjVQUGpHTnDwu77Zsu4rSErq
jkGyN1yGZZaVjcxgB2rVjRPjb0kuVtyTU56kHgpxisGiStGfmv0jBS3osS2zj9o76hoBribae2KQ
QVLQT1nYzs6Vbn8qoiTeU3Ok4clqGQ6FxexoVfjp3kXQl8ZsVpL9GCs92wPtrBYi9L6a+QvJw+Hc
Ry+ZLcft0LBCn0AFLWSMMAWZE8O4hRWQHPSocbd9Z/jbaoy+8owZBFFuyCuqH04+XQovuFAaWsaW
by6GDlf8A0R2BEUZ8SfdrAbB1qLImbhNasCiM51g6JgTBDbacgHSxlHdKcigYGjk08oWbbCGOEMo
8zL5akd+FnIWz34wYM5vMcnvu5bJUNCpeXE2zsu5J9c0YCCMFbPGISB3cEBfR2q771wMZHZQmzWu
QoDxtNB/oaGerkpoakyZ9DuICzf4pr+M2UfeZLAyVEbxoBZglvQeK1fufDPKh8jIhoWXj9FtrH8E
XQlf3F45LlnD8Nk4AQZwg0n/NfsmbEBqi7r2kGIgokWOkqYbx0V04OfDuR0NgubhcV4sEh5WqQo5
KnDvD0qRXJvJ72NgUOKMDVr39FFTacJeMkB1pO0sgpaSCmBLT8RIAyJGIrDvsVXa59xXJzuhtRVV
tc0QYMJpTMWhaIUN0MhqD2iU24Ol4aJdXO/qc4Hr102GLHxVxaw5rs9pdvUxRuncUxsa9mbIuqi2
Nyoo/zvmgfRerInXx9ebps2fSEpLf3vJ9flk/v3rm/z63etzvx5e7yl4UNtYowU41wF+ru/7wXoh
AFH+tjy//tQyJ4KKx/TFDHMSd67raBp0RX28/vi6fDZ6GKAEGsvV9cfXG2QZhE5f7/5cgbNLibbB
uPtzKf3zyZ+311dFZFUsKDLPBTiqDr+W2teHk2xdQaF53uDftmTU9XDnIz1pAKIuLKJLfm7hr237
WWP4+Xeuz47Xjb++PRAQqibXu9V1cxlCcqzTEV0jWjF27H21AgdNrXF4aoHxgZWbECkaYtvAxmHL
6gzLBL5FBF6X2te3PfaY9YiqXkEEPoRD90ib+DNrbzufmDVJASfP5CFHz3LnVNOzJdofBIzhMCuw
y9hUJkmhRrszttlOTMgBOS8QVDKwL8hbdm9SpXa+HiD7IGPPjkJ4NU58H4ORiKW4BYGJzaNq7szA
9ZCttG84+dZOi6hd1ngjwxlLbgel3KJWu0Ga6p/y/M3Q3fNQusmqiUdWxhqoQt8rv5oOOVAu1Q5k
H9QfUwFSo4i3pPr44OXUWoquvNEGPzzgYtxb3Tg9gm8BgVp/r50RnKyFMwcVEOKfImF4ru7yCZYY
BsEBXh4B1pEovUXmxTa9yVHDnjPzsydW7iZg8wZvuN6Dga5DT4eUkrUQXmusSCMiIEzaDL/TrWYb
XxXn77eqvZUhifWYxqdN88lyQJ5khABcyTxemSExNm0zX7S8YtmSHLlWLo2nuqW/RzKp3mwyD38s
dOZxlRTD04g0lE6iqdBHkYXLBa4eQvsyw3B7c/RXpmXbeJw/VZ99WdP00aGVtDWV32udU+1MvDZe
wqUuAOYFZOEK5a8dXIcxIWM/mO/NeH98z6za6XmNKWqg7r0eJOYworqWAh70Wkquo5B1juG8AkF1
ONScYYoI546MTyhFBlfSzFhkkjoQbmSQvpSl0wtkIqi0s+itLMMfUdEdsso42qr6NNyy3yDrWpfV
LVbT18ibuSUOazaIeIcMFrTTR+JFtu95F5lHw0X6EaXVgF1WezBagSHXojdMcWCRG/LDzKovOUBZ
A5BDYXqyKCV7QLyL8mjI4Zy68GGtYrqZZnXTZEM8Ngkb6Acq/zoqTUig7cIkjAgz+x7u4W60zVOS
jlumGDt90uG6OMgEzHAE3M58kxyMckeN3jDNY9UC+QzG0EH6nGiXgtnMvhuAFXB4JX4wbWJ8vUHT
49rX0WQHFJ6D8C6Nsu+c4vvOlndR4oB1Ke3ThNgpcfInQAwxszn1KO2bort3LXrlQ4O7CmKvpsx3
1ZU7QTb3mkoSUm83fKVetJS6i5k0nwZgf7cx+lm+ieIoTC5QhJ0lXoUIUTNTQtSDix5SYLMnROHi
HurVa+8j2nCIOQYSiDuiC5wlWDlmfnD0gxrqXLHTEEfPOaz3yrCyjaSZzXcufoAJ4NgyjwNMZa6W
GTaNsty6RHUPFIoXoVd+t3LK1b1TUbBpqQpVc9RjEj30ngnnr+vEqkVheZaihP1ak0pJsDiQSY/V
Y6sthr2eNQczcy+uU11qiQhrAM/BxOnb4Pdn3XKeVcLQhAtl0WmHygVuBo/ogqKGHT26d76qKd90
j4WL5J0IaIthMoUPqnn3wIEYXaisLUPag4NjcxFWY72yC2LNnO4l1rs5SXsmSCqcFyFgRpq6IMSQ
34noRAXw4ATEgnR0n4bxJBtKobamn3JQasPUtQhi7k1Wr2vXpNAY+OVbKVBQt5bxTJ8YQ6UlHp3p
6EbUKiMfDYiePo6x/HIH/X2kl6v5Txoax8RSNzZT2jAuyKfPyImKxxNxO595n70UNAIXOg7Q49gW
pIplDqHBgZfeQKKzcJiPQ3aTVhLTXj6ympp/cn3u54+NVDKXAnuZFOVjxUVml6Idub7KLzMiudqB
kD4u/zcak5itqXPYNKbb8GEMbRMnWX4zwVo8wQpZTGE23pjEgjWmlkHLSCskwXAEVpOkSaJKzkZz
ClZOBfmXkKkaBSupmAhbnV1XVOOJ5GeCuKP8Xlk+XobaOYMFc849YER098awcVq1iKjtLCXE/ZVP
m+ZsaI+IDviE85ZYejOtaT5njKqIp5JO/y/Kzms5bmRL168yL4AJeBMxN0OyvGHRSCJ1g5BreI+E
e/rzZVJ7l8Tu3X0moiM7LarEqgIy1/pNhhYBoeEWIcBaOChHJ39E/VLeT1ZFMeEkYw/DF3wwUS7K
gpwPfpaGAFN4Et5snQiUZwv/ryqPf3VfnILa/GEGY4wr+fRZq6273ATibVgh6NrJR6umunRwVzZl
aeMsmN015iLOfgGqTrdq5BDd+8yzJhxfwIGZlsVDr7fORjSQtc3z01cdzAtLKsRdXFJN6CWPTnuy
R6M7I9bw4OSmvvOKrjjWM+k0FMZYSyAylh9iXWBpE+VxiMRTVYFRQebQbwZcv51hBxpnFRXo72ro
yuIxHOz6phZn4srlGbzAWKI1jTAXwlJz8zWpor1lh5CC0zGD0b48IlQ/nwFT2bDjmz1eqn/ELu8x
QHYdKNfKL/hmYVRbnUcnOxl4kLFpdD41Jfd9p9O3Bj61Ve+9op01Ib+D+DknjuFstvpuwJ+Q5xKG
xX55j1V6uCvZC9/aTon43tI4PPu1FUas8x2iWs0hmONd2fvjGa2K8RyY44/R7wC663zR3eUjCu3F
jbNNR1K8LroIK9vLwEiGYX/2reRrEE2oYYQ+XEWg+oTV6h3Azu9+NV2c4Kub3PG1GAE3UQyy0CoP
w2pV7YSBAZMasiLh85DiRBc3+1paqqlaGruAq69t1WnXLdQ+VY3VOAf5n/P/srPDpzsDgw1OqhqR
geev7WICu1e1RHKQ/mNTTWnlClW7rlXLrk1Vu14KbTXuVTlsN3VldQHu31I/bhcqDpR0T1G1a6H9
pz6/tAWbxr9Y13DjR0YO0rYNtPR6Kc9MG1SE5ApVFA3+p6r2dq3rSyVm8K+ZdnwowsHegVnsUXB5
m//LeGTjaLVSV8l8YMC/vJ66nhDic+vP5oqtUq+jkMxrZo3DjVpVwSbgkGN+yBedXQHMOIyJMNKS
ZDkX1lwv6XOjJNL1klJnSnJdGkGzKyXhrpTUu0aS8DLYeDGsvGTyYChisszfBnkxF4UgEsgQvwV+
SYDgu3UjaX9+0bVrhB8wuZPNITLyU0IWhFOrM63HGvKpIWkXumNvFoujdO6EJrLho1PDzsBxq2yN
nU9i4ejlOELq7ZM3Qzuy0y1gjPxI5D0/1rFMEyGr3RuxC1mnG3Z+q9+nXtBjkebM7XHm7d1EOrS6
GdJOv0CJHPYfOIgvx0HyK1XNxyp3rVUBT1o5YMiitHzga2G665rk57RIEi8tEBbSqBj1Twvled7J
4rwmwPpPKItnWN9wJugyHQsW/KD9Hpd7HWHF1nJNvOHDiGg1BaRfvJWAjKeosKHQBoE0PwMUOCEc
W+yjsrEOZoRiJvxTEAPsHOyZx4vkcHA3nY5OVDw3puNxX2aGUoPMNHBzM4ogeIO7xIG8uuCYnhNh
mJKPntnWp8X3c/ZuZJZwy/0WQ8Nbh6K+6YKu2fqxfSgWHYX7AfPShuMh6EA8OoIUW9op+QKjrFoj
nf7SBm6ykYDxoy6Zu6qmCjxbdOjIOlJ1klGcOgn8rRvN4iPAYgLRBDWrnoNyTWQGerCk7jaSLQwK
d4sCrnc3G963QLKPPadt9yW4AE22hPymcL4gTmmjr3vtiz1CKxOs0mFE65xdbyo5quqLpWoAp6J1
6qChKwxzZuPYH8Uo3K2jONRjb22yNP20BLZZ34EAyRzj6MkhNe6OtXX0+20raayxyT8FfjOZ0GrZ
OTUnyrnqDxoO0yRpNY+tlh8eTcnpVrU8gjSSWNhlB0V9SgqkHpNumwhHw4bA0UBD5c2nRZj71h2X
lYlsFKAQyUCXlHPL619Bkgf2ZGCGQG+kze2di5DprVb56dH790w1XRWef0hd8UxqC/P6WUpfSZq7
PfMkxncEOnwhlb7l35AM5HJUhSHAhiyGgbQO/PkuRplgkVx8VWgYJaAGoPQFVBWlL+DNkpIv4Oar
ASGXVKnUHPhloqqqq6lx1fSkBACkEuPtZa4D11dVfdcmaSMoKFJw4Np3fdFaShTM4pOlNAswAsl+
ees12gazFDn45f1dX/H69hr1znMpnBBKCQU1MvKFC6S8wnXe9WWvb+Xdu1VT3r0NNVnNG1B/yEVz
atMQiS+b7BeUWE4FdfaUCe/oj7G4K9q+BwiclJeKgPPWqq0X9Eu1c9pifBYR+VmxS0+w8IqdUxBn
69HrlnNYQfnTp296q9W3S0aqf2odcQfoythXuWkeCT5esJVFBwB7trlf7qP0U+dBmSBmscJq+Bvm
KPbKx4KImxQnXbvyAa3x67Rh2t3UOiQhzpbxZx8oRpV7QAsw0EVWA//lxMS4A+h060LSsoX/Gpaz
fnJF/hJzrtkQ3eA4aqGjT9Pc8SakEjfbQSdI/bVmXKJlxtcoLD8X+ux/GuIvdR+v63aCyA1moh3a
rdYOD+XAfbaHH3U7c3i6XfyhXWVl9golMedUtIxHuyGQNArrm7C7b/gj2vis1hhfpz003yk99/bw
2oX+pXCgMYOVQGelwy7+E+c055Cj67jwGa24n0P6lGAmjGsQH/bBYkEHeAqRxYFkM3MnKnwSAKQj
4W4d2PcjhujWGNYh5tgE9lenDvrbBq4HHu/ZI2KiQDdmNFqQipUqLpVzV4/d/dTSVVY94HfiPUAc
k80i3OzW7PSvwJA+97pjrO2Zg8ViW+ukfllSJ3oqumzjo8EDTqs/jSOP/8pOL0NjJmuvnZALDs/D
TECHn7K9z7coqmccwZCh6t32QQdW3mYJHlaDVm6R8x0PzoJ9TXKv9W63SfVwD6nEPU4+/L+qMmV+
VtTn/nMaYpA+DnP93AfJHhK0vasGJHsFbMJbgl/OOtag2hl15d7bguNSVWDCDn1hDfbCeTTSaA1P
zr0ZKvc0aiM5XhDBWDpZ+7wsUW0PY//QJOMPs0RmhwJfoTmft1M/IrhTQovzgmXZhDAgQLeKDhMU
pCPZkFSrMMaRjiPxSi/0HvCLZqxje2huiJFpDygSn4U/ip2L5hoK/y6GC6I2t9Wc/mHHfnav2xW4
D75RRNrAGCfjBmiAWCMthNZ9rjkrkY9fOfVhZ+5igI4S4K4pfNLvyK6qxNP/KVd7/jL0P5r/kWu+
VfXcJlHcK+PYa+vu6X+f/+uPqv2v09P6+W9nbn5UUguqez/pt6vjS/vzHcps62+NlZKTehA/2vnx
B2ohb+8ES1s58/938Geq9nmuEaX68p1bFqxxONbf+t+zuPbfGvqS+O2yd3lfueJn3tcwA+x8Te5M
PvroNvCSf+V98Wr/b9vWDT0wHalYJRWufqZ9PeO/QaMw3bMBdjiGBFX8VLNyGMIsg1HL8myStfb/
Je1LxvC3hKJ8PwbCW7aBaJxuY3PyDr7hk0dEvFS3fyxd/4ekn4B6d5IzZu35XdAayxfgHTeZ0aff
m1KYNwhVWA9t2mEu43nDpmpB9sTj9BDBplsJURABc5zqCXeb7kEkAKr9vH5SRSR6UoZ54WziaK6f
oqa2T8LxLwAb0vq2B34BrlLHCVWuAJo47wX4KoxRoPz6Ndr5UMalv9xN2MF8uBYegr0nMBAxJjUJ
zPxuxDTkOqxqao6qDYOHmk33dhHVXZrhx9YrxNqONCBrcWO85J5xdppW/DCy6TAbQrzO7QSwaoK5
lEdZvs90i+cjfrZPCJPAYfdwbvSWkoCoXrWnwgybk91LudIq/HDtUv2quPYhXb7qGicgV8MiLXG7
4yge8N1ECSFv6ulQygKb0umgmnzT8i1OSX/qh6jTSD8WQj9qtire2uhJMaYulPgYR+VY2XpqvvO2
irvcDlc1EO9th7pp1XUPETxHICPI2Ba5XbDZBsJ7E2dDccjwWP1zNUyK4mDXWr4LiFuDvJUgGm5s
EzoD1JYRh1z0C7r0IEfVQN9U2Pk6vb/WU3zg2qxtXpMlNO9CpKr3dhD5LzViaEVQvwZhHW0msFYQ
zKZzPBUcr2BavxpGEuBJYSO3kAr7o4EwhzfWzetkorjhWYDV1LQx0R+qyrYePTiwvyxvosEmFykh
/Z5wvDtSUsne9xuUFWQzTDL77IZac1OE7rBxS10zb2wf7VqT55iokTKYGu2uIR54D+AquHdkQfb+
gBmkfbj2i7gM954ZPaguVaCUHdzbeTbcJcX48xogmRd0FyZUf8p0PApZDLozHJdiyMmv8v16N6Cm
XPs6KUhvQcOEsJh6WJkhkGJ0zSfVglCJhLCqvm8jNskQd1nvgBufRwjExjhWXkIVZVvIh+1g/myr
TtT+UO/At5k9Y/+oCj3vN62neeeiFP0jjIz+0JbJQ0Nq5/tAIG0mZfvFwvYXPyJMXOcO0ZAEIdB7
E9skDm8GYt44KR0gV00bpwrEIdJrbfwQ9yJsV6FZaOe4w0JYa2ZjO7GRuLwVeZkR9zVwA/h3l6xp
PvpnThYFq+tAMgTJ5bsJU+fnWjkRpcxQepkDTzXh7zZ9469SI3ge+Ac9qsI2+ZyFG9uELf7Vh2Yo
SheadUL6uSdwmouj7mtvi0IkgXZkp6R0EzCKQCwlOtEb1UjSRbKrZf9bNZ47kBZB7aPmYP0cUeiL
1IQaD5sinNBKMPBh7PT47M8R6sSNfUoF9z2RN/GZhCc6cJFBP2pznPbnzN68zRNL+HO8AEFjFUi9
DThxoV6jP2JUMT/CNZH1t2I0axhdKNM1TWa89SF+TJA/bI+V7Jow7Tv2XvZyXdTHSA+8uyiMAjm7
gs5DVg52sR6XFzwaVotuilMI+u/y1pWJbp2OknwjZ+RGV16Qny+uc6/9UBS6daGh88X53duDP4Xi
bg/haUxNqEWTU3xDRF3T8uWr3rvNnSaK7OTPOROcn0+Ff57g4MZVo+HxD7Ad/f1DFhQ6LrUuYAjX
sS3z/UO2IneChsXi/HDxNdj2/MWPk9UaR9MJBnft5Y67aYr+g2YahL0KGyJ8nyzVppZ/ReGj/gH/
+j4SfFDG4BCjlvQolD+MR9UHM54jC5iSPc6DzskoUAwCCuljdZh+zReHmLkOlHmJvmQm39B8aCY2
n9g9ypYqxmGXu6L42agT5PqW5NLHo/bs9CAX9CAQRzWzLlDmQFK53akmDgY3ncs21UtlFDl3tL21
zBriGzrxiry5RHGRfjf05CXLhPGhchML0ZAMjUkDvFI8uLf1mOqXJLU9/OisZB92g3Gyi6VeuXCx
Phgl1mZxN2UbidC9S4WZ7c2x7G/iYbAfwZjaj55vgDkvvBBbk1Q2h/yMSjEKYLTUNB8vQqwLeOm5
8+zHt2k7YSQIbZlWcakIZG/IuqJG0ifeB4Tp7t02Gr6GUYbRkxkgjd5gaCaCiDBZMVVfw/PoGWJl
FB0eynnN9qfP3PPff2lMk+3fL1Avm68CAjeOZzs+8t1+YLzbmXmpORVV10ZgyXVI8cCgHolMLg9W
tMpguGS3zQC/eumbi+vPEFbCrl9ZCNk/6zUiPB40F8QK0ukAqolvwGKHB+4n2oG9KGnnAmvmphrC
w3VA1VSfmqea7/qua98N/NXkax87TPNmmDA/T0xIbKDJT7WdaTvD8cNNNtjDpQAlBlRVs19mTzwF
1mj/0ZK3qzsr+ibiwkB+PLKgHEgateN11n5sdZQXVDtmi1DceLL3rap63R4XczNO0HyX0+VCVZC5
wIEzEflxTN1025h6B/63qO+DFG+zIrOCF7/q72fMeX6gz7YxhgbIbOAWtwZOd+fcFMtqTFGz6oaC
Jt7zuGnJKpH8+7R2Mzx2mae65lCC7YqUxxx5Zh4NztcJe6hjb/FbgwcXr7pqsLAW0rMHJLxhL0LB
pY9dAWHq7AGGWvbg23GxyRKvuVV9ap6tNdq28AeSgXKZKpAC0/YinV+uXfY0FCdvsXYWf/I7sx3N
LdNT0FuZ9SEjAV9MrntQhW01eBzlUnNZPvevA6qm+vBmJhX7V8OizcCfmbF2925db0YdVvOd9WVB
o+XoBtEPG2n+8+QL56MHGxkbzeTZWKLxCW+rVZE62mOta9WxDtAEMyBqfMUQZhtGvvkJD1wO8gMK
bXAw8RGOhm9qggmGrMas9gmFyWYHmExf15qlfWqFv7Hr0fgahBHZV3KH92hl10eePmAB5EC+icps
g344kQ4bh3PsmKJTBt3sNLtmRS46NhFFwuORrXH81IT9JYFyh0igGz8ZFeCO1EOIUA2qYtDay9wa
+km1rjNIWLNcrvr3NdQMsyzDt2v0cENvRhOVxwZvPvg3Wejv36ppZfh7DdY/vJ9rFbnYcUZyX1jx
qnGE9jEc8A3kGEdAjuzkR92Cc2X7PA3UqIvFJVlk7SnOSu1xxI7EkbMGROo3/3Tb+v2uhWinPE4G
AJYd+Aica38HqIZxNiValpc/MjOAWWeCCRjTsPtaZ/FhyFrYx3jrJgViwUM0kLv1zA9YNdn7PtWO
ce4vBYYdmBOHAKHW6unmZ+Dp8NnJ99ioVfi69+MsqSAgIrJy/AeErYI5X/G1Nm8fNTDbDlzH8Lnp
+vJJ/gu+ds6LJsDRM/yOtsgJ7c3qIwbUHFt966WzarErx8gnwm3ZLynxKuC0mG/JA/Nzg/H2Etb2
i0W+c5tUllRJpRmK6ntude0F+V7twSNI9rYaK+e13cfxRl0bPNJDh4V3IoCEfU6mpSPXW3cHgD9z
jcs01bd27/2sZU5D3sSp5w7GnNBW1VwORMWqdLiPA3Q5HKzKU+HwJmyxIzY0tGA/M/+Q5J73VqRT
N5LVl+0x9Ru0fkzcVQttvlVPPzuMpGG0/2IbyL9NZgWDqqrbJ35D39WEll+3pPn6jws8611Ytdm6
m4LuNXd8POiC7EvXEf/NJm5xBFXND0ug62uEmq2VPmB7cW3awBwAemhPBTItp9RIYlRQqakirjlu
klwTSEH8NpAsUbH/+2+va//p22tx5sVf2UH72A3U+C8fv2FFM07zqft96PzWPTuJuIHn056mQr8H
XjA/QvOl8AIwdAmZOkc21UCu9avUdOe3aVE3hrs4IunoQrkODH0H/BP0xgPqnuFDBmn1oIviI941
4YO9jOEDgk/ZxolQThnyCl0mvRxBuqLEATiTFWriEkWfuGE7B7VC9eMMIq+qOpD28tVVVUutUFct
jNi8vV4lnlsQw06TbNQ8NF33TYRhmtU4eyNDNOj2rSrbqqaKkXD+HhUAjjSqKtIFXXEL3GgGvf7v
PwXD/PPHQODLNuC1EM8Agf/uJmImOBLViWN+z+sO0+Wwye6LNn8M/CTfIxWR3atimI3sPk3QP69q
v16rPjVX1dres1A3CfC5lCuuA1Mz9qhwzy/v+uepzc71+PSuO5Ovjgf3sa9mbARlS81QRaeloEDR
yn179euAZw3ZqhO99vbq14EOX8UtgBZ+Ov/+h6ha2UXIk3G+ufZfX0wzAHaVhnZQg6o/IX8NdgPx
mKJsBrb+MQUKIfnNW/t9VU0IIZHJdARzf6n+siy2KlzI/3QxuaBHWfzORUD8TrQToDHSqidV84pb
k7j6yUnFUzJFT1bU+scG1Uk0LAVs+rifsTqWDAU14hKGPKrmTHxq3Y8JaKUU/m2gxeOHzjRIdHYR
Mm3RhL+pB4cBn6dXHEq6W2PIjOMS+eUzWKSD6ucwna7H3q8RVU6MV5OMmjm0Lxi9uLsaa9U7Nesv
rmqUzfIWJifiTWT5L9gr2DP/6f4RGNBncMfBa8Dlfvb74wOdNyMbB7P4TtCDT9gNJyRmhOmfsrFd
92GbHVSrSnE9gbhSoCE7QxJQnb+MjOl2QjzvpLr6WU/0OxsFabag9nh3nTwtEZYs8vL46xRIQofI
w6BHr4/ct8xMbBJp/mUso/8A34b9j+chwloGD6qr7Mtub6PzdGOXvv9gygKZrXZdpFpxp/rUvKwH
Q6+Dc8Bhnikj4ggFz2PgC6VzKI3ROajatVB9box+A7doWL5ynmc2QCPezbk2fxkGTT9vtYDDbBLa
76//H1/ueqkGr5jD7N791VSwFt4eHcvwsOiTdqy8UjuqWpJ0H4fM0Tbv+ic57doHFrG9CSpbbk2I
I1/Xv5s32hE29qOLVtXvF6gqbG1BiHDVLirFnc+7vf2lU13RJUS2DYijIfNjH8JsBPFAxP0AHSvq
MgRmtZ5+NehPGU60hZU4b/OuK4i+PYShPiOK8a+LXJepayL7koRPRHf1I0KYAnXRfvzYm86rJUPf
GUrHPXGGL+6QDkgAxM0mJHJ5geWxal2/+ezPPjSKueWEgWnEMe48BwWJ0H0NCNSoYz9u2jUQGj1/
mkzEab0m7bcl6rVj3iDphXlE7Xv1R+S1I2ij/WsRVs3HNMrqo2hQ/lVNkcTersha0MVqbiHMTSsW
RE3k5LHd4VQEuK65jUsxXqwpbXez7i6b2tFAuVaEtNGy9L7rwSu6G8jpNeRNsQ9fHn2MxHdDiq5X
m1nyiS6Wx9r2PDg4rbZVfQ6KdJc58d8WqC6C/WJdIndyF0Up4Dx5pTCyHoK6ik9qBjl6/oGEuFZY
dKKWE6REiecW0OTbHW9yYMh7IVGg2Wg4ynOnVIUavd4ZrwMZzxbHJC597RrVRa431OsrXfvUbOPf
lw+3xk49t6Nl4TneByCH1XP9rS0f7jME0E1khKdr1/Xxb/zFbkDNu24O3l3uupY/ARl21baNMf6H
zYL1O3GRHTvMZ98xHOiTusfe/d0tVzMizSPjb32LLO3gtlUuCc/ZsM0KHy8z1Q6SOL50DTo9U4oz
2Vun3/j1aVraldfP0E2AIseXRV9cpHaJjaglPajI25YMN+aaY3rf2Cj6lezI7yzNRbRd9qnCzQN3
0yU6glVywJEFtPlogyVpOI//EE605O7ntzOKw+HKlf+hzUdm8R1V02rzrg3QAP5mt9HOdJP6mNeh
uRZN+mNCExLBsaarj2/VKPjUI/Sy59mgf4u08LniufXRiC19FU5OcOgCrzuxpbfBdVTQmLMGIxCB
CIrZucNpmazg2S3MdRLr/kuJVNx28GwXEFEcvPS2+AJz2r3kVZQjxhq9EtZ/+PutoMyBvv+3Gk5g
ez7bQd1A+eL3B6oBE8ic0OP65qYT8HEy3Y9hhqVtFrsX1dJhkW5KIhe3OTQ0lF/d6iGC4gCGhbkF
kj773JTA7cDDkbRJ41vk0sLDNDfhQdVqa7wf0CzYqBYZTxcLATlFFQ6YdHeZ9f0Y4VLskJbbN9rQ
HpCB0TEm6/v7OJnYZBCFePZRiLkVQQ3yoEUrJO58jdd1kuiIDn50JJKqHVRN9S22mSIvGIIBZ/Dd
NDVXZEPUAd5gGCV1rpUkwzmak+YD204HzFxSrpe00T72c6Hf5jauvKppW8YnNMqde9XScUCdlv5j
MOnWRTTLAzvQ9J/4su/TyPwKA76QbIh0dvPIlbz7nEIN3a66dbSv+JrVyHVon618KB9UETqYMJZ5
euFtBoR1kkI/oUO9FbNbPkAlKh9aESGU4EijoCaMbpHqdy8JnIlkSLANFF+cUQvv1bUMeVXfFqQS
gOZfXwN5/MPks8VU11P9WtJ+gF9612OD+CBqkBM4vQYHEToGWLB+QaXUNR/ztECrZRzGL2NvbIu8
sv/w83FT5q7/xRxh6KC/GD3N6dKvBwNBZD3z+tXQ4txuu9X5mg6yl4a3aqH3fe1LWvcR/rZ1VCki
AIXilBvNXy5KRI/kiFzgyQXqGpo/iZN8lT7ODeT5Zumh+O9XAKF3SZxxvMXvGYJK0Qh8NNGvyvT+
UXXxo5hXTYwMkmoaQ4A7SZxHE2o0s+cesbT4UWZ1dRmtJHiYLP9p5Ff10roAY8TE874MhfvSxOI0
DEH6NGFQf9+OfnlTy/4BpQ7IgH6+QxJnvklR6bojcgexac6R6hy107VAAedns+2nD2E2EGN/is3B
OhDH/lmYoW0dcoF27k0YdfYud/ADkH1qygxB9BB3sbHJdGIFbVqJT+a31husT3rfzKeiQclVNTWt
ntatNbtrt4XF1LIluBmHMjr/XFNFjf1oRLG7wVW5AZzeKFf6/FvnosNV65/RiroZXW04Dq2ontyZ
8Iaelp+b2YHxmiB65439/AHww7Yg5/LZIvuy0qys2FUiSV5SYAhqfhEbKJakNYhhuTxwbuTi19Li
HkogV7x5xP3Ho4eBysX7JyG/Os9Rz0A0BnzUB36/VzrRWLeFaKuvfscZzqp9996QRbPEyO8XeopE
Ds1R1C3JRN3cIspZH6/zYohhB3BXx2bEl8wn+IOMzGRsolkEn4YIhaHBXL6kAYLko45EkF2FM86l
2JtpeM2UjssDqXR3Xpx0F9XV2ynsQ6czbq59agCgHz/gfDiF0AkvTYsTeFtUgEhRuyTbbgG7IF0w
HowY9ywHFprMHoyHKKqB/rnt/K+q6nXdzkQ68zpBVWtUy/I0nSCEsbKXxdtsuTpokZ5Jw8w9DDZk
NFsL6yd7ipNtl/nsHOYSlfDW7W8wb0YfKUUSMe0qbHJkETLxONdlA6PJLu+ufarmy9H/2AdTGc0e
9/k6S00lRzbj1AU1O647nRSkQJhNa/T01s49SEtuaO4QEYVQJQ9vbt0joGMAUZFduFtW9xpUH0u2
VBfU73xPYgLqDxD6i+mNPPY5iFoVIkZNm0dbOwKILmp3fo2TGPx22DyHeWaT9rNQ+JTT+GCcm9LP
kjMMFetxaO1H1Q8aBu+1GZkV1TQ504FgfnWQmQHAdIOoe3ZIHZD0wxzHz70sBpQWQfc8vfXEhXUD
Cazexwjq3mclnMrY6Q/mJFo+AgrN5rPJgfPuF8Ntn7o40vdtagAql6PxAqyu1ud6pyGPejdjs34G
ptLuuwnDzL7MBLQvPbjhiB4CVEQ8qrfDH8htfyIl3X4auxGWqVzUxBr2PZGbrvMoEVAl0Y7Zv1W9
klPiW6GRpkf0i7YFl2VTp3DBiGGD+DUd2ycLFWwju8+wrY1KTFm1YqtyO+VAxtEB57RRiR+9KMcd
AJi9DyrnE5sITAyWAI2D2F+eCOGeSxm6iMISeGevTbjH+OkeYrZ3ie0egQZH26kWmhjeRdVgd96C
1XTPfp6QlfCnNS6iyMCqe66PrfW2N5NXdd+FzxP8HFDtYpnulrk2D+/uz4ljPY4C5cwCNjrPqALr
36AaH7wKNSZY58mHPCDR22dF/GpX7ncv0+tvUzXvB7/ABCkYH7QMbS4B8ZK3AdJTFX7jYlobuivd
Q8T4bQBcPPrgpfGSLBbJbDWgicA8182wCcpAP4bzQuEXxlE1fXRzcGCV7bZzu23j1Ze3ebLrbVS1
+XkA7ZeFmsdX7KIuNXX5fdKiB2HEaOEukAufVIHsWgDs69GtyECFaZPfjW7WbtRYVMXVqTaGD6ol
wnJ4atr0q5PH+q1hEfSsfSe8V0XQpN2dDwxlde0TLi7sIzqrUdG5x2u/l3ny1Dr84JW0e1NvOHNy
Ly9u5wlErepUk/VyQFoiLc+ZV/U7gCD5C+pN297BsKYiqHwRIv2qutPEzjaoTAkoLMwa+KKDCI2T
e/wb/OegR9hR9ve+V+3Jomd3qNPkL9kUG7dzloxr34g46LqV8bnSUGmtam4E5TQHl7osgJQZQfsl
zEjDA9+JHsA+AVuwxpD3CwwVUSG4W6HWo/xBkWGBVsPs/lcbWVkw4WMT3Q2yr1DDUVqLA5pr/cGo
PcyxchOeWaqVFy9AaaND9+x7jyLw1AMXJ92OpnQi7qsUCxAD9c21leXex6mYHtRMwN0f0zHwPzgw
1daa9LoIYv3dtSLfzgim1xdvXIzDmEOlW6uqPWU4nKnqhNBmXYtopyO8cnCHb8Ljk+kCrDYgkTcf
msLATyEf8SHn0PhBD5N+NfIEWbNtbT9Us88fMu6MlRoNipHnPpBsFM8Z9fw223VuiaKEbHYFtzTb
mLQb1YwHvTyKgX2KapZ8YB4atI/RAhnXLof4RxCAzgrHLkKakmCN73tgnnHOSgy/fFq6Tls5oRHy
ncffAAs1yOmINYtbROe9czPX8QpXH/PZRjDxpvfq+UvX6weB9dnnzLR3pMSiZ7eL/ctizdD2dCxh
Ki17Dd2uOJlaGj9XejKsHGFHt1VplztSsPOhQqG5mIujKgzyfW811RSGVxxHWVynaKGLj5NTEvzq
o3ltlOlKB955UAWR7/5gxymprt53SWgVvrbRWltsLQIG96qoAiTGhrL/cu1StQXn0LWdIE6rFQWC
KbY1fy5M9ASx8HrusWo9qP5I9qe6dq9l89M0tNZhBLJz10ZZiGlRXGEUYlZnVdOhKJ7zYf45Osum
6lOjAT7AxxHa1YvdxfWtOevOGXuj7tSS8rrV6q75OrTa7VKj4w9au113+ABAxGnMp9qKvpgLO2Dg
ots46NszUO/2rGpoa3soRfouzpAcRAD3M6xGfBe/FSRbWm7H9F0H1OIZPaAby5vLjRpQfW9XcMzk
yWOLtrHN7og17i0IXURUxpqcdePDu5bNuYug1MpmSKge1ff6OLZY2GJTMB/6ekTh2/Cyy1IPIxFo
nbfOcRmlmElcut5L7zIjcQi3pNaH0ncaYpKFc4Op0K9NDebQOpwJ6xVfQr/iS9wU1jNM2eQVdVtU
IUoQxXafu+up6e1DlevdIRBzsoG1VT8A17DQFEcQ007iasMvN79H1vZjmZT6zpIt1YWUX44vrkhv
XZG269IhFc6fheEiznA0MuQftkX2rXbjRwNbxE3vevoaSLN4xQgHOBmcJHwFvWONH+YtmgbDa+/l
cOBFMp0SjKqeetM+BYUvXs0SBeMJHudWLQe/c6MNZfrQaPiOyMQ9AQp/r5L1qvDiMnhrqoFKZfiv
c2z4BRBhmpWhCfvJRN19yIf+U87v84DxGr7qdtx/Sq2xXo+xhsCIHOWzM266ZvTYjjKql91taRX+
s41x7qVswPWlcFwqVMOBYlXhhbRseqpc8teypbpUUZavWD5Y0CKW8LJoQb1DDOmiZ2Vy15hFtQub
rvtoFo5U6Gm9g2rm5vSln0fnrFplaG51vUkfVcvXVpE3iSe9cBM0m+GQ1a6LafHoHmWObrhpZFW1
VZGMkzQy6fLVdaIaeNcUXoXNQFf/cr3rRd7N/atr9s3/Y+zMltzGla39RIzgPNxKKs1DSTW4yjeM
tt3mPILz05+PkLfV7X+fE/+FEUQiAalkiQQyV65FDlTt25B9SGpdWj2ItkaNelVEYCV5Stk3o58U
Z1B2fhnt1v7RUKVhmPD8LAimXWA0Vj6FZ9XLyTCCWz9/W7teHQ9jWhJ5L3ptrY1qskXtINkOWp4d
rJJ0fM1d5GtgxRfqHstXaY9CFNCkPdfSi8U+6aZ3yORE4XM1EHYry6H+1lgzQ9UQvFu+YLOecwYT
sG6918QfpINiwwEcaeZwiWAsOtpTW/L7CMS3HOEfyB/br5lim0jruMVeC9P+Zg8oTsupbhz/CPSs
fBkCYexMeP/Xgu/451R0S+lg1JCcDc1Ukow0nXNpAKrO53fVp+YWFS9ESDtyRkoMFlwCwmUj8d8S
Ki6vHgN/+P3Rlc5VFCZL1x6o/JoB5o8F/ljv8Ro6G3qQeROqYbaarC2oobeiGptP1EGp3U++CtsA
Apvy3xRrbvKVIA88tM5ILNSYwHBAVCLdsgK1OoIor76dRvvcUNRFhMrPYeid+hCp1F89ut1sS1yF
QlQ5LPt3x99THraygCeoSGp/9d+cQ6pQ0MuLAJUVxSJKDL4Fuqe9tiL+HpZWfjLnXj261jLprWnb
KL4xl3V6UKgUzczYOmOO+XislWVH/j9CTu4QUatkh/cgk+sReYtF9OUeQXpMuPdjJTiI2VmdSnXF
TzrcK526JMMHw3ykT7+uZpsCy9xP0yiXgCBmSnOHY8ncyO6joT7bPDTa3w/LH17TrM43NWkPzI26
vboQt2TGxo1giYDzNe1edrVGMdlcJt7K6/P81a7dHNyV8hn3hPcriAmXVPlpJ0VL1BXV0PlnWtX7
MPHtH+PgvBt20L/ngW09mbXQD3HmqKc2qlR4cUZAkWWm7HUnA6HtQ2mSG7Zysc3uVzOYprvoObVs
bKi+nuUANPDNRW3XsjPCtgbh8Vj3MP80e+GhikPt3MII1ORvDdKu0Et/dlH4d6S6ZLcQcnkC3j6d
QpJxcPL12WZy+/IGNDFExdssvqVDigeT2CM9o/dkf6iol6283BovLZRwO4PKRy2q16HviVWoTM23
qltLxHNUQYI4ZFV0tmdUn0ZZzlhMxdVU0h5yqlz/1kzKJWwS/01rInNjqfDpk0Ov30zXv4ncLr9C
vfI2qVlxo1g3v6mOy0ahQuNJduUAOrco0cBoKE2Kk5G9JxHYGF84OIN70MofWiK+1JlPsYsjYEeD
7QEW4GS6cDREMSwa8u9mcXCnpPqRdRVJak9LrqmvVDveuth4JMxfQ2q2qdrERYz2xmi0/pNSDhvG
R8c/Tp5OhR+Pu1XbTc2n1WVb+boExPmiske9lVYNWV/u92dq4X41BfCuA/ymlFP8x+7Ba0kwKQbh
X3FsWj6cHz5jT7qgGDV/0SbWNfLVeBMPVfjOVk9FADbMtveui6JNGvJHyO6EABh8Yem0l10roSK1
E6p3IJgWvlszv3ilwegvR6PG/yAgjVJtl0TvHIPPEOK3z/eFSLQHWZDc5ESo99C7abJrCyvN/bmd
kcLqE0VbyIe2tLV9TNa0tk8Pk7QDkusrosmNHew48MXNzazbcANc8y+t6YCPVmNa7Yp0+g5weNq2
qsguRcUPpSqM6h3KvHiRJML7MZJk1lGhZu9miHNLJPlrlFuo2E0V4lLQLa5NBait7SMV5hG82JRa
3lyJqqtQ+ifxrGw+66mOYHkqsNalBwe5bLw23akgoc73XiSI09rKzp7S5O7gKta0MWJ4wR3YugMK
0RUrGU6y8dHfhLFw7o/eRzfF60kE/nvhO+GhFxSVmcnkvUf6CJ9p7oRrfe56ve8s+Xp5OzlaG+mP
Mjfds5xqpejcqoTLCHyUNyO17k62W+pH+IMmeHNYoghsOCmyPJj5Ep58k63J1Jv1sS9GT1uPpVM9
Ddyd4EAXrsapMBJHNYbeYiWHCg+xR+lvyP+CbCzhd08zfSnYCF201u32sZFdZa+wgubyb7uq96PF
3g9fPU176WuEuri7gVn9xxrSLk1DNPZHQlVvhZo9ycMQWSxYOFpy6I6eRV+GKb3boVTUn+yiqHfe
bP+3v7R3dVG81gFHDtvwD23XgiKfr/QMeLmeUqujJATLhxFRmaKauDH93nRaUK0ep746SJPruN6z
/MrW/r4hw7erykqpSa/0X/7X7Z0c0Bvr71JoIfuif+0nH1vBNuk1Ys8UXwv7g6BJ/0kEvNv6MPk9
OXM3jPoL8VE2QmmsnwJBqkfajcTji11PPNtUO3/t2OfXnDcC3YARKosocjOpLslU5TPRla81hP9X
A6qjc+TVHARmuw09NawReUlAy+ueYBOy973q+Xu+egS6f9dtCA3RpTQZm20wl3aw31CefR11qLkn
az/KWK3XU68PkLNjo94ePaK4RU2tQkKohqcTdkHrJU6dWeK8rjZ8vNYLQXP1UNnQLwWlYr5Il98T
BuCcHJVjIJqemr0OuniadCe66nMvqbknFln8Gis9lIPC2Xf2RNgO4RT/nDmZT5lR9jxYOurkRbjP
07Q5dAGKGVPZnMYZjicbfT54JZbz4ffwuUhTPB/QwrmxCWotQXwmJGhI4SkT6riTEiBflxettjf8
4XTvyvihmcBKUcJIInv1pHNDdd2KGjAf9vXBRxKYBkjnF2OwK8oKPP9lSmCnZPPuPNVzt/XZsZil
8tVMGqdeBmW5Znc1PkvfIvK8ZTy1yn01GA6JOzuxRS1ppbwYeqe/TN+HXkWcSRkLdWGbUben8tta
exCM7Mz4PQef81P1ZxpOq/kIQsgLndz+YUfCXCHeyvE6ShqSGKZ9RjFKXOvcrK8aRArSlOcd5/HZ
A8oL5ywHpdtscn1tT21HueWMB4SOcmD36NhFWK8iLXpRa0SX2dBMgOtmoIccvntW2jRBqWQgC/CY
KZ2sIPiR9O2s/+tHt1oY18w0x49J5ahP+Khbyy71Al9Tbl5Qak13L60hpuY2wM4jDopzw56GL+PU
ARz+bUNaOdyRIa0oY2zMWfV4WnSwccZDzLa0F4ifDnZ4kF3ZTEWQk1ZKoSaAva+4O2opOqdrOZ6A
wUGPfp4uZzZr8pvlthF2tU3DTtyCKqT+1nS6H0CjuNC7b2qqAgaoDXGBObrfBxqPJ7+3gRZ2yldS
E90PPdY5pGtXeKjUfRZkbbBpO4sUekS2383r8ESsjg1VBymF0as9BBS58dZRwYASu/ps5arxNtBL
5p4c66m4kWPq7DmPlXWi3cf+33lyTJsx0L/nmVAmQnOXIHaFGM3SGHIyaqPf7kCZ9xseA+VLgbjN
opjhTKg5LkxigrGNEF8Wmd96cFGLsc30Z2Wqi0OfVAUUfgT4KvZm5WR8a+HzWw4qsYyui5IzMFMd
PgQGNAiWbWTov9Y9P5pahMY+shq+oJXDo3BeO437yxAo0XuoETbRe63YarAtHgExIewdQIUfV5m1
F2n362qwkQZU+nBrFNkM/JldHqPy6jEtNEuVejI/PrNdXwyVYX8Ejj5uyiQZNoOX+h8D5JZhbmZ/
8ZhqnnQtS/Y2t+dXPqZnmxsflI5+uqjiqXv1ocCBQqJV196odK/IMA9EzkW+lKOdKqhHJBxh5I4P
BYYrUN41khsiKN0rdfIEglVzOjxWgn9EXRfzwvgvKE+rD7WftMfM84wlDNHKEi1cusLhP39uOtc2
YFqcL++O81WixO8a36TNw09eVVNwBW1HqX1Zv3PbFz/rOeZAZcMPtrzdoou89LW0nQAAbVseUURS
D2YUI8elDOekdoZr52TjFfJutkQABaRJNtZQLfVQtBfZI4I9XO+jckJYs0PooKN4rFF73L5h+Nw/
1ohMdzx4Yf0uTRm3krNW9oCE5lJgAOrOoZvLhREFdw6PLgTVXyK1gXdJVhTLAXD98Kqac/Ww7MtG
JH5CsVK1lAv8ueo/+nEU3CrddClIt7LtTHO+0hxFfTd1YBh2g4gW3N/ae4eOINCbwdpXk5buxjm4
HugglcI8Qo42D7O3EJYO6GRsDV7mPH2L80rf2WEtlmOvpm/I9oRHOzdqFGHmbkiVku4Vb7JXKaB3
vapulpOXoLUaG9VBXj0aJXJJkch+TC7LvXuKoK0OcdMgZ1222pOttK++B51qBinpWyRisa8HmENl
N7atFPLxHIFNNRveinAEFWRCjipH0YFyj92QpovUtvq3PnKtE5QS3/O5lxPuOMfx+C7Hmio1Ll5U
PsuJSeAbz2MAzfnsmZqRda0cBYF63kFRlg74RZgG5jEv54nX5H/LocEMkzeNu1EQz+pryRZ+UfNV
+uWow8Y1EVH52k5vrkizu6uwFXA0wGLy5vcj3KWkKqkWKN6mkPhk4YmzHHNjYMB6PMAVNQ/yM88Q
tKnjvRxVYLxdmeyot7JbdMQJ8mFQ12askfcv3UPul9Gp/HcDRWGn9tpRmqe2RjsKat9fbrFG/RQU
Dqs2iHSxkj7wDeAzNdO0RaHp+qsrJ8pxOTtuY3jMQxNOrRJ+htLu1T3bAWJOPLKB9FipcTRaqOsV
kumrxjc8/qtmY1/VPrhT6eRGIKnVieBir0+nRzMNgXrSYzPdu5a+0+aeHJT2ZCT+TYW4V2/6CSk2
acw1qtgXDyfi59GTqNt5Q6P87ErQbaR8Qer2GnJCg50eZRMGAMO7O/ZRti4iRPehrMpv0ejMfBy/
feQlBFrwgPFhF6gHQJs5QtEZBeW+MmPxHlU83QfPCojH0K316jYlavwse9DsrSajG1/YvXDUKI5J
UEHVUFfFytdJkEeTYsx3LPMaolu7HlF3XMVeHMZLtjr5yuiKYp2YfOeWGXxBkOGRN7v3tdq7IEs0
HTNTN69yHbfkAZ4bz9O8XhFHzdlCLVQOSRMFV9N+TJqf0nS3TymcJaEplvJNSFvnFpT1Irr2FHYa
vMJeb7Jr4h6JSKG4BBPVoqZvnJr5wFXPjbQrUFCEmmqcpKtZ9b214JO62x5uctZvX2lHtbw6asjq
Lltopr/6PoQGWqF+DJHTbIfWa9YxtX3SHvj29OHWU7O11AriH7NC3r6zQqikYjgqq8rctFnX3UbY
y28IDoRuY16lhR2KviXOqSycyfMR78rh6VRcS+yUwOluaOiYzwik/hoFEETxURR6Szk5zJK/O6DE
KxuCtvd2qHZDnulXo00TCgttCle4UWhZ5L6Ff0mjiNz2pe4cki9MQCM6uxZ2c5BjNvv9i4c+hBwL
CNeedF3AzdZE+s3trPdgqn/oftG9xlVgv5T2WigNDFUs94ZyuHIy5zE7hTfbTYpmK10715g2kJUI
bhaMZpPvHX+vo49CrhMn7Ff7iNJhoekXYz4ZoV9lvZS58YLMpHGSvUBtiAVBvf4EvbX54kV+fZ79
5WAx+6sCBYR/+xO/7Z/koG9M9dkZzYuThYCWUj9eTO7g7u0SHduyL80bDynzBl0BNE2jV+yaOrRu
uaYHFyQbt3JQuoXaYKLMQDj+McvqXwqK1a5yjl4a7WZKRmv5mDRo9c319fgk5/iQ7u3d+YXN+TX/
eGHZDeL4iJDzm2132qW2arFSk9B/hy7lp1cb09+h8VooRkrlNZXHyNVMn00Em9kwGYCPeMysq9qa
DknhE1hTOAQVICSvkTM2y95xrXe/zLZB3kH/MGQvYm7qoKfmRAEhk8Pd/oKohTjrkXWUPenhVALG
dc9sdnKW12UxgnPeN8d00MTuHYTvQCW3ILWcfkc1cLnQkzA5dwjk7TKnu4CIGFQI0ec28r3gpKmf
0uNuovQyOct+RZYJZJx60GaTtNsTh5M8rlDFLtruUhhwpMWoB39OwqhXlaqNeyEM/0tfv7qZXn5O
kPpv+w6NNCtKKmKQKUUxySS4hSrIl3hleYOas7xB4asuwiksd9JmwHd2o1gyhoP7RjlfcfMJwoLu
QBlOjkmvEqIHCjOqk9V3xsWYGyu3umVvNfFa2oSWGBfIJIyLEzpXDi76/mGqjNY8R9pVF+wLFnJ6
CVScH3y25BdNSc2PyU5gOp8bxfUIdcnLoqu4LMwAol9OR8uHkxjaX+7key12oP/pQtm9G8jM7kwf
gUBC3QNkPcQ9p5mQNIz4BRfdCwW/UDe7qv9Xbjsb5I+Un1bnrZVAReLCttFZazLrZQwT72lSHPsY
G0LbR/ApzbDq4Arlwh5KOXBa1soYhPMJu6W7hiB+2GhzVyF5B0uS9cU1fGcXw773VCQk2YsQSop0
QpDdShXjixfkb5QYWs/6kMevE9lVaRZJGB9QmB2WsouAu7fKusz8PycZZQJF21SD3iI4XWrhNzu0
9FXZNAa/hjG4BPlMAWiUH5wrP00VVE2HQMCtqvyjNNcadQljDSt6C6H+R57YA0qovU2CGepTMjH3
2YOuE0Z0svY5dbP9QDLmk1AMDB7ghNYpgvOfxhg++z2YPIXb6IUwfgWlDnbYbrS7cqSZBOFnNSHe
bJUfITz9bDQmtJIK+OhhPdKewFseVZ/YSceJ8dRperSEOLD9rHtCQGNnxCeQs8krj5eDTHPXUdit
J7exNjI5Tn3bsifL8478WHUYyzpYSTeD6h/q3ur8YsLkcR1H60MuWxUJRPt6AJRpfpX2yW396lOk
8FE5dhPDPoq1m3z+RT2xTyG4o04oGswZ+qlUopUFOmAnxm9Wp8LvqRnjS5yExrYkN1lsQt0Ntzk1
T1DckkdI2sbbqE1oUtbQdM256ShhGOL+QHBVQyvhbiuiUxNAUTj3LLNDULcsZxW9UTnUZQGPVp95
r1E1KhfLS4+ylxjm9DpznsxDbte3h6LImjlsQTURJXrHoiZPH7XUL/qaicBmWoQfmet9LztL+eHD
R0iyAobRho2O29fjd3hGEA6Keusd7phoBhhVQHOH7qmPhvplUoYRKq0Kyom521GZ/OypIfyz6Kei
mQRaEyUWTjmG759L3e1ekB9MuJHfoqGn02cVpNaQHMgxJSyHU2hWFGkyGIoEj0T7ARtnckwoKVjz
uiS1EgMtq47zxVRl5qVsERmWIDB9qH7m6pjBH0BSzWGDu5J2rRvWOYf+L1otyq1hWmDeBsP+rAtC
rkL8xa94eIIdPXji1vpT98ORupgqhcIFvqOVMJD9jJOITdDg7GVD+QaATHmJI5fFaDv7am7+HP+H
62O+0bTdr/nSKKffh+uGeEGV61e3JW40lOhtOCqwEEctZmICt4JbAqB2eIk8JfxLD1B7rDrTe61h
zuTgmagXwuPaxqNiFga2WhyUWMAXq9rpvs4s/wrlVLcJvZAd89D4V2nrqYZAMxeJiy5XCQynHd/D
FP6dvJyqTQvk+WOs7b/cokqea0oYXvLM2EAZXXFabSfY3W2QyNz30OMZCBKBYmiPvi569wR9KOoD
Yb+yEJohSFv5twaQxFYNdUQjSKTcwp7fUMm+6c1INGSMYKMlt+bXX6ZyGBa6DWm8NXcVT4H7uoje
oPwBYto5N2lu8sHbJWUWrnz2Cl94xqN54hvdVo7Ci/yTslzvLAelSXZR8D2YVPy/DUM/bb0+cZ/M
vtU+iYid2s63XvRcC05OKF6TwXUWhdrFM8iBF0djat0W6E/ocxeMXb2t/RzRj7lLYYKyV3wy4RBc
RW/obgRntBk/URb/zIvwi2qN1qsQub4GK1Y8CT6AV8OfkbQO1NudUKxXl+TE2Szjt7SHQ1yHKnSt
1MaxtSCd6WaEZw5BDQDfODmMM0gUNqlgN6UqYivzqPSDrnVZswG8yl4/6vBBZEAu3cq7AhIu9+Ds
7OcQKADfWzF819qK40WeffXNGG3qqWd7o7vquS1RZ5QeJaxyShF/b4haLYVLPt6fQHU4taOvJg/a
JtE6i16ZznYVHdHUyD+cWAtBiyXt3jL87KM33WXPY+itdWyE58qQHAIfxEcHT/kTO1F9Y9RjvQgD
4iOQfgWLSQPiUnQhUhF8zSOdMjfHNODwBdm5H0oeM/z+rVc9gNPWqMryaqZhvM0MaL+9XvvVqGl1
s+Dk2D3sDcjL1Bya3Zj3OhUIw/CpTMWlBeP8088SVHjU9HseEdGza8BOVF0m667lnKgOan+wJ15Y
1TP71pSIO6BEH3xzSn0d69b40wj8/Ug05qvQi3qpjoF3tJCjXyhJ3S5UyqvfIyOP91DzIDswd+sQ
0TIwK2Tp5q6ewMgRZj5iWlFcv5O4LVaO5rjbcR61dQJGtlkR3JlH2QxRt9zwP6EQnHifwLwWVZlc
5UplSw1CIfpXYDrj62gUM+KNFzB0WGtnjtl2GP4C0NX+9N2dqTbib5LBSCYmWvlmU07zJEYzP2Ua
wX0LUenNSJz3qgKXXI6hVfyVuPWWGr3mZ1ZZu55Ay9c4DJDLiurpmugRRd0Kqiw5AmwnU0WRePJb
/c2YU7Uuxap/2+2S/V/zk1vAj8xO1PcmTR3ABF7BN46aePi8fUTP2BFZHghgHeFkC373Gcbf7ZX8
FdCoFu0qp6kPsNUIYlqjE5MiQTHkIBs59OjaegSoyoW37B9z8pSqCq3ylC2Pj+Jcz40Ac7JCUKRb
wVRZnIkvAWGTw5pAc+oxgthuwY4dHzlKVcubx0miGXaFy7P43lgFpPNu36yrPgWvOg/0lQ8wIxf6
J4RZ/q6V3TqOXVgIAazOLqo1mdBj+h3JFy06kBGv0cmYL8dAmy+nXGwKv0OZYx5BwyM6dJ1fhWt5
+Q//0L2MBFiuninWEdGRL5Nq5CdyikDK5m7UBGJrGNwcNL8LvqgtGksETaatHOVJXS2mou1PcpSk
OsxdivpijVX1Mi85NJryLpeMWvioZVcu2ZP9WsluwPbmvqTswg6xsczKQSk+V/eiIVoVUI4FSZkK
vfRvm7zqHX/aW309ZPcRafzD57/Z2LBshdecyPCYkAm8NWVGQbjRuc9t4KASRC1XaheQtv+2mwhD
LbIUzIT04HzrPqczKrEhEkuG6j9T9ZqPRrc7ZN1ml2FvGiRluT8nGzjH3VM9X2lu/OtK2jgq/Rr9
w++/jQJKcO/rFWlw8mFzTRLd2TcD9YQwEVEh63qmaS7lpWlO7Drk5d1B+pLM0xeh24n7VGmr5Xx5
+Y9JpEucfalZzWpEAZpCAaXeRh1A3SxFAGrKgoCaDY1tZQ1Mp8o9ko+/B0Y0y86Uzy+l28PuJXDM
cr8Abk+o2l3I4cbU0WQP+sPDT4n1aC+i8WOwLGfX+J66doQ67BHZGfadZeZQpc39yU3R7VQL33x6
jJtlzrh0lca7/72vm4EOLhAQKKxPi1i95G4+/RUUdv2kpnmzD6Oof9G15kPafVQVrXEc0EcOc7Z5
qR4E10xoynPuwqDGl71Z1cJW2HaEhtiSeoQbPRggnZ2qxj6Asrx7yylsLr1LUr7KDrk/ZvWWsvZI
cZ2kTTZGCrYYCC93FRUtns4Vc/B0rpJd9CI3CfIkHr+sXNl3fUJpajC++UbWXEtVr65pmbybZTl+
wJkAO+G6Ckv1rXmrfad7E35ncK1D6f0msc6/rm0D4sksmC6UabvL2C70dW+UOucriKKALP1dG5Dm
61E6vEY1CM1Q5fQUxf7wylY32LbswFdyVBFFehKT900OppWhsUU6gEtI22U01WvNCC7G2IFoNCvv
JJusJcm9sPyx2SBXHiPvNfcf4/LKqdqtaqb6vm0Ttd00CvJfZU501YvL7mB1xCoWvq+0yA3Rd+ZG
Xv1hc1OdUnoik2zEDChEdBO8j4sKF8qAwQUK81+N5UAXPMQTGif/HqBgAJ6rylUXjwHie8EFHvb4
xPdl+YddrumHxcsIV8dO9gZb78mqEUiea4Nkjc+k9cXOMgtqtf5T9iPtFoc0StEehUT47Az8Hqb7
lUv10GM5aZNr/vaVpj9W18MAYbtKbM1hShSqmSHrsPwWpb8sLqlEaEfSdH1R7Do3mS/py6scptSF
kUZHPSy5+zi+cYbCyzyjqhnAITSutE4pz/bowzysRbm2ipU4B3Q/j5rsH/rOW4iJLwpYZf66eoy+
jDpfo9zssifZzX0LbaUYRBq44fiLocVQ1gNtkoOJdeNX4rzh4z+TYHyuNCX6ApbR29sddIbSKRiq
mttVpYNuYH1+1ukSPKQ4SOch9E816eiri/zaG9WiINpYQ2RWDS2tHd3flG5yllO+3qEPZf5ZJXby
LCEN7FHEFQsVPOnzA+kABv0PS6F9xkiHPAMWFne8xP++zv11hPXxWKMfKBajXHnf5iOYAgLN4aFW
/dFeAqAHGjY3VDY2q3xKuU/kZUu5otLGx4yC1aO8aqRxmpBPS3TkHu5OcjwSevPL/+4lJyQZGXWo
zoDm/rGIHL5Pip0wObb7ghPRIfFaselaD61MVTmE5oDcmLyM+jygwgrjyA+SmwZFDaD9nA6MHYWO
fA8in2hI7CuHiOjIokBHzPvRuH68msOIyOTMSUeZifzvSUk5BCCgOkhPZBnXTV/ne9NDIqyiQLXS
ZzRpzfn8zsB27/8eFioiCeff3SGCp3ohudk0+I/EKk2GZV9ZyWHQ4ibYPJjcGmO8v0BskWU5/+7e
V4DBaIAuJ+sp6pz6q/ZpW5ZxlQ3KHe0pRnpqTEPuXl0olF3k1Bn/d61xzUVqXpMqoGJE8dVZ8OGX
zeMejNyhQ+J1XkoOFGhnL0adDOPDpqr2h5dMzUGuJO3cV1cC/DhlRMw0tCJ+Vhx0COe1pal2zZz0
bHuTc2KHgtuu0XcRZyyK98vhaDTcrzrf69ihVvEih7Cj5YX7mFatLZJds8PoByuljId9ME8spZO8
9AMSj1rsiqfHRqyed3GP7v/Hhu3/dhGJaFCBhfp+6Dj4TOAbgjaoLz5wZtiG58bun4PRGvYtj3kL
YBq2qnDeicCaO9lzkrq+5IZWXRyv+jFYFajq3ybpMeqoJLYw+qLsCRVx0pXKCZbVCPXHbvySTpRT
Dq3f3IY+s5/SUvFPXtNpWxM1qb0OgfNRuFOwMYqmflZMq1/FWZS9IVDHobmz3Pe0HbqD0qrgo0iQ
uMA0aYJsQKmvOmh55B11P2Cw7cxfg9JD18f4aOrhQuVgrKZW/FzMicU4ip0zumVPsicbhbvAPjWa
H90YJPESfaR+U3qVoGLBt1fCTs29CCg2D6JQ2Zjj5L52CIWu41w/NBaYQlLaz150diwrgf6RJuFp
fG2g7s1cB2XuuXe3B96es6ByJAExzbV24qtvR9Zeeqhpml5dyJcXpK6trekEarCkQANIgqjDzWN1
NYMItM9JnD9shUiVp8lIs5VcRi7YVu2IdDy6KNLPmt/ZgFrorgzDYnF/C55qsDewtVe0UsZgacNM
cQqbbvN4z61toANE+PTff10/jBDIZIDm57ct3eFhv/91D9Pvv/DxDmLTJSUSB/b2/pI5xw2AKmwf
Hq8ZOw4MPDkZuMerdpHiP1EK9+svlAvWUf7rL7x/WlHoQvU7/3X3tXUrYL/DXye95fryLxQQpz3e
ZD//hVlz//+7fyx9SRF4Mvz66+Rs1bH2SuCCipo/CDm7yPKvsV5b+8fyDmnExVAr8QoYXvUC7miu
d1XLU4mk9Y1U2YvQHe+T4hs49nIElXPNr74U6GSXtpKdC90zn7wJKYHGKS7cmKyXXCciF04+d5ko
IeuZmvpR0Yy/5KBsKsAYhuWNd/+6o2i+IQC6lvnQPg7bo1smPx7+nkb8kGc+G05XXbWGwl6vmmna
s2FYidjVbmFQ6DeYr47u0CineO6NlYPGdcxHKwelm+1DWc9uO4QHExe/CaGjcKE8nteQjd6Uw1PW
OUh6/bb5iVh7tiMu91cZY0HM39cX8mWkW2NGqILYZbaX3UEbxRlw870nZw0NdEaVXUFH+vv9hnoP
+kBzn6UphvBhC5lEgfos703a4Az/WaipOMhe2sThydHFfUya4HYnDjokIdm+/0wyPpOga+8fCWD/
cqPGGTB+4+vgnQw/z89C0ShgHYPoIq+sNKN0qq/Lrew6VgqTe6WDQIjMJl794e0l6rCrqXZ8LCA9
ZMMrIGT16xUeZjspY4rx//MKj4G0an+9SkERCvzx7IfUDo5kNcyegDIT2mbTsdYtZVaTC5Id23nI
rCdvOJB1dkm319XZ85BKGNSwuRqgC1bkc+xXJXSDZWfkw4cleuTJB2P8FhfNqXY7/6eH8J2WhwN7
wo6sMluzYJG6OvsTNfzumNrfjRMoH2HmuTCEoWWvU9ezyuBXvVK6xNHUMNQzb1fb2GHnHBylc3de
7ta7QeGbaxSOlGFh56X53/lxjUegWmWLSvvcamz5G6PLdnJkMLy54ignl7zQu2w83q2O4S0GHgRP
ICpy/gsa/pfzJTpBxPsVLV23GtuTZZXP6WztmifCvFXwD20iUe6iWouImXrBRfXAg4AvViCg7NJl
omfNaRK2eotV8SbtbpAYq3iqmz13d42aSmOVl47yCZ5VW3u6b5NIZvrQnwq9hXS3N8MdPw3tSZo5
IR76alBf46s1hS5lYHaKYpXnUWe5ZptIEJKMb3pA+yo9CFE21CjPl5MOa4VrafteC1CmDcNV5Hbl
0zT+D2vnteS2zrXpK2IVczhVzqGj2yestt1mzplX/z+EvC3/PXt/YWZOWASwALHVkkis9YY0eXZM
ymdNjzmCbZnxcy5hq2Bm4DtEs22gXIWZ/FO0RkxJz07oHMVMNF+MB1TS52gjcy+eDna6AVlSP4lG
F+VrlNvrq5ibhOOz7gXySbT4S1Aidv3wIELjDhBgQ6p+S/pAekrYf275KuTyTM+rgFw9B61Xgjn2
xxpe8sGvvjGBz4XCdQVQ2CDtJwLDXv1reArEUy7fuUMG3vh3f25MiYZ2sicex5cItxVg1UX82kqD
ivw/d37R1HJynlqoezsPkNYrzwAvslGEF+jq40tjLESQkjrxWctbPsesYGOnuk1MhSeBaUpsG5Tz
JReUwDQ6KPw4dtZoH8XoSP0bHJL3PICuuhpafSrrOHnVFTvYj3VQko5nUtaO2coEY7ESk4xclkD5
BmwecFjZo97vrryJMSkOofDlcQJ8eLCf/tWpgSUkO4oUDL7N5WNIWmuIGvXaRFqJ2nIQLTPe4ZUY
7AbbPVNnvLVEV9l03jyNB75C03SHkvZeqQ0qXn1OARIh1Gep8UK2CaxEItjZhpALQDD/VIzqG8oO
wH6CiSauW/kl0gtjbbrjxJnrkT2UuGU7jVk91qruzJD2zt8rC/qUMpXRlQazKKBL3023yGdRksnP
uW9SatFVlUS27mw6FKK2jjROeJI8WKIlmz1XMVszPpTdd/Jri9tKRRpt867V3yMdpoIJMfyxqcl6
1fjAHzU5o3IX9d4mkC337FtatrCVKHkNTOlHYlnGR9xfb+tgenWVsFp5a4yuBnzVSlcH1YeFO464
NPXx84it1VOAH8RTW+EEFVnpg+gKK32cwdoAWT0NFk1SrDLS6Usxym9jdGj1DojoNJqjp/xU7+9r
UY+bslpRfRDjlpMky8biQya9pU7TPg1tsigQcH7FS0sBfhFoM9HUcsNamX5TIN1dV6/sxLByinro
E1OwlrgrCh/to+Im5QPUqlt3byb+Ps0mdPQUFWd856CP9OtBbox9J9X4LRpSd5z0KRZy5Xdz3Rz7
o+gTB6AI/TGeDmNYmwssnQiZZnRI9+KbO42Itioj0XofFn1iFDk40FOYrcpVHM6bbnRPlelZxzrD
wXrQRvudFNzO693xJR8xcMjcqljDyQy+ePqIt0Rsv0sQmhepOmKw0yrhJaV8A61Xtd7TcHhVMJ/w
qGzMfDftwDV2weV+sGr3WPGgs4fMWNizyHai7SiZ/kyExIH1K9gLUF3W5fQYmVCbZiapullh1BXf
f9Fmd7EqEt6ewEiHS4Wg2W7sgPIIdgDmgd/LEWUlwRyoaQHp8VFzglUwOMF32WyCk2AHTGP1FPl/
MU+sohv91lbK4CyPUAWkikK8a0TOg290zoNdAR+xzavoGWSSPsjk1AsxJvpMu171Dl6cohUbUbSp
OpTLfEzg0rnpVhdkevtjOC2Wuaq9GnGRClTDfPDxWEFCM2FjotUmJpOjfY0tYC6MiZ7KNKSlC599
EWcVqo1hFC41CCBHBVS2XZbhPAyj8kXJ0l9nog+aVfM49PkcDEXw1el+amZWfrFyM91aENyWotv1
gr1jNTrFXn6tsI5ByiDpgq/hKH+Hst9e/ajJToM2WDMRX6UaUhGZ1Z0cTU6urqp/iH7DyV2eAwoT
2Rq+Z45dTEbOwVd+W2u0M5NmGxqJ9yXUKc5P/VInxesYCba1aHJ1xu+r6zq7X2bTVaAwsy8a69fV
tTxKzTvVXVVIqYRFl30UlnImI5vhp4kTpxn18tGtnWJfZIg9dl0QPY8tEAXyNNkHbPB5VPf6udHU
ZNHomovUpYcJyHR2PySNNKxN3Hkds/mzX8Tqsv7i6bb/3Lb6XolN9YvbF+iQpZF/LJQGerzsZks1
ca3XXo3PbmArP0ItewAVl7xqHn9WV2bSPtTG7og6BcxR3a/ewMpvPZ69fyhu/hVrLv0Z49d0Zeck
37Wglk+dNwaTaKb7NZK8pQhFDglHJyevnjLY36sWS92dDJX9jHpUP1eVgS/xoLeIjw8uqLZRt7Za
6GzYYERCLOh1xMRz1o1D/NXIg295UrnfyCScMgQ6Pgp1XMr87Pszpz0iepKFs8ZE/gbGyAzqx0rP
kvLD8eULZmrNN60NPsbWNzaS6XQrGeeRRyybmyx/RC4ie2zLgg3o4Cor0deOenmGOLZJsy67RSBX
6M2dWCeNgcPckAUPfho65zwwQDFPZzDxq0UTZ8GytpETWfoojPEfcPalSlGa2yv7RqOIHm6jtQsv
KbTrYBlZiBdR7m5Y568ptz7e1dsUsb6vZMoy7IN6FdutNAulWDq7dqfiIwtQLvKy8r0NX8AfW9/i
snHniI0rR/5h5lFHaHleTgPN8D2Bh/weml249Er2AeYARCWXO+TVotD6Nuo5jIzG/5J3UbsK7FDe
SrkhP9ihj2XUFNG35pMGB/M5SHVvgz6oDXjPLJ+bRHkUAUgSJTNE/YCcVVW5VqVA5S2gXgQUE3hd
9cUCk72R4iRflRjBWE3kv6D4r25j3emWdi8bX82hWQRWOry6Za9vbGzJV6K/lL/VfRC/Ndi5rRvg
R2vFCcyvcZIYXzWbjEIfy9a6aLr4bYi/ibEIjvOKbbW2wbJlfB20aiH6FYONalgluAMjjPlCQnkj
XoL8jrUIpGCtmbE0Lw0fqzP2Entxlk/Ne58Y0P3y/wjpdEeHT9Hoi09ze5D2O3TscbRE4k8cyhCc
chHk2h99adJlZy4iXFMpwIvod3A8DeBPYKOzbfz41K/WUG59rz5+6ne9LD02IP7byBzmFazledd1
r6lRlddiYi7aaPjsf3fBeq+umNPcuqiylSSRYMVKbGt9fVAWOY56Vy8ztGWt9wietI6zyjU9Pzrs
9DawYvu9XPP/pCzubj3TyfdJ5rebCpXPo+GiqFNHORUMCRe/CC3kix9WaAK4pfeYKC0KsSEPo6Eq
n4ABZOfS1OSVqbTuLE0Nl4317b2Qhw0aCexMTTM9iz5x5saOsYMZdBItzcHkfgbUqThWFKSCuEvP
t76wTLAQTOQYY+pBfoQM7u3qsQTA6upDwV7PnwOA7q5i1IjrYmEF2IOKphbZ3QEH9m9ZmciPlV42
J8QWD7HnSi+1GgZUdI1oI5q6rnSzNA/d22jQjWvdidwHqqfeU602CxFljzy/lDrP8TJsRYBfaM0M
xkidsHPDg1/q9Uugl/No0JBjtsgUjnrbLEWzqaMfcOOHi5200TVl72nUMSBRR9eWuVnU6F4yKcGt
KqNispEz/F0t06geSpsssB4Hx0bG/DCqjeDYcvMXY+LgdXW5bFS/XJqmMsYAoZuLbpjy2gNBsk0D
NzmLg6IX0UIuTAzttCy99QX1mMBW8nxcQE3gjFOw6BNnMDjLjdxQ4Lz3uZLvLlB7UWYgD/Nx2cY9
tZFJgydxmmQXQmpax7QvzEPOrm0afqCcZ0fV3J9BvOOGYX+EhftTbXr5JSmlEVhS5Z/rrLI3KMIH
aC2a+qlT4O/mWl68KGEeUN8o2g+wvIamOT+1MnwKn9JS1rlDDebtUCcWCnVtci2iDEvT/93fToOf
+sht4LjSzGLD/1kYXqWeHPDMUDLkcakDLDhmo6aAjQw/EDgfUHUZhr04ux8sQ0nWStTAosbezZkO
Ps8hsB6n01Arn1qVCvHd6E30qxI8fdF3C/4dJ0bvwX2pFMtY1t2NBBttjdnqANrIDF5VRZLQDpSN
bVh5wasfJe+B6VRnbtzBqz5VwePqxXOtntRw8iimjEWl7igZdnMRFLODBfkF24MsLPeUgdvG2MEs
MnpLezZDXVkk0VCdY0WNN4pcJOAXNPNQhHG88rFef7Agic076CRv3Wg9kGSfgPw8flG0mrkw2QOX
xxBf18o5dMf6Qa+4gySFIh8UtGp3qS15m7GQx3OOgfdiwMj0pevYJedf+M1JDrqRUwIIq25GgkuO
FsBb44M30aScBirkTLTFAUheCMKhGfFojP4aEWuIcBFzmyPaqoRia9e+DZWeXP1J+lrpu+zQpwVS
bHSFUxcIBOMYdvVadIlDp6vNmVzBTMy594szddLEvvURcQv9vT7SYOvbgnJCni6JqrPtp9lBxMtj
IK1cY6wAYmnO2iCxtR+LsNjVWeeQgm/8o11p+LsDBb+gi28v2LgMj9lg1BSMtWK65+aYM2newm7g
nemRruxRbEHEIJnUQpSyjlaiM1RSu7id2h4KzS7ZtGEvDyoQNIX9dOY11WPbxSDBdZdkdSIna7np
EEbsc307JGWxTafMZIgi42p0yviSSyKVrXpPupwlc1Ouii/4CPvohJJabBEmhc2Z8qg8rN1pEzUD
WLhsuwKpMTez1pY9zIwJ8NEWUrBjA47f29S0/MadwZeQDmGctC+/wxoLdKHdw5jJfO1XmFuZLqZl
hDmsJvrFauYUBq7lzzCeQkxwAmN8iOq6XEuxTXE/GtTHwDTLq88vuFn7RjF3VUgBLYoEu9KJ1UfL
THGE9wyY/FOwjbnNYwq1ZwrV8ySbK2DdNiJUket410jAtUVTt2oML51C3XQWJSFkg+THxEdZ03CM
6CX32PU0o2p+qUMehvn3K+/RiJSEXys/pLTlmStGaJtcxcwmzRXOvHLNNgPTVfA0yypKiqskVfq8
aqCal2GLRlOTkDqkCPAOifyY+Q15i9DeeGVm/6Q+9+z2YfGWJ0Y+t6RCf9BAya1qdFSPZhhp22ZI
tA0WDO1JrIjUT4ool4tqdtv772XG0yn3ril3fFuxSEDvTCvqrZPPh0mkUAcWtRV7nL/bBX3qoyJW
7PyE1PZobHxIimGm9ykOO0OyTNAfQqVb0vLkGtR59lw0xXPWaeppcNv0mavMADcaZGSmwVHKkLqz
tXInRq2mCtHvNNqNGKXqUaDu5Jr4czKXNKyxqsh191VzAkNTgH/X4jc7kA/G5LpiWmxPPNf5kurm
JDcaNCcnrABmtorL9ryGEBYV7azSrPpjXLmelH+UcdwDEEESS867N6gdzsGVyl+HuqmGZZzF2uzT
wKemWVbstiBHiv4xyNAOcbAQTEbdOfg1aWjE19m0hgY7/CLof/BEhiBz3/1E+fAFQ3H/i5OgEwyv
qDuHcW9sKng5cF3s/JxQEF4gs22uTX1w5tzeeNunQwPBYG8qNjpyvYa9uOjMcEXFWHqIqEwbLvev
MZgFuqcfuqpyn1yvm74oao0xI82kdcpl2RhYXkzBuASY61HTkduYmn7joOOMGfJtKSt3mpMvNc9i
6siu+AHBo7k1hZp108159AlWMfsJeJHeGC3ymI1npkm99tok/PxUC/YNvT8Dktzj/BAgOmAs8mjo
PuRceUypMr67rVnNVMt0XnAwG+Z47iaPciMHS4Sn905ioRPoD2i2hmO27UHioHyiSNm8Ltsdjxo2
eHZGFUuP15Jhx4ssctPHZDoMVBaoNFxFj+x6B8catzJDR983naOqZMaIbzf0adl0kwUQoU5eiPFy
ICOctegVV417DMnLzwu9t2epLz9FFuwrE0mG9UD5aWW6aTkXykJCOCicCLB1lk/W8cBa5bHCXyVW
XyydP8+O1LNoyaTQQV4/4alaXRQ0h3dllpYLL7WMt6HNfliJkVxzp5JOyENT9DY6vkf4PEzZyCvV
5Opb4jc/DN6zN24uDd6XwAJCrQnmKDZfcJvvThkkpmVg2yCJHQvLTKWrtqUH3dpFb3LALQiDIXk8
8G35qoz8QOIDguNd3Xor0wFhid5b8MPhH6OVkrKJlFDakAD8NpQImyc6AuQFeui/uCwoRKZqbr3i
I+qusTpJ12aRN1ffzI+xO6jYkGls/cvku1yj7ELS2b9YYXHtJD/c9n1g7hHxRhFyOhjx2cvfs8Kv
vZnXwRfNgvZnp65kTV73QeF88TO3W9aaXO5tNhBnj0uchw0PWRoKDitct/VzOTbevCMXCVuoCFGK
dvxoVjeRBe1TPmtKM74rk8Uq4inpzLXynE/UsMpk+9VHa/ebbQegmDsIZ9xQwrVZooziykb36pjA
tUrdb797xrAuvYLCXaM9tanuwNKTrp6ZbmodsYXBQnRkiNR5XWMy3SW+vY7QJN9nfdVvTFvauWOW
LpXB2Y9x1c5kkh4kYpp+1Qaaucrc5otvpTUO73Ywq9Ih+IYu08U2Cusj58uDlDMesMigrxyprndI
v+4c+M0nAiYzcxgKp3QAlx4BA+k9P7yKAwJlyl6KUKWfuiJJQlYssY0ltR3l2FmDcpS7/Etv55fC
TMnGZ+UT9PH4jLCz/JxJCgJeinVSw7w6DkZ56UKgPHkShvvA+QjlJj3IiE44YT9sPQsFFOD9mX6Q
Tm4DU9E3k7cOVMYabDrSTFNTGszzlNl6MNW2OzVmDXFdAtSmS2GwKOXG36tOc1TqxkazfkIcTsBE
3+GMR4QfUe6DkRqQLxD94gAZCzy9CBFtx6++8tCfoqI9PPe4KZ2LOHyulaw6kWjlmzR2VPi6qn2R
7TScQbJI1mXQ/rCphFyxCdaOfW9BbdT9YM7TRnbg7CoGEY3vrvgiAFceo2+k9YnoFGPYOkGUz27t
QLX62VCpMaC6tF3mvV28FFrYLLHBzNeiaWomtx9HQV/WG+G/Ofkw72pooGTZtHR/O7XYte5dHabf
fAJV7CNPf6AULM39DttF39ml1XAphtA42wmo1q5e6o72g31dMZPD+lunG+1lrBPKThkyn2XwNpZ8
D0NJnQ9NWP3s9MfOtlD5iXznUFBmmqFC1S76CPJME2JFHkiNu8Eaj4QTX+dLgpLnJZ3OKENfEjUu
IHHSJQbbDKJU1/FbKZqyqicnSSm/RaB6MpzOnspIbrkHIQslmlbgjcfBJlnGfe4JzGf3kDTZHBqE
+ZRncjILgAlQOO//dJMbp2Ycadx1ffP978zkRIQYcLg9bLWBV//tWWehlD0E8c/Cze1dX6D9aDf4
28C6STaBDsMKfibM5BJtMrbcw0rLteI82qUF2VJuyOF4F6cusk3Go/o+tanL+Xz9N9xDKM5lSCkg
eDieEWXOlm4QyA/NGFm4DHXyUx5fy5IH0Mmu99q2YbhpdRzhQ8+pz0MwFV+cuHxT3fQoF3zTo7jH
bR04E1kubW5aWK5rjaFvGneUN2ClcTLP1HipGFaxVUxWA9w93TK6gso0z6UQlpeqXJofdp48KgM2
QVUmy9jWSMvOCPOf7PJOPr+Fb17LFXZ+lCHRFDSbcqhPNl+ldaTa3bo37OEiW7a3QANafZUpUKpm
Ev5MzSOVLKDjfJkvZl9bb5aPzmnRKtUDBaZmVcR1BtalBBtNGotnruqSVXozTysr+lZk/dzPyvhD
9ktMENIgfjaBBq5a1E3246ih0mKA5fWdTqGmPxzVWrefbMdR+MlekeUq3gPfgN5py8XO1TsLPGH3
oXgRP5S2BRTfqEyA8E24R4o4XJK5GU6JY+az1jC+hUruPUFFHDYKwqlrRE+dZ/boSEWm3ndkLAAQ
psnwMCR6B+2nlFdl2jav6KLuRERg1iDGC/Jzaldl66avNrLlxVsUI8ytQv3hwP8yovRXm2ekJ5xF
gJD/sulJug9qMBxS0r6zPnDcJ0PXSQeV/W7CnnQaCsFFD1qwr+NjAFAPRk1ZL0sDm2qP93Jh4vi5
5eYivTTh6M/s1qb8PY1WjY3jjKE/yfKkRepmPBTV3EhLIBWa3nbbpiF7PdpK+ubE1kcH0vRSOKF+
yTT/B2btKQRoZ5aDo57D40NhwZHNLSZSw7pvo/TBU6fMddZU303Es5KgUT7Y5XwUcmA9F0g/LRUl
erOHMl9Q93QuyXQAs4ySKrWjjWtKqoS+R6UsxhLMku+WzkUEOo4JND+kiH3vy6XeJPvLD8u0igiL
yStd7Nvat8ViE3Od5ty3HclmyfOXdpanR8mrMCAYY4SfWi0+gLr4agGYPAaascz86hEJ6mCujuph
rJy9npDHtRxbOeaYus/HwVcWRl33Gyeu1C0+JMM5nw7BJh1IuYAyCDa55wQL3WzUV3NAT7/s+5+Q
4Ua/Y8eOrNVzSb59VtVOtuwQSOLnMvbGHRWEua9LBkZRubaRB0BscWEq5Go8a+NGUjrnI8/3VYm/
+I6KDIyNCYwm58NhhKw6TzTK0aGp9YvOiMjQy4MFpa5p2llUN4+IBSUb0Xc/wAr7K6Sy1W7ZWZ02
42nkqFMqeLWrjjSMpQcvkxrlok0M7RI5vrPyIWe7ibGmIjUeIBilG8/A8aZTCxR/gvrYlVryiKIC
z9W47IG90vut6FMSoC+oywIHlewLWwHrQ1FJQ42THZn94Gk8JeM28S5L0rDz9Wzcgcfm3XGpYASQ
+g8N2CMeBKMvUkXZoYOEu2wRYN4kRW9fZQxNZUtt2fTgNA/vlVxpwB7HD5p57CXBAcxwug1GEhY2
MI9FYY3qQvMdF3GX7sEjG+4YJiX8MZTMYw1C0YWvdpUyL7vyLD2xnbGNGE2emjzQu88mRgCYG/o8
5MV1+YzLF0n0SH/i82OC0Zmj8J5e7GZyUm6eLcjIFzKfye1QUJdeFCiELYcpSgyEReWe6vy7aGDt
Ki8pmEYLyyrHCwpTzkxT6p4qizZebn2yYa7V2NbBvxIiBtgt6GcDiOTUk3dhNJcNDNxrqSkPvWMV
h6aJf53FSC2g0I0MI6LXgJRFzO2UXyI+V7HcrmLuhMfSwM9Yko18nSiOC6uSAx8DZ9vUFvn7dDwa
pckNIAmvdSFFfP35WeQJ1sIDF4VujE2gkJSGdRV9tZ2RaKyQLQ1tlW1S5VKkI6sL6m89ymm6yIrh
1CAHdJFRNphrru9dfa56TWouplrYoZrvjRcbMNGBL13VKQt0BXVu066+d3I1Wdeh/tb6bXT02x8k
wctT3Az5yrFd1GICHIgqF9FNcYamMjI54vR+qK1TX/QDqVPsR3pTNjGasNCrluI3F1WUrwb2FjND
l+oXfu+VeR263mNhlzi1haV7NmU+FEGEaE8Q7c0GN2K1Mbi1TE1x6BD1gAXpZH02E0NqT9467RZS
F6sXrXoIhDiTbMbY8/AG37SbZNJxW1hhlC9GCCHsetUp1YeBmxBYEofCV3gs8M1mpXiydhNwKusG
+9VeRV9oknAScR2+VuhFm4coQ0cgD7140ViKvqsD+PoOYK4nxTerB7bTM7lPsieUH5fAJKXr9KDu
NpXyqsVOcSiTwL01jTxJ5uHQhSsEXPBYSdteWmLXKq1jYLoPlZ59hzoBRiztuh3ftWDWUam6GlkE
Xs6Jx7XhuACuSunFx9vqoRuSud6U1ZM3DOVTltiXHDHhU+5J5ZOjdca8HYaGX1iatq24a0oU4cKt
3ZOR5d2xzQf3lGIvjz5n+OolYbkNZD+HuOFFr2ZEbpI8ZLARoxE8ajDylMrEqCthXJVG0qNs6/ID
94+N6O6tNj3EfgayiY0mAMnRR7yBCqahVfECPoT5bMQRAt4q2uEwqsznpCL3DdBMXthT0xhkZZ1n
3N6lyDKeE1hKQEKVeCnmqk7rrVH4bpa3uQ3IYe72Ggq/BPOEV62y0fXQSWOpqO0DRNvhf4mmiknl
EmV+eSWC0w5Muo7s6G1U9qKU1I2fr29z+95dIPgjr0WwBpliUfq2exuNzapZWNDsNyJYDjpAT+1U
hhWvO/rSXK/raA1udGNYTntuvcFaJcGYH+xon5Ghe8Ltq1Xk7mli0jwlZf9Cfc45ZigLbFB4QF1f
67tzU8dbKO3O3tIk1FhEX628FyPMrFtXq3XRSQep4Mq5GiBdmup7qiM7u7O7s4hPyyBesH8OMGzH
3cRKOx7xAurEchjjYEftIlH672lutO957qsYo2vGGV56uAnQjaoph10aI3puZKzCTCdVd+TU23no
9N5rSep4paFzsBKjSoXtR13EuItMo5kOpK/K2osX2NpL814VibdR/QzR8o60XZiY5aKSinINmpn7
lu2Nw87BpsJYhob112k8nepKUqjzPwL+ONUTJV9FE9vLMx4wt/VeTP48SMvDQkIG6EXj03Z1Y4yI
ppZkdPo59IYH0QrHNDsVoPNEC4yVcdBw6JkFk7z6WCLyZPc9eufTqhh0aqtJXWsRmpJ2Hlz510GX
tpYE5fDezQN/votdwJRT0L0/1tFc9IfAnH8ayLxQnhVuMqzvwSKEfAR7HROt+d8v57ZsGI1SUZ4x
JljB7x7e7NF0F2PtdIdBSeWjrJLualSAgyF7ZH9AbCKYHIXEoZhshcRZrBmTDgbGsKOFo5DoU36f
xdlUZG6xp/00IILFKKq9mH5MK4tpeP566CggZLEcAVHfVq3ILQN7oijVzEAyL6JhTHdZFfw6wA1M
d2S+0504uw/c4+4Dn+L+g5D78sDNELwX69/nieY95v5K/0HIp6Xuc//xKv/x1e5XcA/5tHzlSX9d
/j++0n2Ze8inZe4h/9378Y/L/OtXEtPE+6G0A/6OfvAguu6XcW/+40v8Y8h94NNb/t8vdf8zPi31
d1f6KeTvXu1T3//HK/3Hpf71ldqeX/J0qGWY9g482gXT11Ac/kX7j6Go8pmVUiO8zbq1Gz3K/mzf
Jvwx7W9fQXSKpW6r/Lv4+6ver1rucKFZ3kf+XOnfrffvXp/NDFvvTg95Or+/4m3Vz+/Dn73/r697
e8U//xLx6vUwXoyia1f3v/Z+VZ/67s3PF/qPU8TAH5d+X0KMxNO//FOfGPgP+v6DkP9+Kdspkc4t
tfdBMoJ9I7WTQiJgs338+yBGomEodqp2Ed2iR5xVYsI91nTLcC+GSwpIWyfGlk3rvIdMa/S5Vxlw
q2pDumZBjIBa3T+xC0bIdmrFOUzCFnzLNC7mjIFu7qi+/xTjot9FJ2o1lihiiT5xqHrUMkwdEFiN
2P4Buegzoh7xubCleNvZDobPHTxf24xuBxQq42OeokA6RWlRhJOcGA0sCTibJx9ufWJYjfQP7OhI
iFgN0jJiqdzv4Tnnqry8BbqoSi4qI7DRSTbgl2QjFjvs7MFhYqa68iO8XG30bgz4811x1kkaULcP
YfdMzSGwinOhxMVZURpt7ekF0HUxu9WqYeMWIBv+mG31DsDktHlDXJAVxcTKzLElMurrfS2xtN9p
FUlNb39bL0iK5hCmMbK8f72kCEv7rj+qPFjcwvSRLZqlbhy57CEx4xfkTQ71N7N65JGhqP9hXN/I
8K/GoVsb/N/2gHK9g19NXvbC8F50iun34QKciCM5+i7pGlAVdl5AOk1R+sisbV5Y/q3hKIEDGmbq
z4HjInBF8uo2Q3Tep0nWGM0petTLP+bcIquhXHZxku4/TxyVwd82oXT9tJZoGpl5JNNtbJXKwKs+
xmhtlDvvFDSJdxJngL08fFtLb+0CmaWuzeh9QMR1zhgdR5ilU+h95m0hrX2w7SgmbxroO3EYSZ3t
cEbWd+IMw7Rhm0jJTAwmv8NE09V1L4VwwowMcjRms9KsdWTgZbiN+QiPNYV6aiVJOYneFjO5JZha
bS4GbqNTuDjrRpmUt+odROw9goqTuZJyJD3Aa/yKvY9Giv+IyZBKwvZ/DWpjpm901X6/95vgCVX0
tNKMKo8rr8XI/cUcPAxB1XVImExX/fu6bs0Uqh5UQ3spLsKwPJV3pExQ2LLdnTgYWYZj/e147+0i
k94MTgjZwik2AdmC8fWA890Yd9IfC+hFTsIg7mLptuBt0h8Llj1arxIKDQsVZfS9Ph3CMG/2oinO
7odPffD0kI1lIza/D/xXC9yn3V5D7Z1VhrRdysan7A8JW0QckNXk4st+egmNlN1ViKGEGCDfFuFB
jUlthkY6urT2DirAmM5EG+zpr07L8J8wWpBXoh/0mLO7z7jHlsLYUiwj5t5jPjVzr4eN4dTbUY7e
pCalkpEbKLnpYfQYAFDb2hZJA5lP2GvRahsRAYHLYc/t+BdrgrGnGey63IxLIFUWEv4TnKSd4CTN
AKgnH3OT0uN0KjrraUSc3WPElKpfWT32TfdQ0f13zUBAVO4rxfJ4ctt6uI6OcdHrpHsq2HDvcl0t
l0MZp++eblBSAmBF6mxA5G0qQcmR+6UwAK5GBfJrYV27M6ketgJsLFDI4lBXtjs3DCdZ3vsEbDmF
VbdMwG/NxcANnuw6brjWbD76f4CevbqNtigvfrsFNrC4qwDFXAyu3J1TOM6OnauezsSpOKDFbgAh
qPC0v/WW0LT7QjVW2j0SsVMXG84phroRNrHTQUy3izoAYElaIDerHsXQFEF1efRqbHOC6lTm6D6L
M3HIhwS2baqD6nCrXwPR77PYA+SAkrO+FsGypmEHHflootZWde7T+CV0HQvx4RjIqRQP+Ib81RdS
yjqLAX86+6f+pE9f4t9rRO0Tacv8UDt5dET7Pzo2pbWoHFKfiHr96hKDY9GN4En+h7TzWHabB7b1
E7GKOUyV887BnrBs/zZzznz6+wGyrW0fn3sH1wMU0d2AZG2JBNCr12q0cg8J7Umd3WlYyJhmAEFN
3hNl+NxLqA8Uc2V920RbeZl21nc30ovtB5t8qfhHCS/4SV4rHJmOo5FBdGd6h0w0o63BSHnryyt0
gtElsZvd33al9w7/so1W6B8URJ/QdBcx11mlVfblGNn0E6UnS+mpqkndkVXuLVu7N82wfG05bw5V
gOx2GpovnHq0dle+BkGuoqA+gOtXi1cNCfk7a7Cf5Ii4dNNzXbJoLE1Oa+2OG41JyfUxzEP/KK+y
ofw8Ba69kb1hqvxj0ABJ5uH+KyT+fXWzDcBMUcPxUZ8Q3pvjOljOI2f86+VaqnVWeZsJTvw/xt2C
f46NVFQonGijhlGxrWYzeFDUGhb6ykvfOb37ZI2m9gNxbc8ySf26QfyUOkn7yesTUjpxHz6Gscs9
04qVo93a6fGveTpIv47hUMN3w5f4pKmNsx+UkvMnaAcWLeI5pwh5iencwQq46WOgl2AR7PotThRv
ncLWtXA4KCdhmiVreMe6UycaknUfm5tNhmiqtk5qV9nf7HLArSvDpC0vDXs3Jx5abX9MaZXzx1e4
jTdi0hFtlt37lkUhVIq4gwMr+VZ2U7XMLl6WXgDYJuWyy1GzCELUtkKjhedrRIFLM6JxAanWQOL8
j6ZArxe9Vwtu74V0xYMGj7W8LIMMFdiKY7UPRr8q7LUxxKDcvKbbRFqiiZKD8Ek2nQmBBFr3D7IX
VBDg3CIGETYQETnzrwhWTeAfNeS9tSpvVqQdg3MtSZKqNmXZ7hfjWhqhzgzPkyRESkWQNP7vMbcx
t5hG0C5JRxwbwU4FqweDUGm8wBWS+Fr50jco0f3q/PJUSqVscqqjKIYR9z0jKNYxVA5LeRu83RWL
CWbcUDhutut9VDjMyecgXdxWZXOb6ua4DbtNdQsuEGzivDbLua+38xO1/uPCJeN+mBP0YvTMCci1
UlKUOn5XLRu4SsJOfxyFE2IMd9lpILNl7KjY1jFqhN5tYfQVaZXo6NZ6dCe9UclfJM+gMZddh8z8
xQzGI8JB6lM9rXvqYxqQdEAWhNy5Wxgrv7PDfY7QxSlzYOFiT1QmK3kJsfjULNwCZCdlqPWmnfKx
WVSG+jP06r8NlVdDJDgYJvYqssspO9VMIyC8RCkeXaqNL35raM8TSc+lkTjmHtSU9hzWjgvbfeCj
OF1CFaaaw9IW2VcLyde9ZVTfqll12a4KG5jGABBYV+9nkYeVjRlo5j5q22+y14mcrYyNKN35Z6yY
8zZcXsl5tUKp97B0pccxGSrq11lPaXwOd2YNYEbaeo1qzdbzve1cFcqlpE53PbU9anNjUC7HJtMO
s2zSBoBTIeQEF9LwwSX8BVwfhyDrf17JkA/RRhK954Va70Dv1AddhVjyt9qglByU3SIqjqRFwqM0
tVKVsMlIndlqLij4f+kTyuDapnJOGXWgx0gWfhgxauXRsp3geJ1Aem6zzDl016vfb2PqGxLlc5Au
raj8Tiq1fCIDVT0pSvqZXH9/MkVPU61xB2QSKSsRUVZ69VRE3Qrq8/lexmvVjBDxSImUdCqW3Tzo
LUf3Yrgc5PupBuAIre/rC7hpds5yi9p+oyyXA0clCzvxiqMMBkUw7/WJSiH5+ihEqPvJJS0JcbXT
G29dUxtnRwEeK7tOAKny3FKVI7uV5zQL1Uyccx4o6tvPMX2vGWclg2fcrzzj7TaGRWx8r+uo/YVw
WkZO+jUDg3NXiIYUpnYX6pm1HoV66c0mHZlZoJOQoPIju7KRIaEZPY2gEw83k7yiZnS0OZy5zUPu
0D34OZS/v1/uGqlTa+6PHlhX8RZkMzomDOp5uB18pT1a7D1L2Ab09qiP9c4egmnnam0LPS2mVLcN
qlZkX15K63WMHG43JBGB4lbNOpzBP3dt8Y8BhUrNZxIpO61jCyGbtA98UFei36iKfjVS7vLTfQv8
yzaLEZ3deT8HS7dppPpWA5f/99RW6rkZ2p5/TFtS+rIzJvgb4QVJVwmKM+9a5w08aU1EOu2geNfc
F0iRnVeIzupzEyMZ6Ixp/p77U7l2A8rL2WJD9FyrC6dQtZUnkPlIQedHSyA35ZW0zQDRgRULj2yK
31eyC00abs9KoeUZxIO3GPYqa+YTvNTdvRZm/b2uWf5qGFC8udlstQrOTelvpWmg6BKWWUHpakzu
uJdG2cQQQ2xtAB2C57q7vzX2U9z6xT3oTIetokURZ9HUHoB7XrCKbfWcWaDZKDFdxdBr7kqy1a9d
wyfUxBaSw0KJmfpfqqv9rj2aoju0IFipEPZP0mu74Zdh8qaLHAoC9i6r9epe+lyz3HamnT5KX6S0
CxA46bPmad7LgPwwDC+erTxHMOXdA9hsjoUPIlX0MqgNrledlyJCoPXNXjpGK6jvvdrtdjBpsR4R
wTdHFyp7VTM7BC8Ik7Hg2IJNFwBMucXK2RGRq5IwvI6++sIaOIZiaGslCPyNN4TwEKRBcScb1UIa
am4R0JVdBI1/OpqygZpGVYPNLTgXXiQnhlWYlFDP/Z4lGbXiLgh1bz10JQJBvx1yhDVwahcrDmRM
prKxYdre8zr2PtdQjRHklKqQ2kOWC61gSWt569/cCBdCeCn7U9tWu8akeDlM5m1B/h+Wp6C/9w2d
75u4MpJzjAbgHTnln5bYLwZx6sMfSAYIR1+2NRUMgEk5LV77SkqdfuzBEwgB7X7wWud+Eg1VuagA
15yOpVrk3IeZ5dxbmu9s2zFxFjebqSnaiQqnozTJoTIWGptFm+shGEVmk04tCKLry9xst5fxeiqO
e7hpjl7o9HsKsylOT8v5zWbJvcrMjvNI0XVho6Js33wYe6V5SkxnG6j6DNakD44pCNNlJLumk6zT
Lmh20htV45fYF6l60DkvFd9eGQW3CsT3bAgRrWDqqtHyDbQc0VZ257gCRamF3ll2tRrEp5K/5UbY
XXhSpddB6LPAPAxTw1pGlYalLOoaPL/s5g6EnTqC22bF19YuC5QWoAPaN6WTb7npGk8kG7iTQyTw
X2RDvw0h/lc4Aselg9T33V+xJjwBaLEQm6eovLN8XFG8661adTaOvWjklWwipKiOThX6FRzoeBTg
VoveSFoIN+kmdfNoeG38NiStFz+Xede+lWr3XeuijetU1UM5qPozZenAI+uGlWIUGs8jaI9VYA3+
Vnojk/0+qiUGAAyCJ5S/j4kPTCoRwTVniPeUgB+kU46Pq2+py25IWsIy/hTUCgzXIlopIfafIZZX
LUtdpfzUHmVD8ZVqhY+D1ZePFHPOnCWpkF3OfpIu3ZTtam6aEKP+jm/7YmuElnXRHf27nyFINg5a
ejcU3ClZTsKODxrxrhONdIx5bu+DMXtp7eqXSQzIc7c813a8vMZ3dnCIw/ncSYpSQT4vr25N+w/b
lFn/r7jbsDjm+18o7bgy0yABK+3DuDOZVAyLmlO9CXUYg2jkVV+SJ1nI/l9usKDRLoz8k7RfZ5BD
/oq72T7ElHB1bPg9fNfUSmeRwQt/eKXbEHn197vJTc6GRpZ1i/81UM54m1vGGaFirSvuKjB1oxGw
HFxYpfnWJuXGEtzSsg+1SQR4GEDjzTaMBhpGH/piYCeNcsytqV0nPpTloDwAHLSe+ib/phTWcJI9
jlz1DXsza9XzvXlCOGQXJcV4yjtXQyWHSo3JjnX0TXP9Ttpk0+cWJJeuXqxlt1RmsLtVP+85s+X7
39XhK2joiAo1rUMrsMg3pjd15yRpPOpUouCgCOZXJuXgGoBQONcBGPQgvJNXls7TptA62JH/dKAy
xumxb71Juz1nMTQUIkRLfzQDiSQ5R1a4IeQQo85tTrFRkKU29DqxjK0nEgb+txRhkmPWpsXRGeOH
yLSybfzbJO2VXYfl4u/LkYp2rHzQ19HS/yHo92zS9r9PWfrer9nbMtgCcnLX2uDl5yaNeogWqDQo
qTFZRHYffs+BeVJE9IO/zLsBN9bbrBXtytfc9K4oYBKE3E/fTXal3dms0VZ235VLSvc9kg/tfApN
4NmbOqSUyGmccfXBKC9lYwQA1PvW8IFrgdkG263Pp5t7guK+W3Q+HxO6yV9ujgh6WJTY0LxUs+KR
py23Y+hIZY9KCfPYFPMn2ZPNUJriSzPUa72ZikdpUyOIYOrZ5ceNyUc0m1RttJY+U5igP9G3s2J0
y5sty1p3MfWA1W8TjclXX0O7/Dor5WAHyuTihZxD2nIPblk/HeONtLE4ipaVHrU7eEbuinJC4gOZ
pcfes8czvJnnWPQok68eJ1j4N5CmzSvZlQ1n+N8BysecThKWNpZ355PxloOkqaXaeguzQb+sIYam
TnicQJL5SDOOpX6Xgo43yzm6tKIn7Xpom0fWDgfZc9XZBKWoT9XWQXJrIY3XplH1O19HKszoYJqT
tnBQjYs5xYsmq+O17SnVJSotsrNQ8+5SRzMu/L9dAM+O9tLbJFDU3gz/m0ptmUGGQjF3bx5yMyq+
hBWFqy6sVJAdKco6mSvnZMJQcvAa1dw6HIrc99RDrqBgUd+sIvpKhqv+4cRbFDWCDfeZeutQPXff
ebq9LKoAm9113qJgbX7qWu8gvbaSwHifTnzF0Rq1dypYyH2KxM3K0Gv7RNn8dygVQgooNCS9henW
3Gw2HO27Qu2oNydC2pVxKnu4rH8No3bz/2e6f72qtIl3yL5LXwcg5WuRvmxF04nMq2woNlrFAH5P
N5OMCPRJ23S6yh9UxEqbHC+7FII+gne39rJ3m5cqmRwukG1BudShA1YuZJaz56pPKRZ1PkNl7901
ZNimJq92ha5Gl3xoqf61DPuB0yCUpzwfciV0SBfIYlifR6t7GhK+wcrYLK2BHCe7/OOVX/UD1aq8
nLxMX9eVSamMYFbVDYtGXolGhsyCnbUTp9bRnP2Y9XK6444GzfUY9l8pVjlUlFW+BZAbbakv73dV
5MfI2KhfLb5ju9x1oN8pnOJ1pABp67nztJbdZmz7NUJN+VZ2/XmIV6plxHvZ9XRBfoXQxXHiVvka
wGRFuRHUW5WqKmf0n8E159CvVaqrv4xa/rNbi/NW2fUSz4eKrP/pld3svjTXU6B+7+fZg/nVVlEd
Sk2wvm2egI4e2MHYGool/GdWmdKrZ9mTTRZmgshC/x4PRp6tR2ev2xz0c2xgUA6jGtcrsVinMKYa
SAJRaCYdJlIOVy8/NZMSJRGd1pa+LvUB7tnfbq+yjHIlZ7xOS2XtYsp9Zd0iFbPs0744WEmGTiBy
sasZ/PlX1YKEQfc+K/NgrWctjA5d7eZPRmJ8RcQz25ZBAE6nC4qzbFx/bE+Deyc7U1NV3ermNJRA
W1o1EktjVw07CA1f/byimNCr9YWnO8qlFYIhZAOCuzyFbcnSjA/2ssoDczG4kE9Gbce5AWFyFAy0
/X7uUbokfRF/6nQ4Km3L/dIOAQ+6pIQnvqcuoxvaHs6IwvsCTdAXrezrJ9OYkgNLJW0NxfPwJWF5
nBreF5OTOjK1pQoWVtcezdn9LsexD+DxTdnJw0jFI/mIzuS5G1lXSjJ1fDI1W/tMRSnanUBE9nLr
KJuMrVDolDymxG5SNlFF2afaVgiE544L03A5O+fSs1dyE+rGQq4tD5aa36p3TRKrd0Xjf6qjQNvL
nmykM078xUBt3PlmN3TdPHWlMVdIVaqN92rPxny2/Wha9CqigjMkc2tPH92t7GaK9YKq8xI1VjQx
BG2NqcUhn5oenuRVModZs5CXQeAmzeLmUt2WTUutgQxnyIfAn5fI/i3M1vZgc5zHUyyagFOYfFUb
w7tT2N1WOlDf8pE+iYo328ypOCzrsOFvPYAekpehoN2JhaiFeOCcro1g8rn2r0EdKTcNrS8IsQRm
WqKiG/jcNLafoYPGKLzUCkfF6LnO+q4V2j0NcHme6rGxazNdf1F7/6cX6rv4MA0ow7FOcBfU0gVf
ZyfZ1rFp/oBhf9/EHYd8kDSwffT3duMU9/IgP9WreaEGeXiU3UALw3WlQk3mJs5LM87oIyXzZ9t3
y03ajhw+ek79LuxFpU+fKZmFlpWvMOmdZQVC6lCoY/Ruuglkxl7z3E2wQGZR/12a3WwIt6UxLqxs
Z7NHO8DcDVOzuDL/7E7KOAj5QtzXy2t4CNzKrHhw3sb8Nc81WkNeIF/c5gw858GhDmJb585wUoJi
QPAeKStr0O46tMxNxHyxSW+ijsNJNkWdPytj4GyTJrb9s7RBDQKGRi/rhRwByCTieFrMWuVzstPI
/5SIv6L1TU1SmQ6b5HcxF39AZ15IrxXFn4pG7XZzq+lUNYgRUdiSCSrtiCq934GyCgxKH/tktV/Y
xiYJ1JY9C5qSRUjdksTYKnVib0r4zGC71jV1FQTtj7LkKF9JK3QCqXuhsuKX2Dv/V2Tfu+GnQwrA
X22CIeMvh5s7FL/eppHRUiX+Khz/5/z/muZmu8rH/x6RWzCr8Nvl3UTi3URCHlpG396rFeqPgZkb
C01pqhVnDMU9CmP5vSOuwBdQwGTfSYts5hAVuXqwnQ+hXtpO7Id21yG/ZxirKeM25ndrOVJObbpq
f5k4y5ImM+tDFC8sk2PkKIw3c2wF3kLjuXou3WGtya4cl5VpQTpTNTdqQNk4ZX59d4pAhN7emXx1
6n0dbvhzv705vLbrjw2Hjte3YapCBExZIeTsPGQcO3UeB6W6VbkPaeOZZ3AvB+lThakYHIg6jInV
kehKR1t2w7rWPG+lx6zDl+zg/EWDX6hBO9cY/qh3NuQ9JzkLd4XuATWbmx/sX7uH1eXsuMnOjTrr
0lpFyvM1IwWqNSoQHZgNLvFsWhd55Qa1sQ/a9ukaJ4cEQ/pf7ufzLuOfwcE3Ixx+Eru2MaKFLWaV
cbepBC50csricH1JDa6MiKqs1SCyjUPfBZTgleVOdtE6RwjYohRJdt0Mqo+6e0IwwD2iL+Fcm7+6
0iFtvRdHm3IKY5gHwf4Z8ZAu0LepH9CYqx+imJyXWepUfA1TzcdMQ53JR5sM5inYrtIBtg7ZlXFy
bBuz9jA5YL6O/Wu+pgnbbdlQi62hen40i/5n43XOcWDRQAk8TEsUU/1yCMnyCiEE6DituCnqDdzl
cE5AM1hpVbCSM3y4lNPKaOnxYRDhh4Y00qwiHoX4JpKYZYYmfBt7J0qmOWQbLNTSyyFTV9c+Vaju
6Ro1eQEMFnb49YPHkoMKMR7Wc7bf1AmyDE9Zr5i1rxxnqgpZX9FYSakgw0zWD0IfXTskYxmdIupc
YZ83DnGWbgLOOHexQ1nVXFbWgZytvQvM4VExBqqsYUVeGHPfbthATZ8TThGoP53e9QBOBL4h7aZO
+6s9t+v5ah8y/YNdxs/ASa7xZtopZ1QVoWQZoU8aqupSC3XdNGF73JZTdJiF9u7gIC2gIaC3aYTY
rsHGZccvKlxJbwA168m3Ex5QYmyVT/a9qkS7TsQifeAe3MB/hcJ0fmjs3lg0Naw9cMEh42AZXwyt
Qx4j6CPozE1KXPVGX6Sxl1z6qEyfUFy6q2AT/wTMKt/YQaNAsOaVnzwqmTk/Kin2Q6OdhD+qidmZ
Es36DHU1AkIVIkCDW19NgR1CUEQmvz5rtcJZWgY8WwbLGOmQXdmUDnXsfoAiTxAKzpdboLxSBKVz
MXy7TS/NcpKbbQijz53zKR2LeVMbTaBtqtmmaFFhu7ZCiLRach9tWEYJlxUn1WnsDO7imRenGw6Q
ssX/GAWWKj4YnrG6TiLnuwaZSf+mKUa9i404utwauwBFPUzLmwV6pOgCjyVaCXNkPXMkGeyl7RYi
r5rSnZe+pimrm0ObXIZxahpsrT6j7lC82NUoL4saZAfsTSsjNT++C8PhKK4ruy9unQyHwJ/6g6c6
Pxtpk13puHU/hMSVki4+9H9Po8y+ufSR1VpK723w/zqXI15Yactwh2bzHmqPeRuNTrioBYVWC7M/
VABuuSoVzzjmoQf1lqTaSiCNOifkd5aTFXHY69eTisolY9SCP8o060cZAv1ABLMSAkxBUFq7MXUc
Vo+18mkYtD2Vc7Bxq+FI8ktwlwt7NVffjQSmjigO9UvZmocm7DaD0h/ixiq+hpnb8JQ0lJcoNqvV
2CjDva1a0daBW+PoIj2x7NKpRNpOh/y+bb9kjRO/GKXi3BcUEufQvb345GOei+AgXbKB+gFIs9qg
G0g064qHpjEXaO5+q9AKfk4MneenoSxlz0LM6NkZ+ZG5SbeaWGuvHGNhK1HyFIRd/5SMWbxyM7/d
ppndP6lFEZ+5A75Kp2zGwP/sslo8yR50HM62MandjFWOhZZM5orJPCf8OdncpN2Wg+Dz1LUk/OaC
NYwg8elhyAZzIrown6ydVt9WKWxAUaQMPIR/KfFIYRwtbSB2tsCX3hxVU35B5sWBYplTACULyTKN
yb1EWoEyvKvaLLmXICzha0RP+oI4vmvUVF1MLasOx2pL0oWJugCrXz46hVk8spamWCKf863sSodR
UCccx85Fmhqrr0966zxf48WgQBFyqQGbnnTq43Q5mO3X2Au6owwhk+HetbO9vA3Q1HapcpM8NZq5
SBwWwUkZ9RZUwam/9zLlLq4Dhc0SwM8LkmX9JRsa8v9qStGKD5Xn1nCoWUCjqN76vmbwIfrNsrJC
UmTiYZrqCdzGMbI/oicb6SxExC3s/26belT4xobi3kRZF7YLOyF7ahe6kfUUZ+5xHMPqDo2SaolK
a/bt/x2RMcf45xydVqFJYhTBrkrS9qmZlHef93gqRK/Ou3A3D6O2VBSzeTKKsX1K0nfdTJNHabHQ
GEHJ0Bo20hdNnnMxR3iSgqZ9SGMdWHNlXtibosyd9f3XgUd2aCnxe+t4xqbxjGhfJKp96bgZ2IPr
H2seczXlulyOs6es3RIAJKrvLnSYM2JLc6u/TFAvXbt6b+svXe87H7o3rwz+19ics78dnLfZrLcn
2XgqzAc8dAuoHH/Z5JXawXjBUbBPFiQXAM8pQ1ZXhVlydTV2Ak0ad84us435MJewY0tS9g4FJJ5J
znOvzcpu6jug+rkefVIrYwnpZ/gV4CRwsMh90Z0YicQSDE7SQ+xqRBdrUPRLAoMMxU38TE5ZUK6v
Tjtunb0dqG8hJQ2kevzXouEW4dlzt+0RsFkV3mw8V6HZHEl/9AvZ1SEHv4+aBJGeWumWhvGm6WX3
JH01BAuJUoUX2dPKqVy6lzniVn4PB457nBIlWQIAQF5ksqdzX83GErml8KtjOBtWStZb35awiugw
ZNmTEr6WQhBMBMiRiRAmqUcYneRIltbR17myNvnkWG/DMJTbPlmHAdTfM4jh+r+oQudwajXl1e6H
r7VVJ3eyp+qvTdeqL0DqugeSa+c0LVD+7nwymXoaLGVXz4dsCxTYXoPTe8+oj99XtZ3PoOyVeVeC
utZTjoZU0VjhCOfU76sxgymDzcCwkQ7ZaGVqX+McCD+OkIYtb+PThiQK8kddAwOEH26cHBWt0e3Y
GddTcvE6VeeOmWqPMDUPy6RsXD70OVg0Tm1Cx2WMy9INiqPdVZV7vcz8sjhqrsURtFPCyKh86wzY
uTlwK5AaGoGBTzylCmNAFqdrhyfdF5rhmRl/S31/ydFj9yOL+3sTMqpP88QPxjSq8r71knLXDzZn
hFqmX4y4UlehRsIezu4vctDk7ktYiL471pAtQjWvX/IeofXa8ftFHaAATn6wh1GU31wzmfWuTezu
mTMJoTUGtl166yIMSPKY36TTKQLviQ9GumSD3Pkr+t3eWfYMu3GXhjuAOBNTQ138z7mks1Jm98+5
IgRPTEPzzqYYLOeK9ecgzcyVPHbrrS5F3Shqf57Xfej3o+Iusw7GoUasrVsd7o8ZPpgdXBHWc6rF
zqbq82TdirV2H9dQ3yrcgXvRVUdjvnBqTd6XnqKV+tOYPMiBcjLHKvcoeAw88/AjEFRRrZV5RzmX
aoz/fqXgpQwiHj1G4F+bQG8toKNhEm26vukW0uP11U+37F5j1KzR9uA89rfBccnOIoA/aKFNBrfR
GozbUbfRNgPGSi4w5f4qTL6gPVdDbYqQZeLyGp1FgGsVLT7MUOSprvbJUkNgxm3nb4agmD4bM9xT
v8xdBdOuNKvOP81/RMtJcnGm90e0NIdx/J9XwG08qm6/Y+dkbRPY6J/NKfjW2/X0DZKQRwUColdT
jy2KqyyVys2a7U83zwsZAc3iZug9qjn9sATQ3r0ZsTYuDTLwZ1aTMK+qSlucZb8DNz4IXihv+MbS
GtmuwvyRB+UFXRn306DXqB1VnGo7nKdua3h2Dk7TKae+9/T1XAzNM8TmA7xyzfitqA1x4zF/cDC0
hXV40eXe/NwDbIGfRAXjJT41qwbu8Q87Gmrn1izV58CFC3awrJ/xEUJRt/ibXcT3It53iJfzyw/0
z/jb6wbM81e8fD9/xv9jfvn+a/H+nalYjyRQng3P+h4a3fCtgwV6TlL0YdwFlXQRhP9WvuPIQP+G
fvp/Y2w6B0huexaclrWDPSje+K4/fYavDSq2WnlzdDiPK2FHvHj6DCPP0vxtzym0u9pF/Oya/Y7T
k3aRIbhybMykrhdpptjHajAcBDx6fSU9spGOW1de1Y3BkL/cRdwdunAcdzf7pA0WJ2Wh+oSsM7xM
WaJ/KvvmxSWr+gO+3Uxx4Bvr5mE3olGzHKFh2aSlV0PtR4OeVn2SXXklG2UgXR6YbQMTCo8khRKt
cm7PsklKrz1HopFd3xqtJRQv7epmq82Oc2zZD5Q53hhmMC/kODlEOqYSVllqOmvo/R31Uz8bSL3V
wUvhWtGpHxztap9iKE7G1EZOU0WRhL2BeekH6F+SNDtUToeKegqaa+vlqHvD3a6cOOilbs6hFHk2
BP9dPj+NEdsbr2C75UxPqIPMTy7aBZSU9ogvChtlNxPCriw4IpsyP1u/p7htempHDwpcYBkwH3t1
tQxGl4qCVL9Irx2JOitQYmvNCOenDiIusRtmMdkuDdXw3uNwetPgJfyRJvcOTIbBwrbBR8yiThBa
/XWXsm7RC2AHvdp91qlwG7Yoz4UXKKDEFtMYkPKFiWvcqU4IMkCD2E2tyoPsjRyN3Mmr6q7pq/F6
rfCMXVl6ymc2AgSihp+qoSyg9LyiMvFc5+VYbOt+YskMod6S5OR4tijbyuGCgunH6L/6TbEcy8mE
77ZU1oGaRYdEG+bHxoqhnIVYbjeqlrd227DZuCOKsZoSjK9tIggf2zzc63E3vk5urC3YAOboMOCd
q4QnCgJ4ZhaNqJRUPDF+N4hA/uyyP4oPilfBRw8X0IUyqP6lcbolaxGyJrHGbSMJ0MQRXersIb3r
81U8GvyXDEewaxZgiTmCX9tlo7+XitAQbxLvjoRbfTRBl6ANpfTUS4bhhsnbRdVSHZG7rv4gGxb3
d4aqQWUYwF12tUM7YCrlfQNy+6FIKUyJ9Bna7V9DzKgaODcM32+mGZLOnWpwoH2bhjwpwjY8Ga9D
G4gpl+nc5SvNRwi5BoxzTmbdeIOKvwrU9q2w9ODiQua5kGY10VHQMO13DVZL8v3uBgl2cFMJB4or
RRdwZTXf10ntKasurtkjFbm5mXstu3OTIL82GVInCENDgW0DRbkUICu3qoEOm9V0010W9DbVN5rz
GYrmTWkGxfdiaN+LWhtfTUcd1ooeNycU3oZT0RbVatC79rmvMn9FijzaNVo0v3K+AIwmqCm+GLTp
NXS7zwpYE8oE6amBxfomG57MvDWfVbBT/Hnn1xxlnvtw9h5lUCW+MtQ8aAsngmlZz7utoo7JpjLh
76P2ZXwxeu+k8Nz9YrvwYBoj4JwoQnWSkkx46cah/VJNlNAVTuo+jDCLHQcNHMAEUvtLxeGb4Tnl
G8z76S5wgmjbtFb7SaSMZAAqvXDgTnl/qHtdf9Kj6rXj3HUbcBawqwXxa+tp2rNAHG2S2okOiP5S
BAmZ1RKxL/3rqPyodGX6D0Apdz/qxR9Dz4l2RhkZO7fx1Yc2gNsb4rH5P/BDEGgp3+rATcHdNPp9
4CBb3fQOkrNAHfKiiY+eYJCWjT/N6gnsT7aZBLTiZrteuZBMuy1fqKvHEoGhxkfsGCZG5/c8fDY2
QqjIq1VlPh6C2eFo8e9L2ZeNbprjQaWM5H8Gqa2iknYOhvFgxRWzAGAMwQhBlaACMjMirb8EdWQ9
lPXY38fel9g0kFVPszA/BZP/KH2O11oPYdmruzoHkzpQUhAvEys0131ha+SwRD+AZXbJrbmA9o1w
z4TjsXS3WQXL31Tq2m6uSUlTzO6wDtbI+DQz+G8ELPvuvmkiYP/qcJE9CG+7+9J2OWHOE30tbbIR
fApoFWgXhEyYStpaX3/PNKU9XCOsdz0LDpxQzHCJ9tRuFWAt0I4R+MdKdx7I3sd3qeohMhO6D5lR
OQ95ZrUHNLWjhewGzqjfoabIEV7vzl8abTiMOkgXxUvmXauY5oZFh/oJACL0p8q+GZUHTp76h9Gp
koNr6d4i8IMfZpmIJZ/QsLae7Iq1SUvebDHCoPyiJ3G6avyq4fVThABACZ6dhgWL41Cyrma1e+xC
tSFjW/R3vpArgCJ2euo6UIKTqWTvQYBss+NAVGfbsAtQ5/1Q+k3yFRW/YNFnJsIeA5RqidvoiEHE
QDOc/0PYeTXJjWNt+q98MdfLWBL0Gzt7kd5VZpav0g1DalXTe89fvw+RPSpJM9HTF2ziAGCq0pDA
Oa/p0ifkYvHCaiP7viXxtx4H4IfQxrVNU9awMQAe7KxM6MeORe/e73gbHXW+R6hWszOmPr6D/s2t
yBriC1aLPBbZBdyPs5lJ6RfTI/ZmKukRDNkG2zHRXhm0N/wTYhiH/KhthGybwC6/G+q4L7JZhN8z
YQy3ExYHaTAurE6znycLe9ywrdhU+xUMaRGv3Nqv3kAg4Qyh54gP63b1ViQL9kL+26ha+QkpkWQp
RyU2nG89cbAdmSch+bJykgxZVFF3Z7P2Kn7TVoUVaqm8OIELKdIlO5GL7tH0laU6ngLz3CVFiGfN
kB0EFkp/6EX23VTN6F3VgC+GkYOvrGZRd02SCaCshdRF6ldnadcjEO23Lacs9IXa193FmWlkkkkr
GbdgMTvk8LsHZ6bjylAf+6izJJ04uE5SPE5wFw+YTHeLsoq73QAmboM9knqJmzBEv0I7yxZIWYAp
8wHlwmYbo0/ME9I3onWp92KhFKn1gByLWIyD5X3p2vKCC4TjL3jUWrOgLa96F2YxzJEyCzeZnvOk
7PVYARyV4OkqIhtiRmPfkabSp5UP4Yp1Ynu6NcvOE5vGRJDJoSzNxxBFGyfWVPWgxjU+W8iMLhLh
lXfykM7Fm4p3frgF42yHeo1xkp1qaqA+Qo5sXZqYeSQOqJDG8KNzoqcbS0H6fgQHxs84N65R5+rX
IO/KMwRDVF3/FarnswaFSW8Y7eNnfIgVY2nVXbHRwthHJxrDzt3tctwRwe6M5u1S8sJYjranuur/
1OoJbf0hyD/Sc907zYcSm+3CcMrx0akml7/U6A/sbN1V3+TfWAFYuGhQQu7ULKASBsVONj87bk2K
V7FbZ3e/xQejVVcRutorOezzkOekMIzsKiOGkxbOahi1dikMN1sP3kEVfvcgD4HDW+uJTt3LJkrl
Goq/KPEMdfeg8C18QOYy2/qOg7v8PEvGUNOEva5F7kGO6xuIL/HkbW4T5mG5CLJNPXnjSs7qK6N7
qCr1BUvS/CRDg4PXbFdHZzkJ7F6O20iwK6hQnLWeRNyo4VypVz3JWGT5uXuKd8VP/Y1h6f6BtLL2
oE3Iu8oRg11/I7ulPtaqU+0rs+43XoNXsJpH+zovTB2TF+Gdywa+f+uaJ1RJkHDFS2BlGrNIFdaE
K2Rgqz15S+fN4uESFrbxEoRadOrBoC0Lz3Le9KDmVqhWEbvs3HwxPexPUidYNjmIeU1z4n2d6toJ
fFq4jaKov+RNU6xRG1UfyNZbS6Ouo5eyDDX0ZVJ06a3xi4IhxB91F+2LWNd5tjnjNvQmD14Jhzbg
5uxmo2B3Qzbe8hDWT8Z3z0ycZTO507GMO/s5TKx1UEzE0V/ZahO6qWamD++ZICvdIevqkYnAhVyn
BDJPH3NgYUExFJe2mKp7L+i/yumFI6xVaiLLLqhex2F6R7JZ37suUPO2GLqzbtvZOsBt98ksNRMK
axZ+rS3co+WWp+r3YddbfyJy8Gxacf4e5nm5VGtNPGTD6G/kFXu2Hrcr2ui2npW0x3xqsPKnchhM
oP1a+NUMujsRCzZRXDEDVfFdo+I1/jF7z+gicN6tUOfz6C39pKeB8Rj0wDD6xH7vdaAsCuoDewMV
6UfVT9hFIlAwFWqGoVd2Q9H5mdEeuXO0S4miA9XaLsfsm+eUIQZUnrOstErsfJdm3yWIJfU9rsnk
a8BQN8Y2VLAIl71DzA4tAJK9lL16CandhlqIt595VFzhrNAs9r8lwZqHv/atbLUG065UPZlhnVxG
xchmqtrwNCPMilzsq9oan9nrFwdfRMFaAst+jYdzXALRfo0XrBf+U1yOV4aioiKZmjs1ifxN6moB
FvR69Bx0urJtY/QPbC+Kn3uhFAdLYH4pe3MtUdh3jDyR5l7XFbipD8ndpM1FnKb+JuEehtIlh75H
puAT/SFj1Dspx/9AfyiDkRxkTAJEZEdtUheoAYfaOkLHLg5td86kU0ZWIvFeOtzZa2FheVK8Nzhe
v1SzgD5JQBTO5qHJhxlv2hxUo8wUGGNrnOWZmM8Q9L8MypQcZOgznmdWs+1/zJIdFMT/muo15k+z
RDB9r6ba2AlNiy5tGturHLrPyixQWZcxefChNuxE4eJqBYnnUlddywIX7h88L2PZTXHHX/hjCu5g
W7dsneNtnLyW50GabGbiyk9BRfWslT2Bd2jNOlRWnZFXuwqh20Xi1gGGm/MrxLyCvLa8zm32/ApG
0dmr1NPIO+mte29NGkw7bai+u/pHkUfDN7PI9CVvQ3qhtGweAgzCNgK73UugxSYeabW9VlKXnaXW
ZS+W2sHOKUW7G+ZmZlZIL8dOdZC9iDl0QJmC/jSqYfZitukXN+qtM5zu7MWI2Mrzqzo0AV8bNeFV
60kt3sHwIW8UGNE5Utz0EebQRcZNJ89BaEAannBUerf7YjW6VvaC7btxLPrwr+leisRYiIr6WbeS
/zjdB9Tybk35bToi7MbRt12xtFMdNIYeesvYJdsT6yN7AaeNXuv2zUXU6LmpauXqJxTSUyd6bfXA
OZDiafC0KeLXgV3rRrVr0FJ8JgtXseqtGD0c5vQqOA8N7uwD+tC7esQiSfHHbtUEhfkyhdafRYI7
RZncQ01miT2TMOBrLCIrPzu6MZyk0670451DfN+x4zD/ZdH7I1SVeBb2aeQBYa3afZWUDxHq1OoW
TkDzUxPvmHaPVdRD2ar5OYgrGIaem650w0ABcT6kafslQS5lP3YlxoFjE6UXDcXxZWTb7UY25Th1
7khHQRGx0rPbBaqhWrl6Agqv08enwSOLEOn1Gw6EJRXy0VyBRpoTCghuo8md3A081F7MJlnEZty8
GbqlHrzBUZZylu+Ldpma2ETLXvVtRN7vjURLeEoTnNTgeDes3qN0NdZecahD1VqR1gw2XcITHI2B
zoLHyA7MNm6nOULdNYDcE/ghsiQd1f84qNO9PsvkrFh7O4umr3i+o1G2JPsYPTtNDDILr9SPtAap
51nfI2AIpI3t6VHPsKEdBsM/GiZ8NqQiwrViw7k3qxy/ool0M9V09BHNbz13YUqDPtKW2CZsB6+w
93C3rXMduuXKHRPxVgnzIl/ICINdDBcSazgepIU6ATXIvegiz6y6/K4ogU0h8Jd4WTUuBva4i6ek
PneDwoazU83u1Fl1f5JnbRb9dWb3pnJUQ6DiDPgM/zYUd/T+1tt2s66KVZCYjCmbxW2Q7lysrG5l
s54P6K4U0ZvsLGa4SB4uxsRJnmTxy1aMryyVsjvZhX9AthL4W2xlJ0uQ5HatMnSVQzpQTg5i4V8x
sTNXGDUBbQphs8uYN5+Rd18rqqBcjEvhLV56ot51VG8XcsTnhCREWsq1hxKU5r8uEqb8U5wQkZ/5
ZWRczoo7x1i5MXbksuOnq/OCxiWM1OKerUT7XGfOXTh2IEHmlqOlz4oaumfZsuv8u5fOmhxj2j3b
OLrjNVlMJ3NuFuCZF6Xh9EAnmKkiWrMUvtsd2nrqnuMuGJcpPnl7OZeMN9aSkTHt5NxB5YY99oGx
vf0bNBRGvA7XBDnXoci1aXU12cjePvZMoI+zv16JBWeVWlgodn3x4lnRblKF/cUyFGuVAH6APBQU
T/AHr7c4qhyrmP38SR2y5sExxFcZl9cJxxp1TreZrlYG97prJufL0Boad9umugRh7J4tYVqkITQ0
BJt0WNUDtpKlE/RXWJj9VZnp+RWPyUl1gZz9iJvCDFYULk1WaIyQHb6pYVaRocAyh/xCVVyEXcdL
hlnJUcZSI44W3DHNVblvIsDfGqv4demKcR9T2Hzq8+m+qXp8ghpygaNdd0+WDRkRh4BTP7duoQA1
kwrNWdmK4KvhZZ70R9kcvShb+0kwbrwYDKLTttYmk8wdNfDaRTGfYh6/MaoumJcwxNqZ3aOB6y1W
TRQAwplxuNoUb1N3OmSFrbw33FLNlBU5W+sdIqN8u0BEvjepu8NELX/mIVEfUYidHXaJoxH0x4jr
jao9mn2WB6vxGpSldgxZZh91eDJOS4ZccNNemP1QPWRK5u6CMRq2Q5SMT6kY/iD1b/0RWdxH0Et4
zQsj2TggLw4k08MrErjIyVix9YeTPVjq0H5rBBa/tmclZ1cDFFDXoF4VOzWOaCPUC491D7c5mvLg
xb1xnBMzwP3n4E+nrozqbZluqA+j+Tj3N6YWL915q8nyfokhgXcif204q95Ww1WoKPaqTRv7jIN3
y54n4tcSFOWu03UbfA0dvlkDGO3MAZIiN+udDFLRcm7dZhBANnGtbjGg1LVqNfROVN2aHvDONbez
sRQWXmOTcjcePjB3qbBpiKYH32XDicjKWbbkBKqH6mqYt6qqUrQpC9t2WSZ1dZVDPJ5h+ynXrIWO
GvCDOR98gfiGn8XuXjb1zk/OgbqD8XyFck9av3oxUV/wFxDnH1T+ye+BH8fYJYX5owp3Za2mWAwU
qLLsbW8K9uyW/HPihvghkXt5DPxSWfDDb750ZfLXFQU1kH9dsUY3a+tOmbrGKlTsDC1G06KqvDeE
mD8qS6+uAUwC7B7dFxkedZX0Sjq5W2ceVdj61hSh9sRue8L0XZh81sQ79HFXA1juA85U9VuWruT/
w+TUD5bOlhc6nZ0XcLGT4ecm7pbKgiKUtUzHCaOl3qhOkQLhdDPOp91sBSQPtVbaeIcwpkAApVnI
4OcYHeXerVmk6jLMSDtKZ2BNjLusoVAV8ZtcmGA0n0c7EdSBJnjAfu6v+6pxXhpr/gblrxiLuWe/
D/+8tQBt7mpWe6vAaPPXsUwbbq1etvc9JVw5ntdtlBLctXBx6ko7nlRe3235yuZvGaIn7Zy4NaDA
rOIixv4TIdp707fjBdZm09cWJClPsDS5F3GcUD71YSv+kGqUZ1Jw8abKeOtho80q19t8juuiPl2G
VqovM7z5+jbrr+N8SEqHPLpffLQpGiCyJeO6H8IiLUfWougv34a5SVVeCvNNjvoMNyMLHFPk6e6z
oyxIYEU2AEZ5Nfl6tdpp4F31LP5a9P7a4NZwTuoBn6t2DB8ysDxLYYFCHSsADH2Ql180rXnB9DL8
yHSqoaLlrutq26zVCraAhn8QTo2plGJ+6GOgv7nlGJDBSYcn0cfDKitK49ohAbMRdVTftQJGieiN
mdDZd6tPvHwXDO3SKVwoehTMqLD0QX0nu2v4oDjD9B81G8RtSToYKZ48xiYuv59aCx8dDRhXphTk
3mOB+RtGk3zaYXNoweO9wcyTwyPyLPu4q4NlVff5jrsUsot1ZKyC+YYrD00TFcGtHZtVVi30Gib5
P/7nf/+///vH8H/8j/xKKsXPs//J2vSah1lT//MflvOP/ylu4f33f/7DsDVWm9SHXV11hW1qhkr/
H18fQkCH//yH9r8cVsa9h6Ptt0RjdTNk3J/kwXSQVhRKvffzarhTTN3oV1quDXdaHp1rN2v2n2Nl
XC3EM19UcveOx+dilirEs8F+whMl2VFATlay2WqmOFaY7/CW0wsywbvoXnSSrb727Cdo7+CNbr06
K0skLy+yIxcD1KoyR9fMQajL6JJ12+jFm++Ezt6ZkmYlm2gNZsvKSaPTYBTFW7sCUZ2+xTrFoGTS
kqUcpMZdt3JJhe6NLHzOnOw8NUN11Qyv2Ll+3i00PYc+LoNZ6UBXC7yTbJFSra6VpozrrHbjlVOm
1TW3u69//7nI9/33z8VB5tNxDE04ti1+/VzGAjUUUrPNtwblHDB1+X0xVt19r+TP0hRez8AUZZNp
baTFfNSpL3IUu4mEzTQ7Al/LPoqZMyMPZqe1ePrEH0Dzqns+cuJR3B5+jDLnTMmPkOpbBqq8arss
/Gh4SdCtmDzKBbIFNhgySvgSNEn7kE0OZF7G+IpXnyPTICty/fs3w7L/7Utqa44Qru5oQnN0df4S
//QlFYAep46t4repqpuNZrTpxmBtuCeNmTxHfX5xjEj9mjkpBZbWDMlnB9ElcBNlITsKx3hGW9d7
hG4cHbrUHdfxUGKzVzWPmI9iWTklwUPXRMn+1gzm0oGsH6gkZLetEmE8EyQtHMwfPbLGMKLnHvdY
lX1WHOSZUHT77nOunPV50Z8GM1++rhzxGfcG4KxIB/J9B8pxLLLRP9owzfNbO9CxseTd2speax7y
OQ6BvOA2w5UzPruTKM2sJabz/n+5iwgx3yZ+/bq6uq3pprDnzbOjW79+QrWq1eiZQ+7ulLDc9Knq
4h6E/o/jQqgkzcC+FGu0c+RV3aloXEj6Xd682bUIj3rSZfehGWX3WoL7Z9K7xl7GbocO5ocfFBiS
zuNkDHHblNxF125lsx2t7L4vhEMSNWk2o3xxzyso6uZlt4YS4iGDAU05NvSsWQyVgi6zHnNagqgn
RerUy9jWipObFPBgfjptEBzeRZN39dQatHuU8Y73ibnjt2mdpqGMt0Ovh5c8SsQa2Gh/H/GLWGHE
GD/5HSkqdunei1L0UMyGSXlPguCbogI+V4RzQm96eoKL9VAZWrObAEaR5mzjqyDXeZVncGW+cwGU
GX+E8gaRw6hJXwx3GpzbhKL0YWam4EI/5zcdtEKPNFyo8GvMZ8G3ycrL+CtpFYjJNiJLvlraS8Ps
8fkVJrTf+Sy2J6Ta5Wk9he4tKJsAzY1D86cZU/v1l2C14zkdmKzdJgDCLA9+vDOcUdlT3IxRsFZq
fak5ARYAkOhPSOB7p0RpuiP5ZgjwtGTc8ivW0D+dAmpeo8Y+HT7H5C6LtpVsW8L6Fhl+vfXyZh+q
RfAcqG2xMsm9n/LJcM4u9eGlPie723Q2lEzMNx4x+YbqobHHkJv6qNdSr6ys8QbTl8j8wfOx6HOg
cs5A/rFzybPWwI1kJ+Db6NJX8P1NbyqWRpWOi1GNsL+aB+uNS5k1C7+A8W5Ok9urZ9CSfx2yDAMa
9rr2ln3qJBZ1l6rnSAOWh2z7Ro6ztA91bIKL3cTO3ZhhzT54VvDF7WF9xKPJdqOrzas9oOPm5nr4
pepyiEeek4CPMZRHykxno/O8Z3Iy3cKNDtSIxrPiVaq/7vCOpKwJjMwti4uuwBtAkhbr7HQqjzKW
geVE61IrLmQqnvsC7YiKHai/ZotHYgds525EpNhfFyaLNiUDFyHnySnyzA0iiDQJf83ntSYHQfiE
H8s6CRLe2Ahs2dqYvGBls1xea43gyY1q/BmWQ340vcq61LawLmMEmu7vnxyG/vt9SdeFqhmupuqG
BoPb+PW+NFRe2vi9bX4dPG+tzz4K2nwg89ay7efMRNzOA5v2r2DpDMGqojz+U0yObkGHHeNcMVAb
mWfLtjwLBmTl1Sml+DTpSAs27Ybsd8IW0orPVcBtTx66IYvwy5DnyCqoKkI8jJJtv3JhFfndUc6R
8dsQIETP6Fn5KOrUmrrIzQw+m47R9d+/T3I58cv9W7ds3XVMy3E1YThymfjTE9YsI9yNFav4qhhR
trTJCm3zssBbFCDTe2eiYIeu3UvuOO2RfDL6BXPciVBKVAtzuiST4l190/jeF9aITy37F5YT9cEU
g/oalcVCxgNPD3dkQ4uNbGoZFqEgOJ7I2uknIxiq22VLrWBB3qjpeTKDdJMIrcd4IQk3wvEd7r2x
/dojbxTPoNjf4qm/NIo2/+KPsbPuMQbaJ+guvoZqfgMYR2iV3uK4mbevCflkCfT9bXxGXAKG3VCJ
0HE4hpWTP851yVWRhcZGNpWxyS+wUncx+a4C4WUBwzvo8n3U5sUjBtlUWJr6YxwVbf33n5bzb+sh
nrU2hTCTz8sUlDF+/VZXZa07VDGDr13Q4gSt5a+TVXv3UVra5z6v+kVjtv370AbgB3zXgq3saM9o
5GywxO7fzW5Itk4rwq1ppM26DkC66OBLjtp8cKisHWVTnslYYApqNbZ9iEScXVnvIOmi8rMp8UK+
IhaIXezAzaUv1eLkaWN/KjDLeG5G8xJU0XRBlCh/doX5Qb2juZOtYE5SNkVQH2UzbcN+Wbl2v6/m
maXPVs2fdHsre0Nw42s9reqN74r0EMyQMzCQ7amb+UTWrB3fLpu6r0+g9oBayojs+xxV9gIZcYfd
QlajNNVG/Xdu+tZc30uFRX2M3OYDz7FiF0c1yZREJYURqwzV424eWjf+zvYgZ9buaN/ZSLlNC9PI
7bu8Ms5Vbo77cu6QvTKuNZb9Xz54+cH+/DMV5ChNTbV11WCzpv2+EO6Rou5619e/jMKvVrlVgKg1
lf52iPnCo0bivuRVZG3YUkR3VulY9+mE8K6NwKJsUQdPLmZnAAdlCzybSnXr3DPCRVaDqxl7pMzk
Aa2o7OzY3Pv9xlBYjOI57qA6RaplOHcsifd//6X+t1u1MHWVr7OuwoTVdV37bQkZG2bp6FqkfbE1
77WG1HzXcJf56TD0qPPBd9RYyE32IkVc+g7USL8yMs+9lqnINzHbe4yU0CA1s9w7lE5oHVQgNLsu
maY7rxuqTYE18xX6Wb/o9bE5FqFGLt4o6h2ga1BCybR2vNTbG+D3DvKsUKPudpb9OPtPvZ+xz3EU
1uL/8kj7tx+/MF1LOJrh6KY7b95/e6SxgJvYs4/VlyhNP7LsQnreuxuiyDqHM5ZH4nNMkcYrFI/M
1WdMnsWtI04aBlu3CSUaNQt5Gk0ziFgvx428gBwsO1CymbMf3nGkaD3+BfXuUBgogzFAa8Xp727w
b3mqDvUs1TQm654cKLgDCKMCQA/cMFFfbKljMsfssNXubkNAfd2a+jzER3NlgdbsiAxsnV2rOn0S
jmkcpNkQTsTZ1VfNZmciogsBi6Y8yLF5Gt/GpuD9nYVZBu3OV4ZNH4kauq/Taot2KO9AyjtfAjXB
nt4BjEeGxGYTa74Zje9+sXq7WcJcQF1E651rlSDGKuYOxIZIB+dBdgFZ41+KyUN0c+7IRtZ4jTdi
Bm4G+V07qHN6iI5oKl4NAJF//zOx5e/gl3uAxZrGBdhq2w4gRP33zACSlYmGlu0XawA5XtYhyS/c
BdaR0tsvpeH1K7OurV0wN5UeDLeqN9md7OXRjXsvWeGxMM2njCWmDI8W2Ckebt9QA7VfWg38h5Mb
6lJ2ugIbFo+fCoe518nvg75/wp2oPJulad+ZfiiWLcrK34C5w6jSx7epLkD94Zqyz0K/eKqU6lUO
6JSsXljt2Nwj9xgfA39K1ok3KF+bcCEH5CJzV4UbjEevyFx84j0e/fOl8dN7Yh9gPbGK0XeDruBG
JomXTmqR9vN7Pl9kjraqFtX343yA/vNXrMqM6l4ekEr5OSYHf85Voq6+jfuMiQilJNYUv1zr9+uX
NqggtpOC6vmjbavnAE7Ie6JjLxSXQ7bPa8V+6yN042v7vWvg0CWdWqHW5FnvdokdOJRFFvAduBIM
RhA5Iw69EmpCnVnXLhvQvE6ghrpuue8KCn8IhST8THQfu2jo/hH0uWrsjyw8+uDFzZtHR4B9EXn9
4kIQuJuMxnkEzqavexdxtxA34sfRrzps7vA9ipCuWLJwAWE+tBc5dphw8EoqxYO1ylhfoxhW5VOy
kL23Q94sDTea7hM2jidz0PSt+CGUIvVOfpM/+RRZwUh72mLFfP0MyQm/zf+t+dvlWhh9q9IU1kLO
lTIrn9dLsRw7qAWWRrndrLs+169moTUUOHhZfT4b5pjsVQtX3M7+flyOZvjGVamxeTPG3ZJwd3nq
596z3lrGrYPctHZyJUJe9jrzaHlWDD7gFMbF1IgmHRLExFoMFLUa3ctD7jWIGXhhupzRNLdYYxrT
3s5muPA8rp0PatPCb4nF5XNqZLfKWUztso9GsUbd6Nlw3PHeVqd6qfVdvZVNeRgyrV30nZPuu6aY
7mVMS4EHK5CeZEvGi9Hd504x3n2GWjNCP7+NrpluNlcz+/A0SsV1gqMRqdbxDVuvD+qN/tVVNONh
0IJzM9rDm1laOmga1JtwSPl5VB9zp4FaeR7TAlw+jMFlNOppuUz8s4e02YOrKsNj7UdkGygZbv1u
Gh5FOeqnmX/ouF1Wkp/EAwqcC0hBxna54kBG4eGkxY+CZwS6/OM92+XiUR3Sdm1pvVjL5ujG4X02
lkvZuo0YS21p+ELZwlgmxeiTS0DYy642umfox1B0rP76bIdNpL0zDauv97JDHpIe2OfGNfVZy6qv
FnK07Gls9S5IivJBcxHPLhuzv4ttRzt7LYAkQKTltwQBshRZx9c8TbNthp7izlTz4hnrr3s54Eso
fPsQ2LUSokYHr8NtjLvBcQZyT+NwgQKbniEDLG4jNFYyRyU2Tp8j5DC/yHBRsxqQyYbqsFiuHLII
AdbkgznM71lSHTUfEfkgpZlYjbfPsl5fo9ZQoqxJQscevPSbjoBOGVvDd4yKABZjqfnQTT7yOGlj
7bxIHbn3OvZtSMJvzrXsPyyKypJdcc2ydNzzPE5RrHhtYXph0jcgAFjnfx3cufkZK1KDj3EmWm5A
uLmLgFruG1Z9S6kckFY2unsqQMyozO1LoPJYlooB05g82GkpTkXPuzwVPYrPqDZ+mZyZsqQpwzlV
SekZmIkIg00qyO9l0WjlF3hDoI8CN4dL07bvUHOtJCu/TID8t149FVvZTMShGDzgYcNY7qbRqDdy
MpKQyxye22uvKMg7efG4lvGgDndNpJnPxaR2h6Q3zJW8jFbZZzUhXehlPdIBLbqTiWkZsAW94d3A
xnhR2tKgaBrvMXL/IuOaD3YbfLc0Nhje4uEYzMNFo6g7F8O+tRxVqObFqC1KviCg73SrUFDs7If3
0WyQACgXMX5ryz52zGdLbe3F0NTTW+PXMW5P4fjVjHx465X4rkfZjjKJDwhT+TOHGxmR0LmU7NiD
BWXuTZ+n1Ufsp/fK0On3kx9mMKbN4ZoBm19CmPA2cSxmbV+l9XajaHLWekNQr70oWVToJ15cU8m8
ha7BEKx4Szdx5qOSH72LQHXZYZWVcuf1mnI32OiAxaI8ytBnXJ6pvdfzR7Hg/K3DCHRlPfFi22qw
cOia4ouThMj2GIr3PGZ6AqLZVa5uXvj37HCchQ6Fg0osMcvvs7MpgntKlKdI1fujPmjGRW1884Jf
SDzLsq1lSB5SgDbYtAztgVIkGeyWJYOrasFzHwO4BfoSgyJpw2eUOuxL3JXcr+i0vHh49PWPvAzD
50IV1coZUzyP3KG5G+ZDISLkHbJqp3pZc6c6Nof5THbKYaWhF0sTEt9axn4bVyYDtpfWE6Qd7VQJ
dTr2blpioFNHT9NAGdwHfPER4pvRGN5HZwbhwkN6inqrP619EGO3SRD4yk2UaAsTqPTRFgjHajDS
OgQr9W6nGM311kRV3jiNNeowC3ttwLd7bjIMDKqCn0lkptVzCVFwjTFYsHV8q3zOdOQsuavbuMXQ
FKWBkaiTI3o5N0PbtncBWtJL2XTarjywwIxuTRQV3SO8RPBH8+B0stQ7UfjfE/HkxZP6FSj4HxEQ
zfehLr2FX5n2U1KJepU7VnAP+y/fRP2g3g1KOZDkH9VDMvIhJVaBxAp+PktLFe0Vhm28U/lvb2lj
c4aUZ678atTYZHffNS3o/+SnoVRJ8mfEym4RY43wUoZjsK4KIMJ/OplIV7GV8AtQI8s99aXYYbPI
D6AwrJeszPRD4Y3jdW6VTcE75QfZMyjgZKFo+oSIqZo+274BJNpXqoPsdbUMzUV07YHE0yu6oUfl
zp02sknVONr2JPTW05ilz+hRGYu0VeKTm9fBRQjtT26G3WsYpPmugGezthCmfPVzVyPtV6iostDr
dsFJBE3+0GTcQUwfYZs5bJdGdYTNLG+o3WuD3u26GGp1K3v5sqByn1QJ+Cwu2ferCpjSi4GM3sXu
jZ9eF1JgupZz9HbYCOwZLbWrH3Acy4Eml1h2xVZ49pFaXDlVWr8il/4KM4nvZ9QvqXi735zJA6g1
TzLhnmyHwMQqfJ4UOCC1dGyNX6cguU2ynH7pVIXzze9TBCrsqH7w51dKRfDzKwGCq1+zyn+1FF/5
SMvup1eC1bubFGvBvdQEJToX42WJXh6qtNn8l03enOvIZbH+VpWnjCYM1SJxBgDp3/M8beYVgaLC
p7CjQEf4s42PosrESyqi98mP6gvCf+Il0GMQrHX1NJQsffrRW8lBcLGxNQZqfZsSNOMhMkAVyeYM
mNyiQqfzwXEJZ1D6Fdok+k5eEYlIUBZFTJFu7h3D6BJjQXPV2JUfyP6E/5+z89qNm0u79K00+pw9
TJsBmP6BISsnZUvyCWHJEnPOvPp5SLnbbbnhbzAnBaYqlapY5N7vu9azLnnuZbsgIWeB0RrgDzGF
J99OcieImFLm4YC7NB1IxkqM++UIf3iE+dbdLfsDYkf4281lWQsVbkXpKCeH0Q6+WLVtAEzRmI3L
xtarNGkWElonvKXYg+bVWsqiXRxHEXojVu2kHMBr2uZuWdUbA2do0ajHwBrvuBB/US0juzXjLruN
mXKgxKST0RX8Flw/4scbZulx2YtipD3/+RtUtM+dh7kTatuyoFZj4BISn8pZkcnVpKytnhneMG4p
EE4a3duJC6OXAsdqCNOOzq2Q9aNRZZxU/K8Y7TwazcYorr3sRZWt6Lao8vi2JMR6b8WioY0YYSy3
YYnKgIm3tRxK6zEvuie548bcplpz5dcWtJVi2ieS2j1NXT/tJoGMMwAO91RqkDcmSmAXQychB334
x9OxhzR7q+an08+vVrQ4ZG3LKM898SRfRuTZy9PrYsoPBV10Arg4rJzlFJmeVqcU9emj9eNv2nYd
Hy07093lKF8A9FO4Oh6X14CJRFNzXElWNLgDlcBrFcLcdUH4gs/l7fJzky3QxGgD0LZl2/LgEcWz
0aHrfjwVnLNy0kvjUSZE9+STr7jLtRTe27z0c9t/W/rzcWZk/3g9+99Ln14lDm2xRTpNr1W+qTvJ
20ZBGLpM0KZ5ljbdKGmQbETb5auf23ylnVZdq2jr5WnLjk5XS1dPzW77c5spLIBpo1puRD99RwcO
HrNWBL88X94LjTLWJHpI1XVo3cJ/z10jC9pntRP36McCRDjSmg0YmGSrvGhlV3/98/n9W8Nf05gj
0FYzcKFTtl32/0fDKDOY5IRqEzwDqgnjg2Huai27x+DVvBlWuxVjrXyVfUu4gWpqVyVM/X0VTMYW
s39+yqHfOznCQQeFFSf5/CCB9V8ZMUrQZVWtm8uf37L2uWuimbYwNYqbhmbpli4+Fc4MRfbDgK7U
12kcVpE91UhEeNCTgsxn02x2TJNjp5e9H9vkwSTimzw7R0317tnM6iPWPuTmChYr2giYp9K0f/bR
6zupSOVzDzPsThrTKyOV++ei4gtSiZTZpcEK23ThZ+p5bCpKm4NOvnaecJM3bEshNpE9y9LysByI
UqEntyrM/0KqoVmfLkz845ZpAFE2TJ2uKH3GX5tHuOhRYmRz/IDBBVMkZX6iP+PPQd4smvNDqvr5
ySvwnFPA3n/avqwuR/w8dtmWiBxWa6KT9Te/yKfjfq7+fG5uY9zB1RTBhNX7Ww24+TEQ9jPGAWog
tT4S0GD6YmPpNXvnQ3CCugPO+etlE2qtYc+VdIJNy87lRXqZGKfaCvUdOLrhVi7KHpjGtYhyXlLq
ODf9qoXaMj9heRHJKwMH+YR/XF4Eh9l4iYmOW3aKuo3XXtHrS6PkmFAjZMiJjCGeH5alptZzB8xy
u/60I0thtTvLgQY/FVdVAMlWbWGC04snN9DC7t5MjPHCB3Lbph10r/mhHJ5xTMV3H/sNSqMMkuvT
sg8Ri5plzSlPyLwxygaWqx8oZDZo8ilRyh9Ly7blIZ73fjp42bbsrRvd3AsfOk0/+cVRtluKD2Ny
I5SioC7+r4dl52QBvN/k+lgcl/Wfu+UIpDFNg4EmrU3erjRJG22+8yrzg4x+JVLa9GLN92FkNPF5
arKr/uM2jEh+Q1hri05h3jun+YDgzOgkoqpYXqQrU/lGtJtl33JUmE7VHurqyEBlvpf/t7+qdOM+
9PQffzVKB9m1BoFkI50mCLoENCYg955rFD+40gr7CuOmdbWs9uooPas9VXwNAMOpG9TsKs2ab+QL
axeo8vplWTI8nRkgKRlGWehMEydEOMuOiHk+MRJ1uV5Wfz4sz6jguv7cJNN8cFolBpPS9NIZIRAw
NjWzNoFsSOdl28+HwPAD1y/C5ED1OD7C8CIBcF5aHmrJG3NnWaRrlWxgo15FbZCcIj+DgGUV2dri
a1hVUVGtUzAbUCXgQVPkGjC+te9+mcPP6Lvsrm6oW/ejKq8/Vuu2vbGJDVI13ctdkVWUXsqiI4+O
gwO7by9ZNJ0o/iRnnx4e2FNhOV6ja4/DoBrrVtTTdlnNCQd09GmMr8qg9r9UjFgUO9Efk2nsMCz/
8iyju04xyTDcbCLqAmr9wq/5MCLue/SMvNrmPdOfPA8KiJbh7XIApLfRMQPPuB5CuzuKIgchPNjF
C2rQ+QWsQrJWGcKpI2Ah9bod9clZdiAVu6FS0jx0nl9AlwEoG2eo10NLPSwHiBImtUTRpbPIUy3c
OPX07r63mbR6MNqYOVeb2YTzbVgBTkRkFWNgY8is7bxQ1b/oNdKseXdkxai5DeYraV8ZaysQw2EW
F+P7Aj0nBdKxXIhzg7zKTOBZizHDL+J9UBcpvly7OQ65/8OwoQ7dd/oJxQ0ZaOOlKkvaU0gwn2t9
WithI13BWxhvR5u6UoGGdBdn6nCrQlm8afXTsm/ZUilmgTopMNxlldrFja7rxoFMxWBfh5q2iWUl
fxqzerN8FsbQdm7QTPUlTUpaeKMQHx8vIOZVluXZs6LxoyaVR94PwVDeCQKflmdmSgwCrRB4EmqE
SpLu22t7GIOveDU+vgjVA7LXWzA6NbI6ruSkzFyjAowgdSAvMx22aV3ik8PcWtofC+OyQJLQx8K/
d43y/88xv/8JXier22oeFvz8E5Kvir+4Lau/35VJptJkRK66qRn257uyEH5jp0Y7POj6ZF3FSXtF
fEf5rLTkY3YwWrbLaga2w6hUCmYVnUG3bylBjv3Ky32pi/l4zMLNAOJhEpQiJPH/WpJ002aUMUbb
Zeljb2n8RWsSTMmv09Z5ZEVb0jAJyEVCpH2e8zB3qMsCDfW9XvWAN6HuypWm7EwdGOey9HOb/V+2
LcfZ+RWpoc4opXSlYMYk+5Di9KGbSiqPie0dOrXYj9kUaVtl8MzN2HLn+VgnnWYDzxgmypA8d22T
rLS6Mg+lDVBU1HeRKSWMyoxsHwZhyuWZ1WjsvpO+qFxjZdIw/YXfl6OoAKRrzSLJbFmtvHsTSctj
gaxy09VWZVySISthzYXFo9oy/qiDhvzHeTUs8pWvedW9n076Db8/xnyzQGc0SV7KbRI3A2Z6Vuwl
2wCS01VPl/dkesNmWRvj1r5alqrWkqGMkacXm+CnnWWjZKTPELS8/c+Dl+dTpdrI81M/jl2em7Tc
jZeN3UDqeOhruGQ1xdv6oVwyVumLR0rAJkqAIjks/0lk27d0LnWKt2H30DUZFV7+I4O8AhdP+QBx
KzPFc5GG34JoSl/DKXrWq1xn2D94nKAWClDCIe/nA0LuEw+hKLnU9TaSuXm49LG4jKHUMeabVca2
dnWNN/FzYFUpbeG5P4dSEErJXMAdt51aPd1Y4VTuGY9b97SJbzQt1L4VwoshJvraRdOC4uKXNTeh
eUcbTJeCH9aDLWf+3gyrblP2XHDq6HXZT+s5WE8JkfR6I8/ZDF6/1hj+X5KEcUWv2MU31Y4ecXl1
YP1UcaCRK62W7XzqbkQ88NPMUt32rVlvzcKWngLgNcsBCflRa7XXqgN89eg+CynQzC8o+3rlWuNk
nXEPa1d10dGSmXe0Hg1fSFbSjerV3nFK03JlpMK+jnocLnBJv9RVXoMvK/wHwdyg8JXxsTPN4jRW
OvykMRsfsXmEmybUMhT57A0LwKoS0U+XZW+F58nUs0coS8OlIjaBKQlHxeE0bUdfAobUhtNjE7Wx
KxN/c1yeZNr+ugXddi/VvXRtZiTJLn8Y38vetINutTyJ0MVk1XiWsQdpVp+rCDbLNE4IO+p51hRG
2sPPVXKifqyWhVcdKS395+qyN6woOSzPbeZ0pbD0Kemm9B5tnca/CLxD6HfixyK3vm7Opy69g4KN
W1r/tm95huSJtRYbMpqQfZx5nngqh7oC2QFwDqEqJfuYBk2nGvskn9F0XiGTK2VGx2L0xF08Wbcf
2xPboOqGkthqBu+G0fTbsr1mSOKmNUAATEvJddoUjRPMUhNpJK4lDSz9ypjK/oJOljyICKxu1yKs
Ac67NrPGPHwskldjHpZ1j2bMlthNGDncZIHh6OdsBGNZl0T1fGwrS+McypN0+A9xzbzNV25GJO0e
FwuGr6jcuih8qXr/1oy88K3ryy1JxXngFOlLSkB45BTtFTNjETh5HEG08Ke3evSujMrqX0jf+T5V
ufKsTvoAFQzA3UDZ24ESD2bXM02QggkzCAxsNvch2YOn2VkUuebF5aBlqdYasqIsK3WXbVKFZcaR
Al4jXV6DDkK4hd/5vuz++TyrJ3osCKZ83Xnp4NhgzvGaxv5aMkr9whxXxs2qKPvMjtozui0wcSKo
76SAsbI1Vd1XSHFXno9a0ZFWftZ1H+6mcDY1Lc6mxcXk+6lyDCaUP7P/qRmJpjC0NHe6ajARoPFA
sQ+bSEFmne1HDEQws6q8/DUEte7gB/WTMuezLQ/27CRu/fRMQLx0XDYthxoBUEgPzunq57FmQPKg
IoJdElVipaqjf6WmzUR6lTGSTJfo5yaSu7Vq59k9uVgq3lvNf9EGJDA1Y2ini4tVDNbnNR/imcCn
6A92CPxweaXKV368Uj4HtGqGpG4NqRJnSlu5CIOzNa8kDEPPaT8lgN36MtzUpjTnIrDHTPQIHyL5
nC5KSKomUbNjIT0N81KklOnJL6pml5NA+LEU/Hvbp725X/drGSs/6gD5YFMbxX0zLwaGLB8kwcOy
ujwIzcqM9cdBkA2FStAGh1qxobi5UoTXHejNxNKSRyQ/6sHS23qlGlid4WVABguoDmBXS6+tRCOH
dd4BD61Y9XZrHUo/sL9USesmhj6QkYJFIuu7cbOsovvakyQn7sn2iWgXYwBLoG+35LnyUTP6zsPa
+0poe+im+Qwok7RqkyVhdgLLi5YZ7O62nPzuRrGn0Q0C3OtyQvNBmytM/lxravpQ31tZ9fhz07Jk
lb2+Cuc0Q5nAHyVOrROJ5BaTfnxzkOaEq86ry7blYSoYuTh4DomItIDzQQy6qSiAuQr9MEC6BSiF
ZX2a14faR8W0rHMX/9e6n1aPupzB/MrkJxn9cFrJ2TsTRKCdmWC+hNAgiHXjFq2wsQmsIjwaZuqf
W2tuOElN9dDmGfQLyL5v7UuSxPl7pqIhrSrVepC47CEcSJqz31fqITfTeJuUbXnLrBPER1omLx2B
m8uzlK648keuVgj3PJdL6/bPlT9V/GpPokuo26YqUxa2hdBkTqdfa17UKIPOkgvvVeQz/mDS/GNK
rQ8PzLta+/VLGk/rJ9GCuY4IWHfj8DyqROMpNbZiSSjhVasOe5KQiPwrPY0RWX4Jo6ret/ZKM4tw
mxZ5cBtkt0ncXOWarx9kSWgHqgUEuuRF4oZdiwJGx5TBrElf5fII9WtIZC4dvBwOWhifm/ZR0SV9
1Yzw26jbNVvsJ5STtQpLTRMQa6EcjFl8Y8q4pwBKP6kKcK1Me4reUM5q11P+QBidjdIHgrFKf5Pk
KCs7yYqnbNOqfZDsiaAinwYmXnuxo5uauhgrpaMZ3VH0gOqt9vWVGEni8jrsSCEU6aMkm7TcIaQ6
GTmtmxRl6qr3yKeygsT1hJJvsLrJm95LtM0kXltdzfYdpZa1SX3cFYBMN1TAB9esCsbeot17U5js
8OKilZnQDcUid0D0YugkQ00Kect1To8nFjCc09IZ5HC664FGRxLpjWPAPR97L0wRNTbX6JikNcK7
YjNqlurEQU/rPm7KlQyQjeQHWDJSr36Lc5B9nZGV68z3MkeSynSV+mpxG6EGRFKgnoFYq+cGL1is
hC2JDIEL4WY4IDi2jyQYAj6vMZLRMwzuYkyTbjKolBzJdUOEWFZ7OHwreJg086NmP8GxB9ZQOMZA
xSCa2tdULrUT8pkXP9C2ZsCYySjzKHO8biwPVMP9xk9PqaZ/GSJDO/iNbK5iAb6XUYvvRordkB1p
1PRY7pnVpSfM/Omp5CI9BkBfWxwZVeQVd4Fe3AvRpAcR0qr29CPl6yuwWMYT1959YBHuTu64FWTn
XDOix0pKtorZ94RahbWb04680RHTdZXuJIGJ+qEICIAjQQ+nbOR0XdecW+MwIYNYzzTPDaG+5zax
pnOQI1CRTLriWNhOhUfKrIxzbWMOujgUZfQlT73+7I0UZWOYGZZSebt2VG8s5qMOl2RrD7YUKLQ6
3ClR1V6WB9WEnDiUGRF8QYXoqpS1ozbWSOU081TQjb3qUaKsRiMA328SQ4vY1u29yWnks19a4gs2
TccKgmNJFfsgpdKwH+3uOcU/ftbVAW20xteoIXB1VY1gYWb0iBvRT666CkCCN1nqdmAku0pV0w0l
7VXuy7UaqtxexmE4y1l63eBdJJ0efS0mefAYo9as4qwlCD0N1hQs7G3im/kKiPLKGPxvhqp1f3FZ
U36tGXBVwwqgCUUgBsei8Jvpksqancf40b6n4LUOEACNI/qRFanmERFBCXQmokM8J8Ol6lA89Mjh
TgjYVi38gsJy/3yRtZVfJv/LuyElHGCrbSu0Pj87yQck52rH6f3dZkwMhaOtiJPO3zormC00Y7Oa
dDt2jAhuiDVY75oUv7ZNM5za3p72uW5tS9lkBE0Ra8dIZTh4UoD8qQnNjRKUUM4n2IZtFzyhSJIv
9RRc4tpUkBp04Tlt1WTbkgsh1stknODERykPPUctovuwLe+4ptprv+hT8rUSsa1k7TFMiB2MdBhi
uhHDMJvL3VFrt3xcIHHa0pDXit/t07RW3UDInTv6SkVylImpZV6tDCNZ17159DEikUKQOulANiHY
yHe7CYOtCJtnNZsA/RX5bW7p9kH1lUMfSneQqqIvMeeQo1j2S5qDrtPGVj6iEtF3mc/lLJeSaCs8
tTpG/rqaVbZt+y5G/YqzE09WlazHHppp5cXtSZWbBoWnTYSAXBybsm3OSUo4sOHnrQs9N3Zi2Qqp
WijXoPwlugkhuZn1OL3/+ftXfrvHcibO5yPqdF01TevTPTaH22mWws++Z6Y8XHeVXRD25Om9S5fh
rg5UBukFNV51PjuLMg9uhBX9hT9G+bUAtZyDwhQYxamjEYr0WRsPmy8z7crOviPEUx/zEYUhaUpm
J2FRa0yJMgQ2fqhq68Ljk9U7UbyTJGNuA8Z4JAfFJ0WO40OM7qQNuxEfPXe7P39M6m8/k7lZiqiD
34pGD/Jz41SRzHrAJzt9V/LklRi05oTcIQHHlvrIOkGrLN1cNa7OKCO2TFn8fTAqw5oaMHrhPrc2
oVBfIPm354F0WVgqo3RMMOFHYyav+r5TT1NPjuaf37byqbbHRwuqW8ZJaamKPTcPP+kZlJj5F0Ig
83tY8fuQY/HNbnt1RVIfVA3PL/eZaaApmZovIlhT7d5DG9e+5taw516HC5bgPu7aRX+RusKhXGkf
anNMnMgC5g/931U4rRg7Wsp9WCryegzyHUAledXU/lGxgDV4ZP4ZdboicMTYD/5Uryg1WtveojjW
NwlgkpSATdKMZi528uhJQ7Yxe/DFAc3dY4necl16HugSP+xOpjHSAKHviseXDM82j2qnjMaXTKcZ
GGAhdGNpbNejP5ibXFgBE7e8W9VRV2IfHO2N32qbIBfVjdY3Kab8xFwPBF1tPF2PuIXbDO+E31MO
mxoMYlq5qnS/cb2CkZ4dfcNJF9Tli6Tr4lwmDMgkibxbxSJps8T/7phROFI88u7xltn7Xg/fWwZK
2HyWweYw7mHWFruibpDfUqbYcotVDkBnQyi7r7JGDi5EDa3qCKLKm2BvzM0pnfkpcZEhkYyBvq97
f1j3ML9c2xDZnQ3GfGd37ZuAPZgyClCVnYKD7LqoGdpdodhhQiQjND1448lWi3gXlL3ijJ0eTpQX
MleUiTuSFX6tmRI5rCXwx162g8yh1C/dhNlTptPxJ7pBSY8EVDKYypSV379D507v6lw3dnpXT25D
zVYWyjVE+DkXCPtdPjX1X9ypPjloPk5lHZ6ESb3ahlP3yUHVyp7N79L0vhtVGDD86DInNiV7EyPZ
2Shy2NKl7bqLYYjuovsKgZiRf8wTPPNcWzaD3t11c0IfVr/7lC/lz7809Vft1/LuKKDj8FFUmvem
/sncqchqUqVlEb0NhCmSgkFMby/nN5wnOTHvY79TTYLHClonbkG5dZMotaP1iJMX8n4xAbKKRnI4
tGSjKUa9QaNApS9s0ptczuy1PAXqZpqnJ1nch3z9ibbWU0FsXh48Nlxy/uLf+e16Z9JcEDaCA8VQ
zd8AM5raT1M89PFbH7ZXyIaVO8VG7l6hMHY97pSrsa2S6wYaGjqJzlXUEUeaYiluI7hgSxqp3nWt
5F8Hq0VBG5saIsiouzP7ezu3XkZ/LO59ev5/JRaxP49m+OA1lU6Mplm2zoXk1xmjoYR1WhNZ8Cb5
gG8mkIp9bj40ScRQAXzpxhjUwQkkL9/j2aE9hCz2DtrwtZnYh0wxxH6ZTHWydpbqAb1etld70rLy
lvmOQj6F46OuNJu+PmtKsY8oHG4Vy5+BJRhrIKbZh6qfZEfz6i3RQK8jSrFnLbYQrjTVOUq9aktt
OL5Pu4qyGRfTph0e//zNfVKwLSeipTN5s2ShonW1P+llprSFnDDE0ZuVqvXajg2fO7iH7bu2brSw
iI/GoBhrvFJvo0RQVDscpLEWx3So1riXABD3wVkb5Ook0qCAb608mQTXX2uWtCexsJMa/QtmX9Ig
MWusUC+GTlknnUtRBfZJ5JeXKfO+tnLLNdpjUoXP9cHD13OsWljkf/5fOX9++77R/zBoUS1OUkMx
Pl0Tqj4VteVn2VsihLxCSdtfcAPbBG13vrkPGWZepWG8QieTne3Jv9Ob4N0rJ9WNZVVsEt32z8tD
blPahdwD7EGgrMRuFbVtfMOV19sXVv1MBPNwkij3Wk26DqXqQqDyAKiC8ijuxovOe7vWAQ6FnFs7
W/fJtE8k/Xqg3XeJs+fQ3HOfTkizJMcBqkFma44oLOyusvZQGu3ao0evxbpyJJQcLX/TyZB2SQlr
0c1k2OMLk1sjda+d50eB2xIa4tR+Njc/mGJNtyLNnFE3JEJNUlApGHSuwD5kp2amHvmpXRJhDxAc
LQ1vTLTSF2lMyhUtiiv0i/lFHe6bZgp3TDl96vQGpu40K0gZ7hIXIbjqTtoDQ0IknnX/1hrt0S4r
sny4+QADd2gqxlcJw2hnQtC6jkg8cdKZw2+IiqjiMrswZrePlpGHR5pYudPEutgpgTccRmt8H8JW
peuQKQdvTnT11OwtaEtQF9QxHUIDhlNBSodXkkvZwPYbuLJvBKMuLHIUPGTgPnMpVBdzBa7rTIfo
mePQVUDFouSLoVdkWs4JvKpFzQ3NEN4Y5VgHY33Wu3ca9M1VwmDIASOyh/XWb3Wvir8g9D94FTXi
fHyxEsk/cQUvN4MP1btCWudEI+wIauPyUcwPOKQdElqLk+8VLzCK3ip84DslFxfAzvqt3rbDzoSm
2sOlvVJDJJWDSF+ztjrrBlT6xvKve3K2roGlurWS3pIckb+bPrd240Jt33zMlMlwRloPx0xWL4NQ
1LtRCbajVcTXPXNMmGdjs+OyRH27D3oihAKctOj1dkZI6R88KWOLIrXXESOTI4r38ey3lKomy66v
ffLP/mJEb/42qzANRWiCm6FpK+gNP12HO5IpOev09s0gPsaNg5FRXIovy7JbrqGMgK4sq+SErDcq
We6FE/kATwzFXwUEM26NcHpNh1BskxjgfCQAj3+l6mE6YLLsfRzNFSpmTtzOTyREYgYBhcclzj/j
zXBiI+tJf/EMR9WwSfv9aK0UfwTfn/bjSa6/xkm20xB93oIIyAkQzNozDBKxiXLlfaHm4BrZkl2i
7cVADwh8Wfyc1l2ywjrGXaQNmIbwt/o0FBs8MeoW8wDeUD/Mjz1QrXjO+8zqqr1rI1Vxp+4+pfMF
d22I1nIGQimYsrfBQmlkDF2z9T0aSvF8CntVeOmibjyHhrhupqL6mMP8r1+ocfVCkXvNwYohBms+
rf7P5VvXvJX/e37Ov4/59Rn/s7r7P/d/e8+rv53vNvd/PHL7ll++pW/154N+eXXewY93uPrWfPtl
ZZ01YTPetG/VePtWt0nzLwLefOT/686/vS2vcj8Wb//8+7fvaZitwrqpwtfm7z92zdp807Q5Bf+N
2Jv/wI+983/wz79j78reXpuQ2sXvT3v7Vjf//LtkKv9A2M94yGSAQaT1XNiBF7js0v5hqsKUZc0E
/GbaBuOSLK+aAFaf+g8Z+INmGto8v4Z9/fe/1aSXzrvkf9gWA3UkF8IEF0dt5l+fwA8G4MfX99+Z
gIjTf7kZCt1Cdm0zS9WZO1Es/zxHZUpp2Fxku12VyDuUDb7b+uVJD81wPuf40TTNUyO9I9C6tVCe
OwWj9HXWDmgVqFQ6mUWqZijROums7LHIZ9OUdU8Dg1RdRhDHrnwf2uQECZkYPQluQZ70jhzuExlb
t0maiQtAn2afb7PakXBBYQRhooX8AMaok00Pod1GzqhMFyWQbui7E0Somd/qIX4wbfUmUTQZY1J/
1qWKgKNreS28vlmp0NZhgNLFZFjsVGl66mdnu/ItUjJCifJ4JQ/zCCNy1VC/scfbLrHvq57Z2ZTd
V1PwHqD7MET0QsXqqjaCc18BtmqyQyxzG1emDqFVOjktEEi36KqnCeRx4OW3HSKdOqm2ozysa6y7
K1qeX3QtuG7N+L2rePOGKJ6SPHxndMF9Kedjhv5yYxSE2gvlhNmqdmKf9+yb1ZOer0n32WipSnkF
1z8mtcau1kzdt5Ygr9COnpIOkQdGVxA5tUzX87uGG6iqLIhZfGyE7kWOxlMiT4BXtr2136Qaml3c
bMZI7oXEnZiWsaPHO0sn7xt9uSuXvIdkpkWgwN3Jerby1d4ZAsKDCtna64Px1TObV6/ieWSOFU4S
IRPs0yMmCzTgoEZmtw5nilRjVp++0hpZAaAtNnEwg64GGq6lEcL0128YdE98nepufuFI98BPzN+2
V0vf9eKRPlHtFInWrMvBeoxalfyeaLCI+Elu8KgdRDl0bhpBNe3nGMhM7EVfrvpucGq9Tp2w7i/I
okoEw9m6pZW+0gqDL37yH+Ka0Z5nttaKbut7rVExBGK1y5FPEPpGVlXhbxurFg5iD2YnufkI+7U7
2on/6iWknzeVfR+ZYMdD/+zj9agJIjKDtndqOYrcII0AODM4oF49Xkud8qpWryjipFu19lZKYgeO
z6hzpQWr0iZlRXgHnSyVTWWS6mYPB8ZfmqPVvNdemHtSvPcB0+7lx+LZ9uDKiDanUtHdSX4vzE5e
KaN2k3b8ZirZRlPsP4ZTcqGxpcYKH5AsbrqwUtEk+zcldZZNTM1kpc83yTLj3yw2tLkDd5wF1mry
OnSeWxQZnYtMvbWbpnL8W7lvSYW3TVIlUwxWZUIKlP1GKBfiqttC1daQtraowd8NzxicSZ1/eGW8
T8BlIZcXl2GM3wc71hz4RpZTqfmj6PE35A7KWn4J8qNi5AfO0cHpFClbwfLVe04Rs8uBLaV8V35W
5c7U+yQV1taqyY2O07SGsFVX0BYMEm72KYGxTpfwE5P40bmWvAVqBRiP0yHU7ikV0tqgmEGj/DDF
L3Hpb2IkCmrJZ93yLmSFELRKWbX9Rp/Ce+JgNwrhRDQWwEhA9iVdjWFrkBKdmKf7Uh8IaUq9Y6OZ
MZIS9pP/9qIpJj2CAW9pX3pPWRWMu5avkGnzvYqNyaV/vWZPhhcCezOY5XiVGFxPtcyj8R5gXAZv
Rzu8fjJj/q5hovTkWrsNaiQoXD1jw4zcvrgGGswXW1vKhtEnkOM4fZG4kCFTKvdpwYUlM1PbzQM3
UWsB1aeUHVUmlEgOjE1F+HZLR91l2oVfgYGUS6kOwV01dq6tzr/ZtiidMTQvQ8TFMq+qb2puv6tD
ErsSPeo6wIvllSMKEpIzcl06WrU0bBtfu46D6VAFmrpGoEO9IfhS11yOaKGq7thrp7CnFZa1eb0q
4YY7GNs3yIcybgbxWeODcERqnX0imEOU8Hao3SEVWQ8NrVELfRH0aZjlUfyuUQNzAykju4MENPjq
yGF1UbuZb7S0qDNa2aP1ILeUyS0lcPHtlGc5BZWVt1A15ZQ2jW3mXN7SXjim36594r23PcJldwBw
3SkUV0kcyd1et6+pVW507UpK+SpITzqpdJYR7oBcVeIV5ZfvbZbcaT3fViye+oas8MmMp01eVPa2
HIuXguo/ulLsc9x8XUML+Okl1uhIqu+ihquXa4lfqzdjFUcr325uzSS4k6v2+4BCtCIV1rGahouF
4V+b8fflLB9szHNQPyLoII2x7XU6/mk9kpFl5v+XvfNabxtZ1/St7BtAPwhVCKcAGERSyUq2T/DI
lo2cM65+XtDdqy3ZY82a431CgSBF5Ko/fOE6BhdG1MpwixbKRW3Yk3uesIgnY29R2NFSaQNvaGva
kg7iaomMvxi05acZ27u++B6JfEcv8xPI79rVtOxFVXgW4Zs5Xqjnu1zochMP4iKALE1srkg3U+m+
JQ4pVBvs5CR3NaP9HPQXSgikJ9DNq2W0LsdRpVaJaRrC5LpXR8Gmj4FpWfQIsJL6hm3fow2p3I2y
+XYxUF5civpT3CP/VIVMRoqWMpRPGpQTk2d5GRqI0iK7UlqH4yps4oskf1bH9Kmp1IOGuGU8MU+m
PGyq+g1oMkjMYPqM/yJGLCILPTN8Bv48eEN1kuMnGLCZ3zQSOXqtBi2OzaY3YsiOgYN54fT8t9V1
xRahon2YU6tuELBQiN89K0RipK8YfEZLuW8HtIMamyJs0Ou3Q994dT9NONswQJrTql/TMhOrGCt4
2XCsp8CtEYunP8xBjD3lvSQaw90sLDfTcMDiumZqt82tjKRknQ55eAy3JOLI1ugLyrM7KdpuiBkQ
AbLeL1ihTOmSHqayp5WN/kEjxa2qpH6sYehAGX9xI+NSduUavxE2KLK6U0aOJXIuDfDwjG6ZihC1
WpxabROWSnS1hi5xpV9aCOC5lq5dYRr68XznOEZZcgcAclRooKApuLEmpXR7pjhEezHKwxAOt3Wl
vUb6+SlOEAiHNeCGV45lYF8g8KRCGLpD4CC40Zcxwt/A4vpTCk5Q+N6UgPybuPhmj1qNIqdZbWs1
eO56SdV5iDZRHyQuloy19ZiTSG9ShTDLTLcUz104jrgKV0Oy7VAn4ZQXe900u2NHYvbjpZ7L7ojb
W+vKuSkImTZkVs7B0Nqd3VXangj8U1STaacINayGBWtwPB6axtGA6mZPmTr5kdKuv/ZBRtZzaEmk
76tKX7WGadGGLS8/3uMDnvnFkJBcoiV1iMrsOkkETgKGeoe0XXuoZqM9aEXegp3ZktgnGySzEP4R
TX+QVMUOVZz0h/Pb80u/fhBs57DtD6b4Mmppd7BoNh2gCUEPnMfFQ202OoItuhZQTLcplAc8GxuH
8rYGzMVAfkhv7C2WvDCm9T3ojM3UiitojNpOJZUEDISGpxA1BBdQEA4E6mLXis7I6CmyL7Twu8OU
Zw+ycbAIOX+AO4jwurjBUaAOu8PSafjmwZTCgpHrGYY8SRCEYkpKNij7Y1RczWmnbgodGRITgyka
NR1lm6j3miyoCdrb8BR02UkpdXVnRIZ5sJH+PzjC2EQguvYmatlNUWBN+c3EE+2uXQwCMGf4WsLX
P0UWUg5IFkXmVVUbqYvPpjywlQcUVytEBA4G8iGgR9GBRgx6UzfcMHarToduCBTNOy+mlk6IY2bf
z+/iKkuJ+K3F1ZbkLsnNEbuLZjqclzKEWgq0mUHM01umYwfUyvqE+07v16vXDXLxHy3k6balrhmH
MUqNg6kaKI79+16fQiymi+gl72b9oMZQEt0fi4Km9WylxI4B21GaSj9oCpBP4BsOSOs29glzUsY7
e6E/pJ+gliggRQTebrLAxI93OmJ/GNeEZuFN9lD5AxWq4/kFMaq/l1Y/F7yqAgzbOmtDooLfcd6N
x87pNFpUyBKplgm0Wx3IDaE6g4GIx5MZRJZr6BIcfwP6eFElPTxHHmsEqH8sBaKxfNEBYzmvO3+l
B8FbtAu4qURszmuozcujWcB3AD80ISWsXiJCjSBIMnyr2FlY6s0nnKkL35aqeTUGAc0ryErHsR7N
y1lRTslCFA7X7w5HMeWqy+WxGKnc4zKaHWur18A1Izmml2a4O7+VFGHx9Ks21khsVo2qfp/FiXbC
VBPwx0BrbUZreZshYe2DtB4/V0u4syYrvU2lnnpNOn3Keyt/rHpHbhCOwVykkITnJi4EPWc7ssz7
n+oLf6fvP0v4v2m8yzVbXymthmlys9j0vl+3KjJH0RdRNj3aj22xw5xmzVXxzbN9o7Dv+4aoxsBw
lIZ26YqY2ev/Z/tCo3Zu2kg3qm8a/84s9Nnpqn6PU8KDXGAqWwSTJHtGnL4Q7OtYTrq9Se9QW97p
Lq3Vv391Ev4+dCqEpi7oGtGXfn3oBP8KHcii32czeeKaMLa9cw+DE4N5MXsg7vYqONkfDcS/q0uv
Kib/qW39b/2rm9f6l0Pt5Kf745f61z81s/8pv/+PB6Mv/xI//1wI+/H//xTCzL+4apCagSSudTCd
QtQ/hTDrL4QXbceCokwhHDGM/xTCDPsvB+seKl6QuW1hmXz0dyGMj2yVJ4APEc/Qmb7/m0LYuvlX
txc0LAQYDCwphKRStx75z74DMwrFWjRP6h4vTRet4zz8LpdjH4ZblVqCllO1EgmqsjYwiG+yjdx2
uOvVCJmQF51SVqsGm5gHIMyT/ThSmd+r8TWcEU3Ubhff/HSafzMMoHr5m71lEECKgtOjO9qbUnkp
TRPdy5C9nYh1I4LfNq9uVAusYiA+zk51aikoh1ifSWuv5OoHBIzcarma7WFfK90Xnex/EEz8KKeH
Y7oRWXAZgzcZDfNiphA0ksfE0AZ6ML7OtWV8a6uZ0g1OagF6mFc12o5pEHiU+G7WnwPQ6wXrOr6R
wgcTdfl1/Q5ZFMq/ib9urpTOfnQCDxIDP21vO/pdlXGyh/68av3K+pOQygh/hWtXI0DZcTtKbPjs
fqNWXwW//s9O1ZSl1n1ad/C8wzUsNFVuQC1763difi4kRw1G00df0m9LhWyncQH2YUuruDXL7Rh4
JH1Q/tNtG6ab2Fav1+9EublpSGIi/pWPsZ9wQyS16vWrIesSstmaaai7Fnir6Rg51cBr64aOHP8t
Ymev5sFnaMGEFfxGXOIAHVWA3EJwJ2Q+gm7GTHUCQercuVx/Tk+O/dDuhQFribdpPN7WfJsAOEVE
jsvRqd91m0rMimQU17I9inLb8h8ptL+AbZz3i43XmrX951DX7ZGYuzRbdh02ccWwXz+iGnn+O+2l
+gXnRkogyNitB8DvoKjtYlm0W0/Peuzrxs/r0caui3S7Lq+nMFiX+QwperTq/SS9h33mzUbxKFS6
H03U4tNEEqOH6i43ULcUPBrMxXgpo6x6kyDbBL1RxRhT7Q4xAbuJ7vj6dv1yq000eWz8r/F4UjK3
phskkmHbJ7nX98VxXR8AWh4GZJ6XzzHbWH+3TYdtnNI44ufWn9BZdsCGFpjirXtl0lj5519tOPo1
5I50JNaOhRuwvH5Wrz+7qQRHxq+lIu7gaXV3ajYAh9a8dQ/Wfxuzrems7NcNFN/9gJLugAaKmwzl
c55oroOJlTAtL6db1VUnPcQRg2Lf8zDlXtOnHyYluHdCwtfMqD6nLfxETL+c2biBzf04Vmbix5Ia
ji13YWsdW6Sm64amUIjydZJSaNRpwEOkL+weXE69G4HSuBTW7tPiI+Y7qOzhDUt6R5VhVsevhQj9
HBIhuFAeGEWLbiiab9oh5D7rN4CabjP0yyqz3fTlwhk0rhnE/nceXTtQ/299JFRT1kDt/95IAo3d
xC+v5s6//+fvydNW/1KZAMkIAF6aP02dtvUXs6m54nBXxoOxtnf+7iEZ2l+0lmxmR101VSQqaS/9
PXXq4i9U3JmLz+A+3XTkfzV10ox6PXWahoS5qUlpcGfTvn09dYaojCx2VfZ7iUuGj0kSIPGkTI5t
VV8jYq6hfxhFuzhHmCwOVJ4iHREbHEr8pLoR1RId9b6/UjrMlW2EVDwLza2T7BgoM8DFCFW0F502
XLaytvewVuodVMT3AtvXECBgHvS/1uacrtIhQ23/zXxa1+HiIE3X7dCKhovcUyRXcp2CX0/Cq+uD
t9Q66sTWiwVe978Mqn9sHEMGVQXPwSV5s3FE7gYNNiPY/zra2hhv1BnSXA3Ccj/8EILwulo1HVM4
8gEgqfcwcmto81Nkfd4+l83BF4J7TLw19Fk0CGXMoR1qfO2NIWC+aKM2ei2STLkVYgCR4r40Mlrn
7caWMFR/utd/E81ob+6fH9vn6AW3NxB8+83x09Du00xy8uE0wBdqhg8hHlwApRELUAWgBMPosI+0
468NGas3zqvMHaU9age5ASCuQqbiz7v0+z2i/Lo+XBrWsa/v6I6CVIC8GLQc4IqulsAdLojkTn/e
ivYmiuPAJY4lukVkCycAqZ7Xm2lD22iHOuh306KBjEUNYYN0ZfJYoXCZml14UMMiuFpaimz6oO37
URlvrKaZvMxa1U4NEe2yyTSPSQw49s/7tp7z1/eE1Im4V/Syzi25NqB/DodlPehGpHX9DndgK6Cc
aSrRV6gALuCm+1ioqgcDpnrnTvj1tAOSBnxGsqchWGS+icGDiJKkbZT9LqE77qH0n3mV6pSbPx/a
7866TtAMHFR1CPbXz3+Ss1LtVk+0NOXQQpqJQNSxAigppmaGVr9zH/3uLP68qTcX2IQFVocy63f2
TL+nzwY/7JOXKoHACRq0dWeighhczZ8P8A1+ex3NpG5bpEXI5iA18XZAnqOUqt7IA61bag9ysSv2
Tq4e4Vfk26XSsa5GeCCZEb6vUHe3RLKZ62HP0ODQtEVkd8iksRkTZH5HU9+niNiw3/p2MBl3oZKN
7jylp1pOqjv0Do6gSvy9CTGhVgId9g9NWaQVv7f0ffdzeoOdygypFPFfbdbjk+1mYXcLm+uzqGW8
f+fI1xP65rY18MsAb4HyFUSZN7et3YamXnarsrbe4bo0xbcI4htuhJmmr0TDbbfGeCOKadbg3AMW
A5Qu5puxAMM8AVun/HaXtV1N2Algq7c0t7LL0TfmpPXDmJAMLp6rD4Pqts2CdLUssc1Y9hX1orqm
D7voxokEM7mc2q9xXiheaI/qPvhI5R6aXtKfFD15B7qpab/OXRKbvDNYRJcMWG+OOXEyM11k1uHi
Y+UQ+5F9rUEUw4ggw3lYkjKl+ogB+ijltC8QwnUV+X122iu1i7fVkiinsHwpUv6q6ic9Nku/qbRP
UbBom9hAmsaR2tYEy+oZnbkFamzdO+j7OuqXRLGjh3zCH2K0mCeVGq0tndGsG/LZEwGuR2qXH3MH
HcJe4TOR5LfTYN86yF13PdRXcAeocmO7Yl3qnQppRHpiOmJP4XhGZOlQ5usDRiC3sHkeaL+nE62G
Ev8YvxR3pPMPtszuGrQo946p0C0tepT27ADYziFLC0iwQrG2i1UZfqnjy9aL+JEWua1VdNRoydjh
g5HEIDOG68YExRBTxrLn8etc6ZWn4MMHKajOOXeoOKVYjd5YkNByZY+s5L3AmMIbFSQYx/iYtohV
TNVDHVMbngWtmnLIDkKtOzdZkJmdZaMDqFA+aKUFfM35GjXya2k1N1LcmyUog7yWn3XNvBeL+Gjl
SPopznSRQwwHo2CYwAz5EUQ5HswQckQim5gqLx0xxisoPg1gxGh+5676deCyGUag1kiBlwno/9dj
JCRi2Uvyil0vUBLJp509pPA24uk+mBoQGBGtvKwo3hn/f7tVyawr1bWi47zZqtNwdzhLyrSrPrbG
eNuX2fceIA6Geg+NSJ9Sx/z45wHjbUGVodKWwLws8IaOY4q38KcWs/QCzVViLzF0boHwxDwld43S
tZvmWVrDsnHUo9qRheJ99U4Z59cH15a2vobniIeuIouvT3LYSzRuh5LDtcqPVaNvkfNXLsSSKiiM
0wHo9pbyooy0Ad45aOOXUZINC8hJ0P9WFZ835xmuBRJeI+dZ9NaVwxOG41I+oMQ/T8hlxM+5qZue
HDoSVGRVWgZP1yiyZ3N4TCQp5zt78+usz97YGq6fEqsrpq7XpwFczKKZFYYe00QUpK7DBkJYG5x9
Yje3Z57MsdWuWvo5FHrLa4pEfpbB68qj8b6Evr6TdCz/vE/67y4N8fDKt5SGRkny9T7VdQkIZEDp
RaeW6aERs6lMoW2HeHiswvn70I6m29YoPVOuDpn3sqfcKDF8D9RTm2mf0kkL3T39skNEa9RNUQmn
a12Biep0v1NDbND0yy5WAdQk2oCzJMWWABWJFXgmgmkD2T945zSfw5rXUyMSCWAJyQgNlKvfxrSh
QAoqiADKWmJxdoVP/e1Ks4J8Uww9kzLgCpjmce0N6CmgvjKl+6WleJnJ9cHPydZa1XzWF0IXSEBI
jrT+WFWdbzqts1lwvoZ/lW1VwOl+imH9RY9sj6qX1iY0o8WfxMwQ5pwc2r17WXLAobgIDabVKctQ
aQFMgkr1O9GXeA30X+MgDtnRqJLSNmE4Wz//KdILtMbJZ3tsAde2HhD/fWRlyMYp8x741GlAUjGU
EKSiUcEqGGMdjF+/J/FKRCbgH3qh7AnPKZkEk+mTAI4u5wYD2WHWsd4oP+ZT3SOhTzKLptq2y74o
9viAx599yAqNagpyvHNqGn5egVDRJR06qVeGZw7pwQ4xwK7wGEBcZX5eWhzVMui9Xha0hq+r7d1Y
mi9/vqfPUd8vN8BPZ+PNcwZvbkSRdW53ITKE3pxhBaMvWrPC//G6Awy1YVxYqdUwd7UhWbFAumdZ
6OQk3fWf90X+bqQnAGeSZhTC3+7N0GfDJkPppm93zqqFO0KSPAo9fcKweGPW2nyK5WB5VdwjfhaG
DAiZdp1PZXptOdWFA30IV8rmhNoMp7RyOlLV+Wg5K0hrUZZVH8lwE/xCJpF+kTo/Etflc6dB3XZC
PB2D2rR9TsY9P3vf4A/nL1aQefj5FRDz0mKT2/H3rOhm1Iv1a5wvArgD5sccLWUXYb4ZQGEw7UAz
Er+rF5HOEGUbdu5L1YYy5vRUqdUnFBSfNat8MPuEub1aPR/rpx6Cm4Hy2CmuqRA24Yu9Wji/c25/
HdxNFQgo9BFpqpQ0Xt/0a2aQBgnDqS3S5zCAcqkg6gW5jpj+z1v6zSAJV0gKh0SZX32L18cXwQSW
B2ACFdvvSVV7uVXtGTrxjovoFODRXuQAC0Uh7v+84d+EvNTCwD6joEcdla7z62PEYhhp1UAyPGOB
0Q8QOhEqERdp137VDcCHix34lo7jgVmkpitDNd7kUF3cgLjeS7EDqyz7Rcg+3i3VZHoz1oWbMt4G
JlSAP+/qb250U4WyD8qa4ILE9vWedmFcY+mrtrsiCh1QgceyTZ4HNbuZFOnlcfy9tcr3ilnnoOXN
k07FT0dPGJ1BCfHo9UadAR5aHPN0aUN/BdbIZ+z3AZf6i2mdQhtirG621Raz9D1Vhg96YF/oLYjP
EYSGa5RQkIym86OoG7ZNQKC5xPN9rAEEUN4LgX7N17iQkqkTeLwlfkGfx32HDcXAmIQUZOerlWUy
DloRAGIE6GSUfP/z1fjtHbu2H+mYSZVK3+sTYzoJ9iX91O6M4nLs9EsBA8/XC/OKwRlNV+5fD7Pl
zFfeu2EtfvjtFQGtAJ5svSAoUr/ecIKxbqmJqt3lS/c0zuJWs8gOQU6kHl6o16QrnhaSf6ZTpABM
60DMyBZeC0ptYxDm0FBa0zPUYasCrF8Ws3pnqvxNKQrpeovkUeVhhmD25pYZIR0uUZvyRCnimVFl
IJHpEkwW20vyxm/QeFGUE/bW1MnXrPmuoqkQiAXsREPPkVHsuzFzCv98ucTvrhcRMlfKsEwbCv3r
09aFQ6AbhQqevg+TrZrP0YUCzDtrl8SfZoLXtnMcL6EDtA0HNfQJHC8qlMpp1Nj5zZzvCl3Gd8Y0
fevB1d31IKCjoG2vwuLoKMZyrO3oamGkOSEt2vtmIItdTKB5VTAvOIl22dkaMEIHbNxSMU0UAyFc
rM4moCBcL9r6sqjIEOKJCs9F2yEcPMmPS5+VF8rqn6fX4ctSx5t0gHY1rnJjmca0ZjRLdSorv62J
Af58wn5zvuCGmCaDsUUsfWZD/xTwRIodzyjp1zvEK1HRiJNNLxYUfos+8qCj3sdRf4ss2PdkfLeI
/ZtYC5oL/F/Vgrn1i6swuBnK/Y1Vg3LM0MlVe7GPlSAAo4JzBS4v2sXYNIdhyMdDFlDfNIxaHiJ6
Xv/1GSCXkmAI1m7ELzNDBTK6q2xR79J4vm4ERtl1qqqbeCywKIq058kuADCWxQnxp/ad2/V3ySQb
p5pLErNqKLx5yvUFoiW4y3rXWcj49WG00+3yS1KFIYIT+KfEioMz1oJK9hBuEWyM3nmKfzPKOCol
PwFKRhN4h75+XIiUis7BHmWX9UsObRzLMi+x2xYX61z3G/XdIyYV+k0uSUypOmhwWHi2vs0l8Ysq
+3DR2OaQO19K/QxQ78ybiaLNNu6aO/TnM1+baudekbbKbRi8gGuNjviL1bsQ4aSbRHkuEjXa9PmM
hXgcR16K9N1Nr3dgUGvhom6ieB0yQX5mGcqDHWDfNTd4cqptelLSyQJm3q0IjOpOj7Kndh5mz2qb
5LmbnC1SQrBFMvAbhlFKZkAYjKKY4ge0pMZNjBTHPtcn4wk3ny+DGckNkDEcocmJ0FZcf0howTOS
AbtkJayr6geqOco9UgzUZkb5GDtpckH5K7gMYgzQS+DwN0jGNLeLHsCSGI1bGhv1Qwdo3UYDchrM
J9t47Bct+TZQ12/Q+Wv6+B7RL/O2RAt/JRpBLsoLcm47CpwPieXMbhjOx6iPb5YFN6K20GJAD4bz
MWiTYmdYJSUiXYjrwskeiWTQAkrC5WrSIZpWPWJBnfOZJCjF5nRKTvYCCYcZsnhE2u9ebUI4SuPi
bB2tmz+hY0f03E3PopQZY4ee+t2CjkyqZqM3z315l8TWVz2qlq9qqt1C/vrU5bGyLXSBjJrVxzSm
u5dqbkcPNgwyg3Ze9pu8QjkiFNlwAApBBoZfYuPHaTMDC80nEzA5uL0MCOwCav5Ey+2pU5J+p63v
zqssxFm8BY13H0fh+IqZPb7qkAs/zJRJzqs0u5KHDiWnbIUkJutLqQq8vNal8zrMt/x2aIIdKMlt
khryROnRPJ2X/n0Z85D2P243ri2rfAsJgmkPARZgiHOM5vlErTOc600YpCWEXBW0s6N0JfDCBrHA
kuxlCQA0hCPA3HUJaVdsTzMd3tMQLtdK2SzXaBvgkobL3rqGzt98HSM1sLcXDE0a89QVAUzO/7zU
Re/FxCpXVt5GvkTPFXocyXk7FxMxbiUephRER2fl4ADwqe7GAFOElJTq4Az148wV2EYW3s5ojwR3
wi63GrTpJyUqy5XR7BoKYbJaVcoHUM/Kh6msb4cM5zGUXJQbraF27MTdDuNWw5ehDO7DKK1RNAFo
d36bE+JfzuCb+3a6aAbkt1wAkuMNYUIzzpnidknc37Spb6mYorZRgLiFI1dcSoa/aR14Wm1izqWa
yS2qK8ktBaZhM83x4i8ztJ7KHCKY0vGA01yVeLBtnMdsxuINqT1r0xV68GgmrYJgeAczAWWc1pyW
x1kg5JHgIHlZKMHyCBAECXLNuc3VpnnMP2frStFG2cXUFzwMlbWrSV/wz3LmOxMp5MbS6od6bmq/
TcOCGrmRbMwSxbCZlPjabGPj+rxE6DqSa7gWdjpbbeyIkfC0bE4YvVpbq04/n0HHlt2ZB/xhkFQr
QRN1QYljE/R82mvNDpqyj6OO9bDWKIGsYKYYyXDYntUz1Bw1HQWFUcS2N+i2ZDtnCJyHISpM+Iu2
tTNSNjzEKJFN2lhdYiKzHCd0XFr9qDVjGtI9D267Yeg/h5P4OPTjEV5EcW2OOnL7LfdJCcPdhznZ
XbYjiFGU4F4iVDRdXYSSGoRab8tQ5psBADwZdZffoRRxO9uT+SlP7AIQCZwxZVLaj3J6hK+agx/G
vr1SKBwXybAL8tr+1EeHGpbpZ/q/03Zqlg4Z1zD9KE0a7et60yDKzapu8YaJYdWwy/bBFMqMiZUO
fwqXuqpZksdijj8zkGSfCyPg6+ldopfNja2l5iNuo0YY549TP/a3hh1fRvNjJWrtHsR7eW3n00PY
N8GDjJf0KumUr+d3mYjjy6LNCjcPSt0fC4WrQe31lkkGVpAZ3IGWDu7mTuDTFC3imNEC9atEb/ZG
0SNxRnFpX+na/OAEJoqecWXQbyvnBzgOUMIs9cs0gvdB/q+96yck9ByBewGgrbtufdEm6gdTaete
GKadVw6SsnPhjIex0OlRrW+Tvkvu4gKNzlH97GAFvKvtydqPpvNxMoqUfM3kWdRT7hFh7dHkir+0
37jQ437ADJrJxxY3gWmRj0u/yVp5RVsuRzUptXd23dGmGJsa8ZjBPEnFrjYSKTN/isP5OrTr+fq8
NEQEMmWaeXJRku08GfTzpja9mfIqujazR6cGIJkP0qE0FupHdTC0YwXoy7Vqa/FNxdQP5oqddGpn
2TtzbqGXqPhpFV1Zs1UeQy2tjqIChAhu2NmNc+L1Kc4ptGjbWz2GK2RMAkEn3a6OuSm4S60luj5P
dphWw79KRhJ9DJiuzi+SvoGWOupObZvwJJwap0FNvxBB8LwgoGBG6HAk9bdSGb6aAR54GXU2DuDo
DMh7ZhEylbbm+KU1bWLRIUWlQlqQhZa4RZkf9HnZI4cVuUi/I/rn7AyjeonT9EOaBlAIM9zUl/ib
Mjc74OsuCiYCQr9gL4j7UGVH98PeL6C33QHBpjZqnzpU7tF9e0mGk2AeJ4Hxpk58gsvzQUVqw6f8
dUs47+MJja5ZiiDhPMgQymgBw1Gc7L570ufuZhnXrnJ1nVnhOuvSWQoESBL4CFb6ZOvBXqDVqevR
TqA7M+kHqEYMa8r3YoivZt1+WTpsKQqjhD8EI6K3ELGFIuhNald5tEJjMHzlsLHwRPUURCxJhpKD
Vi6P/Wze4Ky4QGitLtJmuTCwk0FeSeDpEmfVeDElCHgnk7Y1imXXru5lg76D2+zLjJajNX8j47yt
DPqrs9UIL68EFcgc5+qiJWSVHFZVECvjeoIFPTyD6iFNceozE/khESoUlxb7IQ2taN+Q1GuDXPWx
yPqKHV3txnEeuUvW3RZO8MGcl9pXplnbtQmRiaJihAhQ0hupxtWlfZ0lvb1ZlrHzCie/6NrikBvm
QG9SuY6n6TlezK0sF81Xm5kDMrTPRaVeUSqB/Wbv0NbwLTSnfaddXiI0/2j+6ReQSLAX7miq1Ape
2k0D2WZWahi5auKDCCnBuRo3agMnopWoTQ1aAlfzo97bV3ML8GdA3XOT5hm68ik2cHVUX8EuK7bq
pDVbWlWIbuMCARNav5IKeUTRVMg5D7pznE2GBGF9UzpYHng6fVcKA0ccWcJOWBwkaJZbtXXIkEFC
Y/9pboSuoIBWdOE+DaBdUvhXoaLW4DRjBVU0i6aFuVyistIfpgipTgR1d/VYnnQtfuiWBS+pQh6o
BH7HKBGVtdzFT/mbnSTfjbZELAkSn9sTWcDub7ZpzjUWQ/toDsbnWqsAGDSNKz+I61ihGR06sI7H
cfInFfxprEOYtSsVAAMWwFXSHR1MvtO28qEjZ5c4uGwX3XwGxRG6XS3hT5sShG0/MO1qpq8lo+3W
c3cyEpH5iYo3taYoO2scr5tqMPyYzidMpRFBOOalarAucj1epbUyzNbV5aKt+68FE2BSzfFtNzfX
2E0AiI4jyy/qajqmyIMez0vtSgcMnR6pNqaeqcEkYPVYqiajPMYWaS51RrlqTma2UICCREenqJHC
Va1mAw+4QCOYmrGdFP6Qh83R7sMGlEEbDl4pKcGfV/aJUR+rLjwZE3oh9G7qo6bA5xorFQ1cJ62P
OvkNsPWx0ndQxi6tdYO1wMPpTEnKtUnylNouDhgUxtHg9M77HiHBszWs5CutgRgJyik+muTusLza
fhVI1RmuQgzi8UzGjTcRwPtW2EczLZshthGaSfd62CibFrPoAdPpjRWmtZsPfXns15OQJjQXwMZK
uihKj+OXNe/LWe4imu35pI8XOXQ3mkDrF0gCUbYzsaIwW8VH9WU/V8BGRjSIPcPS2+P5hb7g1mp1
Z9+gPje1eXzRdHg7X9R5VnhZRP+/buziGEsF4dtg3Lbru/MqUvBTXFi4pTaIFZR1gfNCVBztafls
S4IlA58gcDlmtelNs3bLYMHCOFnPct22pa9VqyAVDKWLJeCZR0jhIrGZ+CM1O3Zhkx3TdUkbca+Q
0WrC03+0h6BEKhkPg/NLuVgdxEjtschC0M+NtH4YHPzkdTDKZEOZztrXxRwe5zSFWbsuOdGyV2JU
IYNRbFuhjfsYXyarqTEkG5r6KaraafvjrRI52ZFbqsduQy4gKcjybCARSpxgasbLrMgYd6GnrAzz
H6vtTthuYSaNPy5VVmw7YbTkGsjh5H2vHJo6/aKRmG5oZtgHox8yxvHhykgRK4is9rKOdwid2/TQ
1JGOJ/MaPPjezzpD2WtccdwHELvRyOCgkeEAsmSKD9jevsyoWF1mU4V6laNC71QqnYccj6yyxYkd
uwVEOYMjRb5mk6VN4yGtlpi1upWBJLk27MOM0PXqbG27gt6DUpOrZqn6dUQ2zNNQcAPw7bxgRb2d
7GjaYPXG3dRhEuVo0eK1Sl0coEojVXteXGJRtkce4uJgnteC0YY2McxLcTiv7dd/kLWWbPBFB6Ux
a5tFVaP9eb0RIbhEpMx/qyYEewAn69fPL+efPy+powFN34EXcX77Yzs/Xs//Wipa4eW90ng/Vp6/
VZ1397z4431jAcMfsdX+d9+m886fP/6xJ3LOnvAqs37s0r9fjOALbKZJPJXI6RJzrzucKnLfyolp
Oqy6H+TO81K20jzPXM9/Pziv+/fteQkoR7YFmv9wfnd+GcMGneV//9cKW7mtp+j6vAph8GXT5OWX
titIle2gdHPHEv757b8vS0IiXS41V/u8yJjeH4QzSR/B0UOpEYtHdSs9B1EFvynr0/9h77x25Fa2
LftFvKA3r+l9ZZbK6oWQSiV6Bk0wyODX96DubbQBGo1+b+Aggb03pCNVZgZjzTXnmMo03CseSn/T
zF6/K2Re7afKijfNFIQrc9kFTrmmDN2Vf6fcogUCRvo6q/wvHkTksjmc90WXHp2qnjegAZy71Fa/
K+N6uvohk3jDkruqEGe6nliF2+C8HzFY2cX4TSKYduS0Yn1KBWQOS2Zg25uZv0NGl6cUqYM5+0cV
fHJjSzcdBzl5yDlY9xXdBabL2eMX5Xc/yVvn2fQKWNg+p6zcxGn8LlDsV4ZP3Z4501cS3MHz7sTU
/o7hiwHqJMJBMpvpP5avZc5IN4A7yJUPYlZkx7SjjRNe/o9aYi6q5/bAaHWftbOjPQ2oShLHqxHx
xLEk/YKlXFMAqNcRbj/HjxVp+QnqJEvgTESbjoLytQpobAJv/zv7Mar2kbkxmSnH4f6U3B0x3e1c
/JWut60qMig8P7+VoowolQweIexs1bunfAYjChhyA4wrZNU7IxahsaCIddyQJEOpobaWECG49OZz
Gp4Gs36Oi3bcdwkhLMTI6A4f5Leq83RbhO2fJhleDNlqKmzGZp3V0xnqHXGMHe1SAe/sYksc3A3Z
FErx2mEfiDo6Jx3ehIy7kVWPxmGwv/06tg6pek2xbz0nZLLBacYXA3/K2dJHrQRuJAoYI0KQ2yLK
s3U2iGxjEmwFI5xZPJ5vefNHULW37RmBd5aXgBvwRLmeM0IeylTBPkq6flUV5mppiV5bEDfsviuQ
taziZhhdcujj+RuPY3EL3Eac3C48V2rK8JGp8eFgPIP9+m5QNHEO3IGkbD5w2yFydS2z5uAp1zzq
IiPaVb0Z/BHOHtLHqoF6twGwM21nt3R3gnqYQ283v5hu1YYdjtgnAdzDjN5r+txWtcFavhnobK6n
oNso1psY0ls2ilXAQCiY3ZHAqm2HOsB/yF4YaDQgQyqPwbj051g98DFF3Ey4G2A1oPjYf1WUL68K
QilGicXF3ORDZRxnDPXrbKrdY+XXzaXOGp5EsG0JhyPZxk6/mlEScUWlFGSTXi5nJ9s4edddJPpQ
H+LMcquwW1P+hDt9DD8mi46r8Hchhu6ppag37vL17Nm3IUFh6KFiHwpT3EwL94fyLI7+NJ3WNGxU
Ox/I+h7va7ShCuPnWIK36F3CvGnGfZ+gGZ1NXH+t7N2B7rbL6sHb5ILBKRVcUrukBunQlkCGyx71
gxaSQNCLDqRQ70Uz3D1Yr9uU3yRC5zoOQ79yzX7kU1OGEHKhJpShfStt1sKF6XK1B0m7jgUHc2n+
WjxgjdFxGeGnw1yHol/Of2tWyaDPPw3R/B3GyT0NFtk6bvL+vvKxa1UzaB8vqvga8eujSdpb0j9f
NO7sptprt1y5xSbNouCajtBESidrSYlh5/Q6dtLofhd8TuGmwbDNo9ONd2436UMnxLzPJYDM2B7/
ZJnQD05AjDBqgBPZTsMpK/J2p0dFRHqu/KPBNAd01TpXzO4JfQgU5XABoyDvzQXVs6vItRzpzl06
nozooFV8bod8hIWSpz/k5PyJvatobn3OHsdQVOFxj8hpwLAiCgkcGj487mZdxVd7+RaNTjse28l6
CpKOIS5SFTtKuiIcjS2Ti/K1XV7GdZ7SWfCvfUkGkbs32u7SR01x/c8Xm7NROhHYz5QLFkuIrRmN
rP5WFlrqPmjTi6ixqXgZWBDWgQErQMRBiCreWAznHuP8mYGSyvKQ/UWVxNCLnDpDXOekWm6T9t7r
kmPUoazYWYUfwahJSibjtg6Cg69rY9dl7VHGQ7ea6l+uBYahcejCGMPU3rz1qvZ3JSYspK0YsGdI
KavoEmyunNaGzhGGIoDU5vCLsrz0GMSK34tG3DjqtzxX7C3/dkvHS7NtBjA0tLFnazOQ5TlzCuoZ
0mznZ0n/NVbqyzYnCtq47NRmxhw71Rb3RP0tbOeofWevC+2jhYarqTOaCy7nveIGe7dgrOTMMrCQ
+ETaA7QhnkEfmZ24O4A/77PMr2nMUiOhfGPPLsfg40bQoxrEIUH12uG86vRLH3PKlqkEYeQmn4iN
3prLLd4dm2qPabbZ5kTduS72UWfva2lzRg18MyN+T2fp4Wn58en0iWvquGsGeqH8gD6+qlhCkvkr
kjfho2g31M5TBNQSZ21QIqln5TpoxtuYiJ4bQxRuR1o9NrRB61NUGuvAGKZ72p+lhrBkSwocuQEm
pdE9Oqf5yoqID52riutU9B9Fm2d7jfhCQ6LaeahmW+7JCZFQjHGdbsJdW1jX1GUKEaBkRnrFKOMF
R1FyaG8SajZ2Y6dOKp1sKkmMYe3hfqa7loeLo+hATvDP5VDMmyUSo5rM2upPIh3Vs2KBRCqTXvag
ruu1QPLaCRcDWyh3lwmP+FElxZ/RSpo14Gh3xXeCBU/pUO0TwaYcO85YtK6D1c3xVgYQXlmoHdFl
9NFb4B19F6yVbOKjQcsurqjpt+FFzrmVeXSZoiiBVI040802y7YpEiuoCRLGb2teirJdW5Bb7q3L
DBtr+8mKxBSuDLjs9wfUC1BurFcPCSBZsBkWrFYPAPOB5FZ3d+Jn1TnVj6ZMNmWe2Hc8CvUPvPHF
Lqyl3FjDZzfEzYuX5yDz0wwEb9u+SBgrZ3wm9SqK/9oqrz6yQbWUNRjAGpZ/xBlXbaRvFycHCvIx
LdEY2iDZjdNo/TWy8hw2km6GaaNaL/iodA/wltUghHxmVS2mp5BMHvEGyUyAlOTFeX6w7XbcBNY4
Pzn8mFde7lbHksTmWvMb7SOj3MFC/ulN6ljmoXo0fprc2Jne5NRUL1k5HJCgLOxo5V/pSQVQgnYd
tzL/0jqUY+K/tPS15WV/LXJiWrLEWpnWESwSGCzeAIErz6ajafUD3y6T+IYBKCNnmTXigNlXmHrY
bXHt1K1ZckaOLEkYXujMyQ7/IHkx1xSPD+7JtL8y0teeVvCyysTaulnMgBvLn7YjaOSoxM2zkAvj
Sk5H6n+PIL52U0ZYqdDzzmhS/65yb+9qguUsbQ9Kjs+e68mbzjuTJ4ildo3QNrl5nq4xrDS8e+ke
8ER0KVvusGP90dkpYV7ES1yV0aFq7N+BNJ1jlDvXyVnQE5Oz9ceh25t6UKeSfRPwPKgeQ+heqin5
JlqHIBoE47bIZx9Qx7gvTeEfZZrVu6SU1HSCJ4bj5PLAjXWJnjC5B4daGxWnK/Yo+ZPi1LUyy3tk
meetzLgKVlWTuzu7RhExWIFhNNFbP3OdtTn2w2GGYEMlLrebtLQ3ZVhiq+KkGDt/5yBVbTz6O45d
4VEpHeu3tLW8s0NiAQLyAl+aqmhXhx0U5z5rflhlte19JGWBu2Xf+FVONV+UrRL8jk8R8vjKbnu9
CVi8WWZ/5ESasH74CuFDpdSegyjAVt170TdtreqoHJTh3vFWUmdc+kYqwKjp4PFC/ecuCXmMmpVL
1ZIL4JZehF01AI9b5s/zzDiL3RUu0ORlP20k1qMbRj+TMVbXzttaaZ7ek4mwSDmAImTRXnG5CFBU
GqY7JlpwXZi1namtL6MG/GIz+OV0lgSp1+2dLNtjwsRx7k/HuABX2NIZsRvrCApicc/zNqD42F9j
PplezR6QWGe8WxNbmaB75LqNd4YzfWnuipdaMHgirl3CPJ630LDFnjcmPnTueyy8eEs62vjpj3/i
oPbfrfyr0VVMleCk/3WuUaQzs4dLYh7qRXpNaxIwllu/VvXUX2NKDZ7V+NIUNgEIbAnXNA+LWyU5
SZDy9wWGk0eVDshDZeZT+3nzQma5hEYmVuFJz822l4+YG8xfXXbBzQCPZikP86rv4BoNDT6/DfKC
8sDHBHSXwVPnpadQAjokJDSujdEtMh+svS50hhySThSHbp5fmlTmF1YU+rlz5zW97Mwa/9LqnvvR
9nP4+PeCbHfIC/u7EQ7LO7MMMKEuoNdeEwZK9Msc59OV54F6dhWFfXb6c0QmRrVWbGjgX4Fwjfrr
PMQVc4HRbXAD8WN16oegUHNND9CINDywY59LB2II3mcwDuGRG0ODKhd3UL42g7eL8C5u3drR28Cn
lG4AmHlx0n4ri3A+1wjF28w2oaPSRXo2DcU6x2Pd3Hrp3tLx+CjwjYwsKVtgoBeyo9MpSjBvZ834
nbUQQJ1pdrfgFaaTx8AqsqzfqLQlVlsl8B1TO9lZMOdG61yUSfOjhp/d4pYitHTRJfkPp053ndfQ
KJSBdZ/jNFpLI04uWVgDOHQywJXtooBqaH7NB8t3ThEXrOaU5zQ2Ay9+coSWdNX7+c4u4wFabt6t
gYe7F8v7jRfVOHppE+4nKzvhN+jO/16MbozWzcQPpoG4/qio1IOVYr0ovvGnXPXwngdTnXQWflLB
8m0Q3ryXjoNVsm6OmKnESsfOyJWxbrZzUVUbgIvDRnQLzh+M2bGSyQShvYVgNA/twWvGDPkf5U7r
Ce01XXb8sNc8bydzighoL2y2bRZ+zP18LQEDrKBrdecpyBqWIvUHwVjJRyLKtqlh/dauyf1Xl+NJ
MhPvcysEFO9XD3seululsukJVv1Za8ve6MrxdjWnEGWMBZxFH5Sf1abvmm5PDsmy3zoGBr44zLkK
5eC7GxSJJy/5Fdl/20A575EY8fX55acwyIdO7pR/oqs3oMrX7ej6RwZrn9ObwN+YOjDsHYob02p8
qWgbu4LEnL0q2w++9Fch5+iRCAzqwJ7O4uxAxv6lBvi5oTSExu0AWJ4nQx8mghyOeQH2VEZme6Pn
qQq+wwEGVNrGNHB6+sX1K/c4yGEVmj1mhYWAWtXgkxspmTtCfAIDhjesNhLqmOEnrGvnP76LC1ew
HGd6bATPOGAOwpCUrINMW8hOMhHNLs7LjsBCgGWdqaiQBaYcTHjoWjPgtBpUmtMNNf211q823vaW
zU2fQgFXNtG+bIBuxJE4NK4WGA2AqzX4TPdlPB8oc2w2U4PpnWbRMUzYfjZ73xXu39E8kh+B5mKu
vDhz7rSuqlPcGgdhltuiRLiyJ/QfPx6uXWV8TtX0ldhoIdUAoqKe9QRqxrWOwtBPs6KOvDGK7mIJ
eg9wU1UsNFmitpa1qx072/K8X7669Rp4TLdzpo9c0Kuc0+UtK857lz4dv2151AfJyo3y5uBwncr0
uBVjPR2kY408RG0sl0gy3CXw1zX0UAm2uZXIw1WRpx/tYKDUovEzpOLnaTSj3BTeym7Wp8Ys9kWs
6fbydpbV4x2HErYJasQv24skOKDMph6gdvZxtxDHeEadhCf/oIeb+9BpAZ046bgdWbLRivmLNZlP
w7KDrEWteM0taJvYqbPKfPNcecAoJ9Bgzy3ikp7Y1w6kF84GbH3GPPncFimUgSLBDjEY7g9Z/6LQ
pjxhg4XzWWlrwch4h2GZ6w2ENQWU7KCJ966NjNSChxRO5jZHRm+5OVbBe2pQCw4YqN63Zjpt2mYu
MDtQc8RpeObNmsg1dMwmZus8KboUiN+VK7aqI3dZTOId8RoqCmaXftPeubi4co7VWN2jQIpLXeco
P33X3YKAO6dPuxuHMMWycRE9lRk6SIa2luWtt5p6+cINquPD6mCWSfsjFY75xiXLz/IzgUndRfvZ
rLBTTKuwFcEG2moHd3J+sdiULYpUcLLsstq4g9DM1PzgxkYz/vtGjORpvbTFLE+ccCdX+wWhm/HX
MNqQC3NhrHsHeS/dunGUbu2W61sirN9pKUu2HPWfnqF9PzV1vKa/ri769ILFLtwFXv5npH4Mg0xS
HnIi9144ig0kJsiWYfzbtmnByP/ptgjZ2mZPRu2Zcxn4VEeG6R+tpch1iti/VKLs14lsjHPv5Vxk
iRaCcqldztnqmz0vQ1bF9SWec57bCrEoNHKEhWa6OvInGsYaJmbxHoxHLbvgVFjSWltezrsTtmxF
AXZvCfCfotn51QW5ucvMFPpn40uM/FD7qHU8tnU+MKBzlHCPfNTxXyvoxMN0PY0bIuy2NRXXez/h
mxmAWkZzjBioMahGxEYSZ3mwVhQolOOnLDvaOKDzNzUA3K5tLiXJgnXuCzaEM/Nw2GPDGmHXJIL7
QFYiBunC/YotJBq3kLzLI1DeYFQrn0rUVaEi5+SFxm+KiV9NMq07JMcF7arD8+Tw13On0Cc/0ko4
6m63SVg5PkU6PQBdrpaAbbJx6WjdByxbaL88JVUoaG20xBFYcgnE1iO07n6a2ghBrcKvtbIxg8Z8
E4gsIP+KyTAeieXBlLAhUxk2zcVjSWNvAOmTYJ/YN7PprwXrp8mlkdh12gYXScO578ro/O+lHL0/
FDRJtL+spStMZkf2Rfc4bNxL2jm/3VCZX2XnPrzYTG+pbsOdlWbXQEEeajNlbZGE1K6OmX9InPEG
93HJrOnDDyuz9zwSsHMHsPiIYHmzrMdk8iKxs3JhKvOTXcOiLvrylJhJd6QQ7eHUwbS3Ww6tuWhZ
7615ZKQUdZb4PL4k17WhC2mF6bicj0BYp8KliDGC36y185oH9aEaenjPffHSIAntWZfh8FBOe6uG
7oVLlT5OJpCvuS7f4Psjr0jnqCL65gmCb2OaYHnmpKBxs9EF8Y5gSl3LnfUM1d7STk+ducDD6Trf
Ga1HwLwvGAVmUhhWkp9agAYXOJ27xci+rackfPSpgGw7NeZO6+hngHENvmJCcHwie0B0i4JWIQ+t
LZzzpBNvFTGLyRz5jQZpG6FhtHb0ywN9FyZdPhbPwaDZVwm7GF0Y4GMZdK9+VOx7ETHqkC/nPY6f
b2Vc+rs8Guyt2/It7xsbhSat42tlTgdzouGx5C59VCUpc7/p8TvZ5S2FPn6YErisHnO5kT9rEdT4
bXR6i4gMpjRQ7uzEKvcVe0pWUFN/nBuXUdm45mB91/Dp8o1jzc1R1nLcAeS3NiEwXOIgCknT/yj5
rtwrS4Mx6+mkwUH1VDXGrdKdOkK+7W9RkoA+aNLyOvK9TKEln7wKRi+cYUAIeOHS4pZKd1j3pZdR
6d7w9ihp77u65LSqzXz97+APFdNkYAD8FNK2jzw7bpnmqmi2zV0k+ZNjI/rOrtqURq7OvJmgrvhc
0rrZmIemGGgbR+Xp2s7/EfssJ9LO/kFjSr2JR8xHiiYfzAPW7zpv6nsW9FslWvczRGhZEwXij0S+
Y1u3lfNmqoNU37KR7kvrmPIe5vKl7vFPMQ+DSXOS8s0r02/h++pbCPQ9T0erucMP6xmMwtmsL8rw
nWNPD+w1tN39HE10E8+UBPegGKB3ifQ0ODRHRIMObkBvk12ciGo9qWGTWG15NFilx5n90mfRc1rN
fIhMpnMtnGZNQFpjWaycm+x4flAI7D2pBcyeAiIQSHlP7fKizaokLdtNd3cCuGxSYPY64xpfpeMb
OblomXHBaozlXTfOdOin5m/VFLTe5EFLQ5CJocjV032MrOTWmWbFuuG5jpl8kW6Cs4fOuQkJMyDf
w6i2zZpG2mQIKFrqvWPbdxkhALJtc8O9v8NLmy8EaInkzAWeoc4eDXK8SfHT8qwn0snGnthmurM7
TG4c9z8Da4bRbQh5zMS4YFC7YjvbhU+CKgVYR9bpR1HNfxs+3xkF1S9uNDiHNlRcvPguz6Yyn8aJ
4ycPCjyrM6BpSKHiWnWLscUNB1arc3yuuoYty5xdCDQWN9u6JB3LbSGdCgNJ9JBlImgBFt2pUHzq
SAz1NEPF5lW5dX8DeXY0W/HD8QzkZ5I5x7DruNBImtQDblxWlDivk46eaxnIEx21G5eIwEqLJP6B
R/jNHUPgjkVbUBwZlw+75wsvnCjbBE6GQoaad41ygfhnE9CdUru6sKNlxmrUoYosvRtyaT/E9C8U
7G3aofQvk5/0t8GEYMuZsekHYW/L5SlilEi3fpLhvMPbNLLA8spZoAsO8jkxhPmI0lPv7wlblV8F
8tTap2ny3qu7kGV5oRrFYPAsrA+MiQS4rQ6DOWuGd+ZFRe9y44afTi4F2x8eihbyD7fDgO0S/Dk0
y+EXbUJYF/3GPVVW/5OJwDzbHc8EUPtbkzh4MGpxlvjJeVc4nIpSpfdxcl5EyF3PBY95+fcSsqAC
uTE8cp7fd2IQD4viQh9GyMnNe1xEuZWdlY6CtWzJG/XeuGJkHfnU8pJI5m2D2tJDOQx7pQrr2EZe
/hxjjPPNdhtwLkIBVPPZR8A4aD8ZkWSq02gQC2wiJ3nrMmTXpOrjC+96TYKxRYB2i/pnGXMRAdaR
Pap6sPc929E3dtvY9B4oe75bPNkVhrtKnpowaN6qYZmeoQt06mAQG7q6ifkas9D8K5yWR2Dg3f0B
pU/1Jr9rHDo3tkKPAmbjMZSx3mooURsxVDcxq4z7EyM6jQjm1UTrX0iNPyQGZX6udfaetsg7bUhe
bNTdzqWvg4nWWntcQlWlmmtTlN2GlnqIO23EIZx78b2r/F9wqsU+9dUP20ieOkjUb0NRT/vY7xna
Yv5vOrd8eDoMz+zpBZvgMUcnKeNDXQL+Ua5Wj5F0yUju4MPvED6LIntYpA1ZlNj+iu8kKY/4SPpv
5/e2/2cgp+DH20KgTf17yT0roBfTNa/QmDbJxmAf9FG6bXf2Sz7wVlGbH7ID4amqNDw7I/a+oU+D
fWmo6gq1HO+25w2vKR9uxN7iDTNVvkc+ZKSak+DY9Am0xDFqfmtWRDqzzEuagz5oYEGfbGcGeCjg
RDpwm89O5XyFWIVeqY6wuQ147ToIYGKazTg9a+2LsyHj7wk56DmLKWBpaowK0T+9qsZjWjepw+4G
+crv+upCh1wQGNO0cRycnUBlrDWEu2HfyiV1kOUOdGNaFTJbOac+Vs4rRbX/9Y9+w/MOWpymSkMN
BxNG/qasp+qoR01YoEp+6sHJXsvmOWoi8absOHkenRHPRZ4/ojE1ngAf7Js0fkHV0ZfeidJzZUXB
o6jj9M36t4sYpuak4nodkft8Scv5IiMvQE4p9EshUNoImZ27EhMGY45D/x+RqCTq2o85ZoVFuKCh
UQZ/WNehOUS42QALDJSeDozQHibserGXz1437ftqDMmXlPXN0+Qga7rSVxqr+VYBFtyx3cVR6fW0
/YnqL1IDzd20qe4je3SO3Mj5SnDZWE0VC/5YGxwz3HTXppzm3RAxy3K31lefC/+6EaPifmdYh8hy
5ZOaGXmbIrHfgNW/SZrtn/mD/dVdF21m7CHboUjHQ40NbdXJIr5g+5ZbtposWOPOfypwFIfFWqqB
hqmEC2/VD395OxEIk77ng0Rlb10Vy6PYcu5Muu6dsXIg8kNnpeFNWzkJoLfv2quKlzYxuhfub8kK
2Chl3g33o7Fmxh5nOd+8CaFM6uB9cMzhFYstI25Q6QerHes2x2IzFEF+JcLhsYHUPztfWtd/L4ay
WPaQgUS/4N+xJjt0baT2YTafea/KE2496zn2TtlSGtlQd3+mdpkzzWKs8QPnZbZ+SHjf79ZX2Q+3
cIqSt5TWkCeIIu+THzWb0gsE+bZ0fBq6fnyqwvlCApY6UZA3QEpndINdrbmizgRfWRPX5q5vu/4f
0eBsFjNPZaeXazjv9n1wy195hPdyyhvnHZ9Uisnuh1RMJDkVezvhqO6a9vVT4CrjiYEBE1Cq0Hjm
vDtbiXHqG955oCnv9NMPB1cFIBQD9clkYR0JjjlnJLvkME0UMUYTmZmupJUpwgeKcFK4/sSomgZb
O4nbjSA7R9qse0tRxdcsu3+Vrp2+zsPdl2m1Jfg/bud++FaNfNaNFW4mV4xXSBUnJRwPeFzymkSt
eR4q6dLuYMwbnhO0R9uUffxLm/5/OvjSsfd/acdbwo4EXP/PVFOa/rrkfyWC/9ev+R9U05Ce8Qhe
m40BxHWAI/wXEjz0/sMHzsdZwuZjwVLyn/471xReX/+fXXiO+R/QiyCbetDeYPXY/08YU5gV5GP/
p5S+S4aVsrvIM0nPurDU/jcyYGTzMYlFWB7QzL5F3tLlMwD4bv9CiDxNhg3HLCpes6q9mJjg9eKG
DxdffDlbV/1vk1WqbQKEjmEYF325+OlD20wOo0HLEq1U27iLKP9e/Pf9aD3CwbiRzFzkEr4FDWb9
TpvNhoT+94yN3/SN6Jw7it7nlF24yF3sYbj++8X/by1JgGnJBHSEA5wlJVAueYFxSQ7MS4bAIUxQ
2R8j0QK5ZAx6SkfomPbujYHjn5wNFy6nvxogcnbdklLgVyoseQCoRwA+5HmpuCrsP6gKCZxlh9TI
ITUz4iGFfauF+9Na8hD+koxgr7rTufnLLdN7XGJC6ZcQBWEKvaQqiiVf0RC0UEhfGR1WbPHqLag1
WK+BZ7GdQ+TN0/QHd6FHG0PvDiNBfpAwB9hCZFjSHeaS85BL4oMd/MyfkhDIkgbxmtdhSYfMxVks
aRGX2Ei15EfmJUlSLpkStGJ3HSXDuMFE9jBwr7gEUHKCKFCW90WVsMadiYVau3FJrKRLdsUhxML/
bCIthY8aPrf4y615w8/qbhJ+CZcUDLbLk7/kYoA7qG23ZGXGJTVDffd66HCVBX6KgxqHGJHaaYXP
8Q+7kFtH+MYGXS2NkzBxqhDN8YjoRER1QKq910nI58GH0uN9FQFSpyGbJ9xUG5DX94DQT0z4pyEE
lFHWuPGXXBAZb3qGgBTRO/KYl+xQXoXPo3Q/jcFkxSf2jnux5fCnwdrHLgPOTn4hK4jNn1CS3zss
XYgpVWyo3CW3RLxhFetub+DclASbwiB1+SgUzzaRJ/JDe8pLt6olYuMQihKEo2Tt5qtpwpaBaSA5
j5HegvyKNnJJVYXEq9SSs/IJXHlLMMbUX473rQd89FNqRltQBSuLWyY2M37qZUEWJLBIezVuA46e
r0w8lldQjCzUhtjaVTXCXu/5NMkI/ZynebXL+ji9DmZ+dAs9wHCEzl60Bw6W6gF0ReJjBn85vUwK
OdfI9drpkc0RauIjdUEfs8TYE2oSMRNm3xaTXpgb7jm0p6tSDgZhA7pP3ieAgjDnOAmGWNaKNHin
ZN6MISaAYpxacB77fhjoXR/4+Oq4f+nDIT2maas39TD+BD8eJ/W2kG24zluU1tQX174wf9ZGEh3Z
jr3mk2OtssBHs0INo039khvZRQg+u/Rvz/Bc5s9U4ehLVXeppat3fTytfWPUa0kAXBQYIQm4FJj9
hkMck7mKOaV2Q9A/VJiZB+uPocECyCLxSCFNPnGWVpFuZP8Nqepcy+Uv3Uz3sM5HcsJK0SPUHhL0
6YPhh4DW0mg/WpaxMQcaP22qqtZu0TZrblnzC4IkH6P0N22gBPSn9sekw+IJVhHSX1SeusBruDWp
lv9GuiBnv8cyzFhx3293fvBRgNy8EVinEY84Z5R5l85LvnpZECMV9huWJP8gRn6w6dDioUsIqfCt
gBTpslUMMSruKtZ9uhJY61U74qYLBQ3OzWc5BN7ONdzhXLLv6gTN1NOXO1fZi0f/HiApwr2jqrBP
MArTbtluocIttuzgMi7dcriu+fssIU2jOBvBWdEruKtm/AOURrWWT2BcRddcqoBfbZPpW/Z1qDxr
tubIg4X/Rpwi2FQcNGrZ9fV2sZtk2j2LxDommNO2ZlP2jEF+id8a3nuLkxTnTPvkd9aBxu5X7Cy0
PUXkff1JnEF4Hd00+8kDlDDVHD9nY7UCsjU9IE5u0tmJ0LWm7jK6PfmSGUsvpabVm6xZJ5nTNScg
+mSFPFDCKP6qctq3za7YEOBIkSt+Gzm+QtWjrtLE7a1Dy3q1+/ytIqq26+vszF0a91mGHScy6Sqs
zOYp5GNgA4WD8AE/B4T5waOAZkNppb3tPZhYth5I2SREBOJYIvyazSpLPw34hHdNoCTVprsjrD6s
0J4qmPfTZxoMAjpd8qa0PI1RFqxwOmjSt2G69qww20jbePbmPmdzauIga5+J3g3ryO/HD9fu5xu+
hmclvPo0Sf6o9IazXA5oGLPCJanYZ/OrMMx7SJrpTB4Wu+3UVvsmmjcin+khI7H5kTbWlQdaz+Dm
ZCfd3Gsxl1v2GRZBk7g/+wwZ/eJNKmYW5ohf/VMqjjbVCJykBYg9gt5l7v0a7CEj5sSk7cju08Pf
vowlNPpp3r9aj5ch6dMn3JA3O2nmrfTQHntP/OZZ47/Pgfuq6SWSajqzfampy4p+KKq+V/RBvBdz
+aUcbvx4eoMNn6XDHM47n8QVnh7Y6ZW378zgTy86cpm+/5GnNpm3Jr+NxG1O7DjkrPapA2FCu9DZ
k95dUxI9n5ulF8BQz/Bu2ViV0VOYNmrz39g7r93WvTxLv0qh7lngZtibHHTPhXKwguXsG8I+tplz
5tPPR/+rpxoFDNAPMDc6suzjIFHkL6z1LdMdoq0r2Co4XIyTtI3PTB5PrKBcyn/LoBJBRzJPM1H7
aI86b2jK+OYtUiomEoSMRdQqUJ6c0eSJxVuLM5X2FKs0SSVwj1Rsohgt0NOS1+auUlkxnI2Ikoib
/RihQxmqfitzbetxVO2riWtgpyXhWYIQLLtqXxLjWqDxZSGm5HEIydnEpz7vvOO8eNPdpD0b882o
lx8OEwKBDhqOAIO9GPczb9oCcdlSWlWA9ZwMMB2+BuuLAu1NnvLMuMawnIo02SYieo81Qgwnmc/X
JTAHg9PKZeESBmrGQUXPJNdQBjhbwrPc8jcEL3713AY/dfNOgBKYS7emPVflo68MIB94GwOTLVMF
xiHPZ9NtIPx1RagvuPOk2RXSjy9Wuh2lQk6T+RRygwmChFJE1xk1dtBJ0nHQDgjyToCmpmWlmuoY
5+oj8FmSiGB+jeMESyCW8io5ej7+A8tAbGX4HJpKL8RaFsk35ZDLwrlkZRI7cCQqnowpElw0J+Ol
MrJu3Zh2szI1rd00DW8VC7BMBay/Kew9ypUDgP7uxyCdRahdV2fBq5UOYivT0FrASqLGyiXCE6/D
AWZ3w5q60tuFFnW24ZFZ2RokmMdZ/SdyTH9nFnaxMxAMofbZhWhBytbuT0l/doQcj8jwnPv5kGF6
ZgMWvvUlK/dyiquVJtG6S4wuawR9JMaR9mi1IdlxRsWFuUturSlJdqO63cAXPA2KUt8YvG1fSEiQ
AtrLGOeoYRy1KcYsu1ZZtIqd+p6NWH1NjSq/NBjDaHTtHfqsR8dsH2Mk0zghCpa7oiyXVqCGnUhm
sZ1LvmOeNO6atauJlEg2WykRrtetVBwCxScqj/hIR8/uMuTLsProayuI1wXJAxdXvqdBowixMZKd
SokACOrhFV3I3Zgab/Ys2G76IFtGXYxTB5W3o/sOTm0u0l07EWTnZda6KLgUsLc7CGe45Omcbzqq
d0a0S1Gk8XaaoovfJKtOsMe2q9Zcutl+oHTR0midsfmIs+4DUvFeCzwc+qN3Ao/8jU5wV5bPpXA/
VcUGLGu3LduiuHc+vT7/Dhpc8OGb67SXMYS42dFuPFeujav1owttskGb7eCb+9B2oT+3F00nUtST
y85rLsPQ76qAPGuFLKaJtZNJEdESiuAwEKjGesPQY9uEzrLU6q02VZtGa7aNnJ7toV5oeWSsdGRZ
qJpdmNzTzjLtm1kjlHGU+rTbaeX4zd1QFyAkVrhPumBTGMW9k8pHrrQkvuBXovDGnlO/wOPcVG3Q
4Kz3jrP7CH2l4hnHLpq14lSsCrt8nr/IYDIJjXQ3jPmhifpbaXl3TmqHq8wSD7mojrWBFDMkbAAa
JVda0z0mI8yf0TlwZP+0trv2/RDzB0vweaaGJmTZ6e2mSEJSaayNUxUPTe6/9NW977LMKdPHxr/a
bPyRguFe94+laX1L61qbpB3OP7A0650g/XhwgYLwebtjcYgX+rkk7Xv+uTTUi1gAeFNc47UR/4D1
UI0gQEnA3fRaYKwBfSCO6guS1U1voTneOu2x/qDjnt8gLE7TWSW1kmN4VGG4z0kVdQI/W45FuIPN
s6L12KMgaJBjMrWcLHdro7uajPCUWnXzBxxK6KAxyWL3uUPi3mTibajr176qEalvBlF+IGJ90rD6
xzflCeNcaATL2sMfzR33k/NuKfXiBQED4/SRmJ8bAo732hrOGtV1mE4s4IutNQS7os4/zVG/dobB
+JeCBWOAIwOY7KDsssF5xHJhbjXfeMW+fJKjuYtEu0+7B/IX8ZMVFwr6tYMJb9Gb47IQam1nyaPd
JbvgUlRcXCcPSU5qjtjW8I9r2Z6OLFn6GivmKMfeiquJd0PUbNBAakZ6rT2OlMKgPNSJG2+UXS7q
wb2kB5uaUuXM4en0jpYv3CX6A7vXFtqtK+Y3pHEt2xmqoS8g8ZDYEwM7mdaFIJyx9G+Mc3kymuEB
cPKjM6V3qg4PMm437Kg2dktactbMo+GLDuGjMlTK+lzbNU55LhVhv7RhMgzhdth3jAZeOgzKIDzY
VNoofy3zkNbhWxvr98Q4K7IRV0o2h8i2blJrXwlMOnISWnZd/Q1k8Ghp2cklOJhUxjN/6Z3FVXqw
ZzVy+j4q86yNztm2yu94eKxEei1RFeCLOfjTU6PX24rhO/XdwnIcnH1oOk1xdaX/RMrpPlTRyk3d
Q95ypCGSp3bbRCm4LaR32yRNr9Xg7Hy2/n4WO0vPGt+6IPo9ZWZY3+qkfqs1/Sad4EOHX+ylO6BD
f/BfrHVpPqRYgMc+/9SRKY5au6q6+hFrZBAnF3IgN7ryFqwPl02a7h0rvM8JwqJhZFtQ/wBYupet
966XC9cZ3lVTPvuc4KZYEmUrH6tEfjUBLpTJcJ661HpCnv/lNtonippDptjIevoqd927CL227JHU
pVs9Ajc7HyzYId7yCL+eQ/EWWEiO2SilwStEpqzGxWYCSawIZR5K/2TlwAe6XlsOPRiFyeZtP6Y1
Gl3HR9j1Y/S85VSpv2QD86nYnivgmYgqXpvGeUpje11r7nmgmMgK+7U3yxXntKVfdOc2NtdF8tZq
0UfGa+K58UObB2u823ejlcOkcLNtS+KYptOj2+0DJwxivzSx0oph7RbZQZPDVcZIB9NgW5vlTm/G
bURjYRKahQLnIYqCfWSJrW+Mp9bm0GYubLfXgbk/ftwCvL6KaIkMAOlJuFNduYZGxQxBq4+a9a7O
DBovRHsZS4Zj2NjCHmYK0P8S11yRwLmK2+CrQv9bdhAnsLTRtlvgSAZ7gbjqWCbdTjjYKSwyukrO
rilq7aXtEvemDV9pEj0X4NW2PnRRZIUojtEij/D3F2WsPVZcNhdeWpzGyjiUurnJhXqeCo7qsUCv
GuobAn2wuclz494XUUmGKMuNusjeEKhtVFTRtE3XySJjDnN4P+q33mXoZJabUFYv7pDflybkBjvK
6EwtuF0JfmUkeaR9sUv1tR0TOdIHek4cTCf0iBHhUPSw5Zv6XeTyHuTzBPowC5NL2qR7qelb0fSX
bJ7m2ylJp1jDYlqjoVzZ8ZPV50+ZLI6j6u5aM1oRnLuM6uzVHafHKBUPVoFlpxxPxaSlix7p+8LE
6rRII1qi3GY1ClVuLvRKj0Ra2kBL7hpOJjLyVgYrTcY5uJuWpqHuyrR5DUzY78i7Butmm/21Utlr
kF60MDtGFldcuj8d0sDYI3VHodOarwLgJqg9FHUxpYHclLZ3iILqFTfPY7EIIHD4nCO6QZ0YPZ4x
m/O2z+vnhvK8Cut3R/onCmAqrT5GggjtT97bldes5++V6eNdwJQiG+VAnLF2b8hVqvIvSHnryPw9
8PFD7SiceFVY2/a29a3T0fpe+1MbilRbcxVP+dpwx5dY9Pcdf13LhUJkx8Ho1o5efvsxcTOjAVvU
nl6qMkPcOq2TyaPE6a5SkoENCQFvCPioKPCXahju5terbPO3TnbPrtG8p3VyxkmyxY++bXNcOcXN
KNjSoxcyuB5Xp2z8Siz/J4ziRaMnH54SIcoYjKWu2eKjphW2pojgYBQgc43IztlcERJHWgVdlLSI
62hM7+Jr6iHrvXthNAeYLgqeD+HoWp4/NNXD5LHBHsUi0fD4KeQ9xkAioZUlOxFuaibZOMuRd9uA
0DcZnGUgVCWHANPNqdwwUJl19+3JE72+drPeXtGgP0TWO3qBC50rBVOSU7GN98m0V272gCaN01U3
vVadiaMsL7bIINa2zC66Jt9YtseLoelWo5l+xfV4GNpvH3geJ/DnpAPQZSaawSGbbHsTi94gmJuW
LeA6LWKV6jFXaB3MjRVdPcZ/d2VJLMM45kTT5de87k45x/IhsWnQ44HVc9g5Bwtlg0YY/ImpM1Vd
Pq77Uu4UYe/of6ixIuojcKE/SZP9yt92tQuNtdVICZg4f0pBZWRn9YZIRvfaALRiAMKprp5wipa0
8OB3fW/h2rjr2zHzOauNezqAhbPqGlfROTcOy4T6YciNao2CO1jbtb9rSWRGjeo/0hF8ToFFUmMd
Vfu2Y2Tu48tQFZtZ00GEaARQ+TG3PkbSvRJ7b2x7y7zK3rrUVY4vzNSeSzeB1uf7j5OGgMnLnj0b
SLLdgP83h1ZbBU1p7aICKmECTmTxG1iWZC7E0RkCguRWCsAgcV+jXEjwg7NIBX4IeCADF8h1q7Lk
q62ZlD+0eljLAtLTfW1tlTdb00kCB/uzMtqO6EvE4amvJ8uqpp9yDBzTcPURTTrutixrnqFw3DBm
b84Lr1Duyg3KPShN8ylP/rBk+Kj6s9UCjbLUU1W05KaEzi5TvISYf3QDtRxaUzpkjEi2vHOVTSU0
73BYJPK1+GMZGszRi6hR/Dz6CIqUd3Da7m0BmKFRBfBxAIvLKC33ZlKSkKLpa0h/4x0xS4pXowUU
WaMz8iLv3e4pT/0Q8Z1WV6BwFD3nwKFkxsi4ctkhnOwgTNgDecqdTI92Hj8kbfIddUQNJW69cSW/
HltlLmryGlTDT+o4XO5ekPrRAeTTMjGftMh6zgNsSoBwHur5SK4q1iKNM7NDBabmBPYcHrlmMfiS
4UaG0bJCGR5zsFXIdBez9T5tgxWdKo60WReLC8t8JKPjOUDUbl3BGB9VkV2KzFnHgkPW7uB01F7/
hoL6a7K20kl3RP9B0tG8OaAZr3/yDZsIrTAh0cLlGbT9HJtB9lz0oJs0e9y3hgXmqPzkEnfSISwt
hU6Ha1U9ca41/g2BN8D8I1AgWFdCBz9To14RblSiUeXEBEsIMX99o79Gqt8gl1Hz6LCAjAG3DEWf
+TX7q3h+Zqog2MGQIgGHPfS7LFUrPdC2FllnrL2RbcfIu4z9wNIBkfO2H9Qj4rM3rwZtH+aLqYj3
lrT36KafPEKTEHaDOHaRu3PEnHunFQsWhjsDhJDXD1+0VXNaFq78GKtGjqagT4BU6nH2Jtxu70z9
qtfFrY/CL71PlzBGH/zI/DSq8RRBvVgBIPmjD/YudvpnM6QpUWrNdOhJ77n6uNUfLX8xOyvYe1x5
60bWS4t3MiNpAJwM7DYcjQGEL/5YLKV0F2UcHWyuipFHvlBkaJ/K1w91VNzIXlwyBFkE3XBmyfUi
mRYuJjl8B0F1HzL1650bO5RVqXsbXauAUkzVgz8kj0baXgQcET0K7vM2OdqNV9z1jb5nwtzRJcIW
YF6dseFvloUmD9hmWYXIas9w+ks23i4efHRZME1D1Elu3/BOME5ll3z41PfESdn3fdxvhw6Rtd7z
zcR+kEBXZPxme82rrtuXRiOCN0iTB6zUsYy+xuzbjxhoZNSNVsM4XdlHlYqT5sq1YWoLpD/+Aoz4
uSIbiD9k3CHq/cC4PCzIXMXrT8ZqoUfJktyzhxosMdrhDzS1nBn1iToGrDGZkfPBefJ7/MCIGo+u
LlCjFMU39ofDyE6xmoyzlQf3YaPe3M598hCmk9aFESMPAc70FCNVvcYscnU0q1qkVfPsl6wUoWeW
T+iUL5HqnKVbBTs5JbN0Ov8man4vhuyKWWAdioatLOm6qhHY1V1kxBqqa6a90GI9XeHbmW8gDfR/
3fv9UJs//LfH/u3Df/tvv//jr+8X1tt4NFk9pbO5RD6EUS7A0vAUViV4c0+k2QHGRXbI2BWwYp5u
WYRzxkqAUBnzze+9f938Dx4bWJ4kC4+xiOrDGLqenx/GYJIrZAEJ7JasODhocf66+f2QJJxmr6an
Sm+7Bq6ZkR8w/fINIGgCdQwI94QXnUyoVk36kvnXtQYUNOvfu0WqSEH5vTs14uJZzrDxnJCTspsO
6eH3Bhvpf92rAalKD9dZ4pIgWpR7x275fX9/zb/uxvNP+f24GJt5YIeVsgCuSwlXHQbgDbA7+n/e
/D72++HvJ5Tjd7zu//fT9XxPJZAjuF70S0huuc7MkgcL0peHrmGjGRYHNmjFobFg6OHnQWEQB+WB
dWp5+L33r5vfx1LIWXu3/XSK7upp/VdCIvBeVtBBPCe+c3zGcYhhPyfWN2e8FyMFAHqssEeFau1i
uJ6LlOFbgk6yc2pmVUb/HTdOT5fKDUwliP05+DoxjivXBQgzcZo0baSx6QDVK46Ft/ed7NKFxXio
rBHsgM7JdezOcTWA77DVsES8+zbYBT4BLoJ0y4Ds7Be9G5NDRxOA1SM/I8tCAV1343rKkfT7oEeS
+EdX5cEcHOvgtv2IjGq6OVEfHwzLa45BTsbmWH5WUVDuuswDH8I2ve6zc10W7bmxSpczqjyyZchx
0Kh1bnd7VXYe1mzBjzHQ1msxL2aeAhry2VxSkyouVY5Wn/MRO2iK1tCC/7zXev3e7EV97uzqJHJU
IxMe9MJA/ksdvnhCepycdJTSftaY584wzTM8Ad795kByuLxMZvGj0jhc81/aM1ayVZpZpyoM5exm
v4bN4OyVML272PCogDCgacO7QG64dArjuzaa9JTl1O9Qn05tQMnCv5EzeEwLRp7V2GX8G1Scqd36
ox8q/LFmnl20esouU/hDeICN9HhCfM10Mer0eN1IXhUYcZS4eoPPOk6zc6BUeta1R7ZLw8me/GoV
FAkrFcZtGTGzm05g6ac/Vydk66RaW7zuYXYz/FIxyirHO7kjNOjHZEQwsWJbyNIldNGYfCwEZE2N
XJgoVdNphReTktFg3i8K2s0gHc+YwRdj5pIdNP8m7J40tnOUN0JHLuwpp93+qrJzCOVLt0grrkRu
Ag/TeOV6p+8Y0z1SgKz1+UVko4TShIVKyk6Orwoyjqy4lOb697G/Pv37GdSU+OHbnCfmOIW7rDAT
GIzpi+k6X62c7nKcbAtSAR5g5zBCq87Q1w6R5j0NA/y54UOW5rfeRo9j6p9i8i3oo4/9IB7Dxk8X
jSWecVaXC80t3pUBhUNMTGXL6dZPXXtME3NlaTpZyVSKQoI8ZwGz09SyLJNDYYZ3dUadF5UYrCFX
hiaoTYV1JtQ7e5mr7sXKjV1HZg50R6PAR4dTOEAkKz3qVJSyt9JPhiW5XNYyc0gLt0T36HKt0gbn
vgcTzLBhvJbEPjDQOtDeAmLAJuw09nPv9SdnjN96zaJMpfHUZX0VKdIZUR2SHattypLBXXs27JI+
qlHpmcUlVaeGNSpozs6FH1PF4QPsrRU0Aap8RZgizOMG7EHxpy8pwlSqv7cFZh6VuusefeJKE0eH
+Cay4c0fm95uUQqCGW1/uHkhZ/5xyJn0+fUSk8FeyKuHcpRwy3CjGflw7OPJWQ5p99pK82ZNt2mG
ewSVf201I7mLXDQbCbAdw4gXRYfWOAxxuWpnHe4FJ0JMVBM5YGWnvXgFm1cjyNjtxvmusqcPDwQV
jWt1I/WWWNWbbZ854z+6DZnsOK6eRsxY2mjelaVAPm3Le0cE+6KBySmuoOJGhuTsLHKnec9QfMS5
HDejovVrh++syN09Clntqg2ASYuWlZpuGEeBMJS4990EpWtl0+ehAYku06RbWJB5GpIRFbZxp0dU
lLWxb1mEDZloF3UDUjTPiqUgKGNh0uSYIZlIZo4QtoC5G4T9KfePiipuFdY6OK40RrM/4MYx0/Ib
hsanQp+5aNlV6hhrtlXkPuDpGXaBbeAXzWxxLP2PLhDGS2szcLHrQwqdfh+2g7nCkvUitHNJfVbk
KFCsqvxKSsFpujvkRfAjCNRaKB3HcpVcXYqzzujojH20YlooMHOBnMlpoLUgXiYVV+Cgng5zKVmb
+nG0WdkZKsRXX6H2rghaxkZcf0ROw6QetfjCs2nLyJxa+F9OLbMj6BykajQ/C1+a+WVgnLAwRmen
JAQ9ut3sVtXFE4qpz86KvqP2ixA6e9MZo7eSk7/jvGtdU54s+CMLA6r3ZqDjZx8wPMFeGleJOypm
Z02z+SA2r92UjJcbaWEnLV0i5ZrhIoKhXZeS5WPpoQuM59QC+yMguWZj01Hycl8KJNZvni2+y2C6
yDA1gC1Uzjoa6mXGhn5RBa6+nnqd93bDrFAalM0MPYKx8NlothpuCM9aBWZBMGlgtfw+9bAipMhZ
SL+8J+A2XmsG9lccR8a6UuPa1cjY6sBVa8n0qE0RiBNsfZDyznbehFtfFw+BTc1sAMxYou3plgrc
AKYz6rck+x60uF/U0Ug7zJmNka48RTYSnRw3h2NhNShQvrlA2e26stidof2yA2etjOq9heW5lUV1
z1jW3ZmOuIQspSo7uCUz2NNkU0FYp39jZ71jMuScfYVJum4KfR+RWAF5rk13LqCMtWNDjcsTfF71
0B9Ms/2R5fScEgPM95YHAuLvWm+MnpP2Elj1lz90jyXaAwo1UHi97q0rT9+2kXdlygLCyS+ZPuMF
42xjETUIaMzzxWelDf0iFXO3UMrvnAnwgqK0Xw8zjRQqqT7jSbsZVBpDLMVdz58Aw9TKLGcRNrNx
OGE8MYNOwxl5Wmb7mL9sWTX4iMYZi6r531kNJpVznglADG9oyHV3E8841TgArBo4unMig2ElZuiq
PuNX8xnESvjqyKoYOKuuanxuM7C1mdGtaoa4QhmjhIH5wciVDIUz05dka8/gV31GwJawYHHuaAdr
xsPWKPRX3S8zNp3xsWoGycYzZDae4bJ9/kLOGQm5v4/MN9OMojWCR3NG02Y6kFr4GslRViWXKr8A
YttCs/3rQzQn28oCdQv0w9rQZLNcnIs/cLjDDMb9vScZIu+wM6zHGbMbJi4Szt+7U8XAOZ1Bu+ZM
3J1A7/4+/nsD2ofUCQi9fNTsdJi90QzvrWeMbzDfCyH7yhnxOzJP5S2Y7fUZ/1vMIOBwRgJnv3Tg
RgIKNhTIYGOGB6sZI6zgCY8zWDiYEcOc3I/BDB3mBborZhYxLHCAxDOaOIBR/PtQPGOLUZZky7KZ
WcZ9Dda4hG+MK8fdORCPjZl//HvTzTjkoQCMrCAkY4Uj2q1CuO/N+OR+BiknjEFWyQxX9jtQjtCW
fV5x9IAAmJ0ZxQyopCfYBTwzBpb8iLYERvcMb4Zw8Cl8kI0ZXOcWvnM7g56LGflszfDneMZAI3fU
V+2Mhk5nSLSto8QLZ3C0OSOkCQD6Q9uabVJUpMee9gRUDIuLqJpDRoFQM99mPTWDqZktFMcGVnXS
F8ZW/PKrcUaWx+4Xaj0/y7jWIFvPyOsc9nUzQ7DbGZmS2fgHxYzIVr+07N8HFQRtDimG4CFQbezL
1dqZQdsK4nY8o7et3x8YMnEDyp3PeO5ufhL8gYVBC7u7nCHeFTTv3989mgHfv/cIRlCrdsZ/13DA
8WqH91XHO01Uf4wZFe6y801meHgORbyZceI6XPHAAjBezqhxbWovTcovEOKeMljBr7Dd3xVZ7Sxw
SMKqhVlezvDy+hdj7lPOjZDNeaI3mL+TE2vtYuUAP0cn5GvA0JXDNEkO/kp4/ozKhzTos4cPKz3c
WPfWzeup9Ua3hMgp301469EMXtf0ekOIJR7CGcpuzHh2Baf9/1siqvFv39n/wBJhCkuQFPz/tkQ8
zL6Fvy0/mJ6H2cff//ld91//+fd//td/OiOU8w+bb6WkpBblcoMR4b+MEeZseXAkilHXcQzQdv/N
GPEPEiZnG8ScJW3wVf8yShj/0C2H87ptS2EbJslk//s//gz/y/9mdzFTZrP63z7+W9am1zzMmvo/
/07G8b8FzeGUIKJbtxTfVJoCHBtOiv8WNNeGRpxVUUh9y/tyK3DRE2naPqaW4bCueqn6rr51NToo
Ir27VWAJm0E477aUHReRsNsLRXu+gaSRnlV57ylcUu7ksivUxMHM/WFlBZ6HePk8VgXQON39E0UJ
YoQpRkUEwxXVL0kckJ3KRY8mduWfHfazD26sr/UqM59GL3EYLpjaRkCrWg2ovewxNreN7ufkGDkU
8xXlllWhL6qZ4q11BYDBBmqyM/LE3RSDu1GZbx9BVS2kVcIkFGIt+EXxowX52q2KbI8x/OAMeAgr
BpJLs/LRfBbE/aFY33gNmxu/l2fMGpu6LpIHJlWM9zpT7qCVkI3X5asyFMVRJ1MKZqmzTwn72KIn
fYKESXRqElV3mr1tByc84nYnpdTt6zeNMMNFXZlbP4rcDXMJ6+wBEmFar9yD7LOvKh5ZlufNuOpy
g8SLuIXuJAYgptJmDxvWr0ke3o2dFjw3SbaLIvYBJnG0WyJa9gZHFXkIShyS3vys6pDoPuTIe+Hv
Ffi7R7fEmpeH5Z5q1sJhF6R3JLjt0PH7B2HRIyIQwgn9gYUPbPOT7dr4NjU4JJHX30w9ynZTggpK
6okDAWPh4xJbuTK9YZRB+aTV1oVszHRfu9TujFWspecrUsxaDZwDk54AY8AZ0zE9jls8deS5bMx2
LFdTGNh3SZGzZAtA53TenVeTLkYbimAs6DdVZhHIlosX0gHx7lTqechVszTtuF2NDDVvPbLUpMMV
45XtuJe57Jcumsr12JOtIZsceLNnP3soCBryDPdG5d9YvZubkhLOKYtgDf/5qnvSO5ogtZaDAR13
DOQEwH8q2Era95UyY9qFcMXweYcNHobcjK+qXb3BFR5Mi6SLCJmGlraIWQ8wVfLNjV99MQd25wJD
XS2c8PjS34pUFB8YGKI7jDbZvdaR2WahfAHXQ7hcwDqjj0abSYROsIRKLgqn7pqikKmnLzv4OuMp
DZR2rbtH6esFKWbpzWFFH7bNA+X2dBgr4LCBT30l2IThSzyEGtiWUpnq3ivqXWGkPnwbFo0W0NwQ
rR7cLsvcB5PYRwkk8sYh5w/oD+MGG/Jmo033Zd6RJz5f26evSMungwq5GGVp+iDZ2BlJON5jx/9K
W2KUDaXrvK4Acbn6Z7CKXNJQU8QEIiTWuWR14lgGiPMi63ea0MXR8I5Ce1ej+1iGFblqjBUjVuO8
UEHfOisk5nf4fgFGiRrLBgS9Q1zFT8gXl0BLXaBvbJB/R8hmexmMIbnQ3UA1ksdcDhEgGkdbkjCK
JjMyGNM67twDdVs3IODQzvODNxTtNu7AkNeDUV36aVi6TblxISQ8VsZzBsKH/dxAaSLCs+8ruERI
SgahqauXIwsqcnXt+/YHxlKBihIrb5indKnpKO/0DC9ZV5hrt23h9OmW3EYlKxonzlnZy/I8+KG6
yxvX2yYOrcRIlNyibSCKwFa4pUXZH6JQBuAlxmzZ+625Zt1No124Ic+P8S6UZUGuQa2uB+1XLWOG
mL6BEi6Jd5hDM0ZQ1bdqx2Q99LGAO6YFTDCc9Loau9g59pUGbt4zNoCDm2XK+GmVzfOefGQShOn7
OgURY9Ih6NaB6fxYrvcMnINoSkFCNxg0a5u/ILICh+CASY9Kj3EkClWeWiYNY3ors+8UQOcTDTvz
XmsVWa69g5LSQg9MFyIG1EFcUeNHHctkgwrHYzzT2zqwhi4ZWLE5q4D2fqXGb6/Iwm1dwmWrgFlu
mrp8wdweL8OuAkzB17gZqNEYfbCjoLKX1vCUMWpYjUPD/tb27gJBydnr2Z/JKQ9tLkDUZ/2fVPgp
9P9m31ZRt6bSjOAe4oMhAIPmQ2yFDpW4NWfGOUtfT4CIBbSII4IdHnkhz8VIp04njH5gimfcklFu
+NV3gxvsSydWd5bF4p2BkEaUzn6opH5oFQ65bOLEYVY2mnFYiJzmB4sNazqi3XqxQv9prIcQGT1k
7dGd4zL7T+jDWIVMB/isrNO9OZVvhj99OkHi3VfVXg5QH+sR93ds3zu6FV79UIiV23SI8MhcWo0z
qL1G8lYFUH1Ym+E8TE1/1U5zu2CdTA8ZVZcpdyNisMKViU3djAHlCFy4rgV6ekpS1P/6yens6dJQ
rc9jF32H2ehzmvAY9oLadLLWGme6ba7PU8hyPJAbkZ1TywLll6bkSMIdW6cSNC2CYzyLWTTPf3GJ
MJSBP8TywJ2RRpMJxqmRwc5omAyJDOdE1Gcf4IqWgKCYWkwxCFQ5zfS+gaOEAywpGf3kqnb3eXGV
MvKfhlTbpUO5ngKWDvVkfY1KBacpgueWmDYnn+ZnTB2YgTUUgPRVqL64pZ3/kpfTH1Lq/PXUcMyk
Ywjw1QZHzb5eM/cAEl1P0w6ird4ciUutTHwcG8Vs8cN9SXSpkltXTekDqpt97GnQ3jl/zyIn4+rx
B5iVI+6JAV5HmRa+jvGeaY+3w00Trw34qCTMDB5DDL95AZfy4ITDfZ2J4LWDiAb2naSGqLUfHU97
4rQEOjpoXpTwvwKrYzQaQxFSYUswERUM2LJc3zH3zsEOtsmDFcJAcxKywbHwtOCAUGPjbfBeBzm+
k0XWnEWYWSsXPo9vWMSc+86qV713bKQ4O2Wo01v3+qKWjfpgqvPqFd5HoE/9XmdygoAXKWzuJwrZ
7mQ9dqp66Szkko3Ax+44qFtx/CFjCIJ0N42JWCPOspaFGuJDaw83K+26Ey51ZEiTVuxALPqwO79L
DS+YLavoIfZQjXUYmvZea9qX6P+wdybLkWPZdv0XzVF2AVx0A028793p7GMCI4MM9H2Pr9e6rDIp
K2Uq05u/SZilZUYygnQAF+fstTbqhKUlC3uDPRylWMXMNRnkHwRH3BrT02BM30xQTk7olNiXiDFY
xBrnqgy2Q8gKDN+iv60nne0h6mRn6tqTnd+TjA0Hmr6DN3lqxMuHGDF2/3sswEPs6h65jVgyzWuw
IVNjSJCKb5VAzxKV+6418XD4pHYJ9wVHxjIfUeAggKtc3CyRhc1TJ503RuGTHd/UOavPZqUYtbdO
mNOCklXPPHs3dh0kbKnYXnfCundlc2MU4Be1+8v1JYVj+uw9zk5jrsNizs8Rx1Xu1ZQjpDMEf+R/
Gzz8l7ItNArYzHkF6KIvk9pFl1QEBJEdnChWbv5hT2aR/yHaB1Bwc0NOSc2rHKz6y+y8d98oozfB
/nDZTyUPODU9mK1hY4Z4U4PiZXTjZpUHADeCCdG6yWJoPRrh3v1bbtK36gzjd1BSsirD+X1qzEfN
sT4bL0d+ZPZAod2Z+xF3ENeEx5HVyR7c6KrzsVyMHbFHe3izBh2jvMWptGDhs4ZTrr/9lp8jmWj7
6vbySFmLthbaH9PvQrrACYvFImajZ4+M6RqbRKSTSFLAhGdSA5A5n/3oRpQsCyLtxe3kgXNcuBp4
Gb8Wvhbu9SH5Kl38nMDd1Fz542tVNNC0dFkSnPTe2QGc/Yo/fuw4Yod+Y0Frz4vvuu2S5OqfgV0C
1LHbrhxSMgdESfmG14Qvk6hpYhvdMW8YuoiSqI1hRC8/zT28eswLUfTwqer3/PzGQdbdIZTULjLu
Y3g9+o/loDWruUiwY22LOJ2PjQhfclEgAO7HL9eKyDYa1Iel+E8Wg0urqtBY5pZmf+iCYPjnL9yf
96EoH7TWIKhMiAfsbO86fOKM2L4Uek9kIarPo9EFa78k4yM7xqs/v4DwjYeoH971gpWPjIiTmoLW
SAs5AEb0dW8XwyEJbG+Z9vhL52DGGTQF8wripqJ3gInNwUctTnVkaTJUiV/1aU42XVtdtMYB8LNG
wJgkkBhb0JYNTXcMnK5ZWsxveeOs7BX2julguEj8B86Wa5MlHcdm+7OtRm2ddTGroJT4O/QJs14q
FBo34p1uDjaBiiFmBGFX7RQ+IICnDTDo3D3Hk7ly7mxy1074aSd9cmq/gHMD3h9iMrWdRXoUp6+v
N8cCMnrva5Y8jSh8GQXjm8VTFZQSEkTDtZEn8W623PjqOoKofRivgyx2Fq7reOd+TklyAb7i6ovu
yZBudUTYfedxQA6T+I7pcwuF8o2uUTxqMbLtIdZoIM3tEElQPK2iuX/XBi0jUI8CJAnct9wgjlO0
g9yCo3QDlyTNiOEhRkHeDmb7OMeeRx+k+x6zM8MuF+5Enr51qfMuY3vblvoJlvIztCDwqPR71VCD
EDquWo8X0Urvl0bMQ6v36Tpup/c28TazIJwyoFhBWmnSbeIfXHVnC8VElqbf82JyTPKYZMglJaLk
ZzQqI06Xlpi2A2/Fddj3u3yk1IJt3LaZXP9AoJWj8cwYtOMdkG1hbO86UOQUKegmGMVV2qNz8K1T
nw2SzrLqo4/xCXWRddeaIebLlgJTf5Yco/AFZukDoO7GtXvD2frqmyWwWAsvNYqLtJ2O2qDrz/+o
mEd9V5XJrvJrRuAlD47S1Ne+oMbQmV+NIDOOfsF1HNYur4V969PqgDCSKel06JJs4C2I8YGaefse
8TIfcorwwLTFi7yjPsY+1INHvVqiXfuB/LFFMQ75CnZsGZPMwODv1PTkmfTU6FeR5zZEKrtHbjwP
OG8442QcIjPfiFZItJtxbQ6kiofsGsmkpg8JSfS1HGMd8ZKpHTrF5ANZ0+LQfmkdL72153RYfJnu
Y+IhK4EZIkqccTUhd1z8/P0zTe9463GfeLOyDtJkkBpzeDt4YWdu6To6liUTX9qD06XQyYZP6p5G
8uIR4Po9tdur0UW4sYdhWuFNMlEXu096VWS73HOGDYb7lphP8JvTUM25PiDIFFpbYVjPw+ibK6/X
sIgtgXPuOgp0UHpY995BeOGmF4GuB5CUmmgery/CZpmu2eE5cNIv6Ft94fZIV4lRa4KzspGkLLtS
ECBHJuUh6catRLW9EMJ/JmMUrjp9+h4I51dj9mjQCzV7LxmVuJufdD42A1gCkhDmBBuShteMXfjC
sJnBjlpBl2xDa9eoq8aFT73Sd3nIkWk2nG1ruLc40H91+qqhP2gvO/HeMgM8sN1FVTM7i7bDelYM
EEXoBsLY7DBCfnhMJFAmw7g1k7UOUDCDGlbjMjC+S4xh50s3ed4vg0mZS6Vpl3WbgclY4KJcaFwW
UMp3V7F3KpA8LcKJWFbQMvJPzOHaUupJSVkMHuTjJI9QsRsc9Zdt3QSEIWjz6ZvyUMg12mx4A5+Q
rKV/DSNaoRTt9KZmMsLn0j76WuAQ+3X7dWHq1XXgv4qt4lmwyF7PdrmoMmteNWNhLYekH5cpxqu1
JoPw6jSEsVyi+ACLRrfyVXwtKYidYscHi+cNuOJjvaspjSrn9JaQfkPf9F3xrrsYw2AXqYAclVLX
8jl0MJaSFszC+sVTcbo0TG+Nh1S8obEgpK1d/ETv5mRLcOMZrvJdFoxCyOhxXW/iqTyQ7/ouWz4O
BrsG6Vdkncj3hVqP0Jtd+mhMCKomSqfK/EPUAVkL+7FSIUGUwiuagAXd2QQILanKd8Yd9giPIHVz
wWbG/YrXOMe2aF6iUZU0YjEWnFngGgvePyL55cbhl0p8h/HjGGTdOjFNfkD1W0LKcSDt2LR7iWdk
oVflRjrdlh7Eh1DFI2tykkWon/uxbRe4yPDVKe+rtndIVgYi/3Lriigrkcu0tQ4+iD85zRx7gEZl
qLD7ZU9Sk2pyCrjIbopYu5Vo2Jj2XDExPkV9+QgBDpbQepuY8w2HozvXSBugE476b9uglKLR7deA
1GhBSEcyoqhJkzJgOlDj+hmpmKnqHSvJnQoVQJXc5gMSqT4OShVQ5aZGIJPMat0SXkVfsTJ+4qzF
60y6dSblGpN2zaS9ngOoYXd4Yf2480jFRioei4rmrEXmp4Z2YiY/25Oj7cnTOuRqBflajJ/vvQrc
xip6i4d71ZHFHVUo1yOdq6uULmndXsV2eVG5SIOxKa8Je09Fe3H1PZtkfScyvwFJMI/4CXmk96Ky
ngbeAgYywvTm7FMyww3ZYZMMMUD7lqLAVegoOsPahaSgTX6gBI8TFUHWhPlFwHbFdJTaPhVT7sgr
Wyq4jH//TlBnK1SkuVXh5pSUMyD6J2PgW7iX2VdRmQutrs9mTTBaqIj0rMLSKanpgvR0S4raJ01d
qFh1TL4ahQ8grYpcJ5zL2LnxOp9+T3Kfq2g2Xg/ebkhrT5JWAverJsMtVZgbkWO2QIoEGp5fK/Le
mnlL5brVqpecvzs0/83jMwVwnFWwJGR0KhUdD1SI3KIvLMCWBkbC7bbv2OijmbQdIhwjWoUFJjLk
biqYzhr0MVdRdZ/MemJS8+wePIv5R8Fvn5lBt7mmMwwd/5Qy4TUq8Z5rDQSKuOZ76GYk330TcikW
S7otTH6gYPY5VlbLmbg8vT12uTWEMW7dMBfnqkA8wx+EnoTIhM3JiY/v7O5ezZncg2uFzDjoWULc
Lgf1E+nu9C1R7UaX6771wrOPJJy38nQDsJNTJhJdM0x9XGyC7wkdKuhPuEAtyv5MhIt1T1WNjq6F
zo/xk9jlL2p3URuFRyeMgLV9hioUpCOfqQ9Ic3GUsJoId7Ks+m0v4HIqJD8x3OVWqxlLyZKrTgPO
MUTcLWaPJ56rsIKaOAhpFoUaKOgAwmRtKAwhgkeIFZjQKERBKlhhhFoIFL5A3+4HrUMUdSu0IYNx
0Pjogx2APbgKgDAUCjGCREBGzAqRMBUskTmHDHaCfGS0gCl5DnS+y8PFhrHI09+VQi7ckA1BjQ/T
wOp5bCYd9texhn1MZmaTKohDS+uNrrAO3LqcMXTmkqZcsyfvgLEURGZE9zkm4qJ5st0HFcNPZNm8
qcOGUGAaEvsod3VfdxfrOne/RUmr6jCjfqm4P0sr1DcAzcVq6PunyRDeQtPuc4kepnEYSQjFpYQA
KgmgCosd5OGKXYkUxcJzUe4MRbZIxbhgXaQhC+wFAvCGKuCpVDxMGEevSVszfQKV6blpIcUwthEQ
jQCmwZNK0EjxNQgsDFbjMDct8E2pKJxJ8Thd0n/WADqtInUkyE6v2J1BUTwCnMdVXE+nCB86H8gc
8TK5bxX/4yoSKFZMEJ18M9Fyrk7XU8SQYocoA/FuCHE3luKKSEXxSYE0qhVzFLTGLlEUkgGOlCsu
KedeZStSqQdZChW7FMWviv6+ycCm9YiPYZsH6y6NmjUhN4xDxZJ8yQsHXBxDpUOClpkIJ5D0d1dA
VhXGc5A41T7xeAmjdNC8imCG5SJPo6VURREu3dAY+owFrdmYlk/5J30hi3wosf37H6VCsQYFZfUK
zyqndGsoYCtR6FbVvzDt71ZD9x0rsgvCa4D0ahTyNcN+SRiwGRbMhgmrFBwGKfOWK1wMY+Tj6PCH
ojLHKbjzMNWv4csi+cuANnMVduYpAK2ERCsUkqZhjdjwVqECppmC1qTC12oFsik524INO5YwEDdY
N11Bbwn0G+kfHeHTsqkffUY6kYLkWK3DLcLNgWQ/aL7z2MDTcSxg9A9hxxgzgZWANVOWTwXhmQrH
8xSYh07iPv2gegrao6bnI+Q/TqD5sukLmvfsKMgPMCNjcwf3F1HqF3P4llsC0Beirb/qoeUTm77D
UG1t6MEIipD5L+BFOTEMczBaQhrirSHlO685zpzb7NUe2RyGCk30YBRnVHZemPGWwrjL3CaieyCH
8cp2EbuNuaohHTWv+zPzLekhIN0RFFLARNqwkRmfvcj8MEmUGkn2lemrMfAeCgVU6ka5dLzhZEBa
SoVcZr39UFukUZoESVtCI1BAnzQYv2I1YTY55clNBMXZQXNqdrwKCGt44B/pU9+1byXkp/p/1YTA
IWCPnFi3rflWwYmyseBlazzoPFsjOWx9eNIgu1bQpZ4x3QZh372uWbX+1p77NwMWlZ+kB5lqTPnW
glRtCBDJiLuPSUGnvjW4RS5GTiY1hGvKTapu1fuJmOm9VxhsOZ1NhcVG8LEunGwELzsy6GjhZ0c4
2gye1oSrTeUT37UVV+k+EvWa9iO25N7VGrqr+nl1GgPdLL7yJS8iWdJU9uDD8A4K5p0V1mt3vGuP
AwAJwC9FLz78r6lAYEMhwbWCgyWz9VLhwuNUPdhp90rehG93wxPAuBs2bXvU0MTwxmS21jX8Mevs
91gByVgPHxrvIYdTrsjt1+60scN0m3MsXgyV9RJ1xsa2xAFP27mqOxP5ivY0KgjaGx5iBUVrjsey
RoHSKcT0CDnNVpGcKCh1CVNtwlYLBVmX0NYj1LVU+HUDhw16phwx8lpBaMeQ2oVCtkMFb4/RC7Nn
ssI6WLdjAHjbkN72xaemFfY7nXpjRcpo7fXxTngB1UIGNRMz84HVwO1RdrcAkrzlM6Lp0zmCMI8g
zXELPRkxB28I9BkSnZSNCkltLOLnPqS6C7HuQ65rvr7yFcqewrT7DIFbGHduu1u8o+xtoN+NIlpn
Uf6oPvgtdHyRMvXgmVb0F5TaS+oT6Ht23lJCazVsfaoYe1h7Fu1vA+x9DIPPGza3q0q86grPF9Mf
ulKgk+D2Jy75hY5felEoqH8AJObocYJh3xtQ/5nC/6X/ZDB9ULh5kRmXEcM4dv0P1tfvDTIEXWkE
MJdvneF3jpsnZ+0p8aLWHFw07qhuq33O2Ai6TNmm3OdGaQoYRnzlrf2EGW6tacbexmfAHvPXzFlR
WQ6wHUisB0kVPudYEBILi61AApbNy2Ri0Uq+wsvjq+i3WlE92WG3YklF43T6aQj2wLb5mONciHAv
MIbZzcT7u+SjxsxQY2jIuOo1+oA7zA1GObwPLbn2QJINT5xdkmW3mRWsWbD7DgjWVgkPoIy+bKwQ
IeQ3z5g9kPezYeoUFmCPwCLBn3VRgUOEDTmt7FmwSSMvS0Y8u8XjE/ulb39yL1VgXJo0+UWJwgKG
fJeGFH9hsHAxWZgYLWbMFrVZfkeq3RbjhYX5wuSisjFh2EqJEbEzxZCRYsrIM4OaCLpKY15wO24m
XGCvFm4NC8eGYNhYOtjsohJsgjxrzzJFtMPVxM4xGPWhnXFkZDrjZ56XboCFOqFeZnhiuPRYK83H
zEakIF4a4P9o8YBoimjHCzJRB+PjCenwhfj3XMlD2mVAoT0cRnu0lVxEYhlJD1SJX63JoMzMIvzi
5RNWUj4sPn4SP7jpPr1ZSlsSKYGJ5qu2DCU18XOGVgTefKU7mfCeFEqAElwlNhQi7U+YXtc9lhSn
sCAp8aa0+FNS5VFxHmkf2FvYVYjJAOAbb5bSrmT4V3Q8LNgy+RJKzWLV9EbJczwZN0+rPk0MLgEm
F/oXTj5b1GaeL1nS/KIL9V5kT0AL1Cs6zuvk/vLxwoz4YQo8MbYSxrRNcveX7jw+D9hkhm7T45YZ
muYtRAvidKp+xXsJfyQ0cpEqKc2EnUYyBWctsi2VtkYzOE6ZmGxGjDaRFuwSx4HQbNlskIuJCEoM
HrO4jGU0Tpw4nLd+whmJO8baJqA8DyWwghLpkLmBuMWtUynJTi4fdSXd6R39me3W2cvxZQfOgXcc
hFjpi1S6ngFvz4C/RzB+KPH55Hh9aiX4seSNM+/3xL/38f943oQu52pjBSrSehuYDyMq5maoH20i
6R7HCLYDjMuxyCq5UKwKpEIG1FiHbF3+UV+XJt8HgZUorGg9VJqiWgmL1BfMpP5IiD1aRSHtrkF3
p2r0wGvHzg+jZyMzNm1fvDjLWp/Plh4GC8opeA8JcbFY7pHC3oYwOHxBVr12SqsURt+G0iw5+JYK
o3zowo0TLs1hlRZ0uRIpgdNeJZn3aShlE0Hhu8DhBF+4mpXUyVd6J4nnqQE5QxG/ja1mU+KBavBB
2ZKhiFYz5Oaw01LkyIAZrf550DNA44nHgTJLOf3VwzTlC4xTQ3OdNOc8IWoJKMHDR7aXb33HEHt6
6ueIdvhp5+KwktF7oEaZmK1iDFdMW/c2xitm7iTlnc/Ke2ZFswv89NuX7tlXoqzJhgQUzcfs23cf
k9aAUcvNmeAg2OILGAutoTUP9xbnpmTLCG9JCcmvnG3aymJDDlB/0BOsZ2S45HrmqUWZr0PaVwm+
Ykxf3IMw7Sr5l1QasBEfmLplBvjBbCUKY/tjg5hfbbfF6BWL6gCQ4tG85ZOaOFv0KLWcJw65tvjJ
NP63Ffv/IwKqMweyf75d/4xXrj7aj3/FPC8f2ff//B+7j+Ejiv4a/fzXb/lX9FO35D8IVf6kNE3n
/wQ/dVv8w5C2JGLqSssRpv6/g5+G8Q8eZHgCLUFcxzZc0pr/MmTr7j884VkuKRPh6Pwb/b8S/NRN
BN9/MWRLzzVdi4yNbdjCdaV0/2bIFjZLMhgq41GUsbZLJ3qKtZTcXZzr5yQC30nzOV+UQ37U204+
uzMVYoZXT4cko1Ws1+eXhp7HVernA1MxofMYlOOhpSq2TSrtKDDncjnp9bYneEZSAyCqbNv90JnZ
gokTRQqulp/MpHmKKM8WLRIgiXp3Iix4EH46YP7Tl62nAY0avFzgvdd2fg/9EgzNbtJH+5fL44Ig
uuMsUw/NsesO5i7iEQU7ODg7M2em46E/vc0jTzVh00xVhCOnG7d7qIjTL8ndGJtuAOBum9g9t+w6
58Z+rvJwZXjNY1WMO2n7dHByxD4GHPTGLtjNsTnvPEWG5hRaquC5LuMURMuqlyIiKOLX9FX6Ts90
Xir9Rj/8bjjMY+ulujgma5GVQ7cdNPaV1vRKiL+mn9x5MAiwYtVW0Xr6QocqyTgttin2MYfqutiT
LPlYeA0lbXuV0742rv+HwQ3vEImXbUbT1hZCIg2PkFfit14lQ4Lu1OvAIPUm31EXs4n7gSGLDM5U
zavFNbPW1JaHohj//HQcDZ32pkXi1jCsu2e06GIWb4LHPKo3rcMLX1jJ8tzX9HywmJX7OBd/8FcN
bN3E77j17EvtpJDqIz3EgWip8qLMtoLR5vYd5luycRUMFe/lf7nm/hVp/muE2Tb+7w+ybbM9FZ4Q
nsuy6N8DzBmiJSjMxn7MK8hO4Xc7y+ysdTgSlvQtRn2WTuc3XxefQMxZN19ZJY8QN5WIE0KjufYe
5lCGtw6qrmLLSkN/cDClr5q5N2/VorC94EkvSgy8ZNsOTtk/RAlH4Z9AHL14G+w/0Xbo9EuqJ+W+
pHva01g4jkxxg6FytnhqyexWBGRNymlOvTfoXGWkFRrI4qzZhkyk1rzaRUubsiCnTD6cnvxFA4Pl
zc5Ln3bWPUTq2c/DL1gszhkNH1UvsJHpAbPF+nRvJMEDU1Uq8lg28JOxY85N7GWAL97jf/6G8879
9++4FI66CRH+FFJaUsn3/xIZL12bvlVR5o9OReyWxJZzaBGJADiaZ5PHtedbuM/D4JoycyxxyU3a
bSz7X2QONcpNS/orJzNYlF392+pysqVpn9MFmtUn6j4YFBnnSI/iTUy1JAQMvwQVHghdnY6bctAP
8ThYy9rvKE+JzZses6YLG/cQMZXNZXJIy/6Vk4ILGxndqhA7qohAe2c3e6lpmRwAXJ6NstCPfJfy
k2aYW7fj1JTWTG6CarxZhCZQIxtbfE4o90odrisf4FOiWV/MTvkOg3dKU7o4s24GRXFPDZ1DjOHr
dl0h1l32bvlOKNa92eyrPZtpvJjNr9zuTkNt6DuHm9uEuHib9Xq1pNKxeJmC4STZilqZcNat1NoV
CM2ioyRnE8alQ0QY/7QMCo/m3Yydq0g4wRVk17JQHmJD53BiX1L1IqJPlrcyW1w0JIWyyFnqPbmo
WtXQNrH3Roz3d0E7F+3H/qmUz1lTRI+W7PfAw9QcNDFJMboEwyK8s65wMaDixtWG2FuLLhBoVDik
8dbZtDnWctHUqzjVGAg2rEIA94+lrT8ja72yC6g2gigjoUtiarxCDRuy8ByHVc7fC9nz0rpzZODC
/JuR0KosVXgukZcugIGaBg6b5Ifbnkt67svpSOJsYZaoHwC0iMAG3V6qjLdHZrRPoXQqR3MPVN5Q
pq4THJotaT1y1tuVPcv6aQqQv1vZlgv9q8Wzz4G41xadwaAcK8Jv+s+aXcb73QFgKG1bceZzxYg2
WRn09JwQO7C+JV9NHH1vwI6d2XnnG2bhG5+9+6Zq5uQ6Tg/EYeXN76IcxNJi/4pgqpssing9pzz/
/OLk5aKsuuow8Tcj/5iUuzxDyOhZLRpln33k4P6iSRc5YVcnG720d1wE8Ft5tvImq9lqKGAZtBrj
LuaAz24sSA5mwx7WCMwt9a7slmaHx1MSnMKBp6Phlje2cL/pMBh2//k2wELh324DlhCu4WGnxNdo
eqZhePArf70NGEHv+0HvaHcs6dZiCNmTGHnFjtSJqQa05v3sEdZPKhd7yuCuaqfz6K9ZhpoT7blY
GEbjm0DuPFuLOefyyvL+JYDDXeo83vd9MH7NgbAeo+zAbL3suvFEeJfJTXVwc81mi4IvAD9Le9Ba
og6h2V4qt3wbPcxo1Tx2+8Hik6wFEwWN7WScIBGite1sw6toUe4YQc3am4I6mhZoiWsaBpiGjq/K
zL8pXeuOIdEgJi06+prS74+zAbjBCGBaBvmpChFVFuyxCTX4/P/HKF5bgsmVv6T84ZMmQUanRCGP
dSNXHZmhHRaBAy1/yoPDvR8jN5sp05pOBK3Zp7WasZ64sE5miSe0FUCwMUtEnj0pJZjk9Fa4DrJN
SzkIuyjNOlaTeKGo61dfRp82nQNbg3CcJ+yA/ik0yn2grzuLiqSGwqaQcOwmB3tfO9Iyll6UD4e6
mZdxGQP8cwEfbc/gjbU3+03ktzQq6608DzkZdnfKxDrzJs5l8JDHKODH244xntgxjbkB0LZZ8xM1
omHXeGVybkcbiXRBmq8IBqUbSb6YjNnbarpHmhey6ba0pTC15m7Eojullf1k5ng9i+yk0+tTVGV2
6mYnuP38shv77p9M278BUP92WlAfyr8Uw/ChZYZD9Mq1YbHomnH+/UM7YDnQgrn279QteKRQAu/o
26V3nFujIY9uvJR1ttO0ebz31u949qazpE0arwBth3P1IXxzq+UpKLVIOQWjyVtFRmEg2zLGUwZ8
Ath016YmxlZva1uylg+alU7vbs7Q1CXXdUdIQ+GHJ6KtbJVqrsnWcGD9srRqb+m5db8iED+y2+Re
Zjr1vJmjMT0ZQedhZhn8LX+MTzui8p4Z6Ey2kYlRY5IWoA3YcU8jhXJL3mYBrLDQ3VnOEL7B59Pa
tXjxaLmbcdrtWBVgw2Q7dKJ/qeXKucVMhbGWps7WsRpopk7b/OfbhVTvE3/7xkv1bqPbhjAdw/rb
3SKfKc5kpODcU3tu1ySXxgsB3GDzxoyAoChq462QIeZiSmMHog+eFh6LJupOpaXL5SQpYc2KC13M
2rpSTSZTRA1ll5QvwhfWkRiPtqxl713oWKHoh7KHwtWtS17Tuoky4qhzMiA5G6RIVMp2aRSNsysM
gh54YIBnJzN50hFPpYn7XudhcZh7wjQ5FQAnG4knjRvNIxwYyUuRBhRiY4GBmj785++R7inY7u/f
JEc6us6OAu/Z379JQ1ZTtU3w9s4ZkScmS/BrpD80M3lQgnNiy9d8s404wWNFIbPoGIZxfuiXVa9L
JMfc6jTPyhl/dzT4WiMUiU9wAeotgM8vK9L9HuhHrAMKe/NZeHm3MP2MEto8t/duGfUHuKyzU8Wv
zBblrmhOYdafBO7uDQE5rGgGLgk3QBhvZ97Wa5xPhC3Wjrvi/OQQSahH09uXKBpmt4lOPVlWvXSJ
9AnV4seJcWW42UhzQzxdUslNLol6cdSihjAXzHXhFZKu+Nw9ZQJnO/65bj9Rq7Bwk0scROGbplvg
UNFrr3XgSh2BXsrlzo6t2AXWsU9Cn9jxJrN9zBrCpRwkuJEcyJ71yzjKeL8yGLOE/YCJdNzgW2mX
VaNrS48yikVbWW/2wGU58K6zHoecsZlLWY4s2OoOmU01EkDMkVoIXTCp9Wxtp3FouulyoInTq1HV
U+Z8HuqJNpUwWjWFfcKe1t2jGbF366O8byv7MhfUO8SRCE/4St46s+G20YxLs0g+DZSHH25C/Wrr
YjwhxLXLOBMOHMUxnJhfhPrR2DCUBolc5Rn0N9yB3P48gWSY36ijq040wF+iUrumg+5e64oBGlgI
uRVjRc9zc8Fzua+EZh8KGh0KpwAPJFRtYSwwYkc7lKG9F3kdvJhJZi2QgU8PKM4PtZrnRpN4zVpX
J7+nOsRrMt+jNvHWSb8Ck1a6f+nN2LQaSHzsOre2fM4IE10xOl4Kow03huUhn2i48wTZVrUxHpsx
X2QV+ptBRt6SWvJvR+9w9xV2sCkhoEGnKfWjsSOMtPCEVKPYlA0S9Z9/BKXfOln822RbsJ9GTnFc
Urz2GnSeuB7sT8K3HV8T6f+RdNnQPprmlG3CiXm70wZY4sZAnPnmuv+cmf0/HzHczP5+FXum5HVU
dy2wSAY2f3sjdXOd5u2kr+6WzeFgzLx4xVLaOTRMVC48lO6zza0fP5+8Oon2aITk7oyqKdcpibft
5EMq6rHNiUKpSkyrpupXduvIv2lZ/iCNOH8i0mEb7fwgjDjcRdSPMGwIjWdCpMSmXdskIUlHByPZ
pzZ2SV02PLd/7rNm3WaLKG2GfehP/CSCbri6if/Vu/1dpKb3RB3tpuDHfOkJHC8MPa7psx/rJc9M
FwqpKAkAAR5xwhUrpjMdajU93TRDk6wczWaFqZch1bo2mkbNbxfp4Gxq/OBHbXbdi18VsIZZxYbV
rnK+cJBfrc480k6FjsLzZmiEoHt3ynlPqdD8ZOtVvyZlQvx2NKxlXj70eWsxkCnCZ6inapfQOr5K
tTF+yvxH21P/tZi18+i76d6TtAl3EdqRyufuJpzgodczcfaV8i8T5in2IREHt05IOJqvja2T/JuM
5GRjBdv3pO5XwSRieD3nd6YUMUFHg3wTRnhgoMAWZUHS1RyOujrOBDG72pRiH0w2I1s1jkz3Vp+X
LTOELakjqggsnlxR3u3NhBe6UZ85zUdatUnTfptz2FtgP/IvRlUQcRG2RaA6xqEUUmjdtlp+acaE
ucagvUQ9DWW5X4otxAr3OGrL1h2HjqIwrGNuPAkRVnhGe0JvPpZUZuzWuoMbJCFVUaU22LgrPbqx
saayB7ZrPjpVhUil7JJd6gXkBoL4NYwD9mmjMHE2NRgyAvgLYGreYenqBW+daHMHhWqS34OV6o+F
3RLDLMzgEKFCuCLVQurbUlY3VNlvXV554vofWtFMK7/ligz0Id3TymEyUPSPvsySS+RGB5bE6TMJ
p08GNvq5Uv/UVt7RC+Y7GiwTY69NfU7eJutAl3JjRy8Z1d/XRjRUF4ems0TDl25cXEYLX2QuP0Iv
ubsGnGBS8Potkz9+PXzalWs/xC9YI4ND2BAIGZmdm8VDpH1FbeiSlq3dY5iStgscVlpTb7krXRTu
swR62zJFrAAv02KLCNfCKWu/aJgTgWd4VgL62ug96QMKef6OTUZIR5VT0a9bLtsxj/eBlT+XQUG9
hsjFoRRPPaz5ioRs9O722a6qz7g8CpTClrtpi/ZLN2P3OJHT2TgttsE5iTaBHkYXgePgYQgQBGq9
vQkQ9HN7LacXELO7OhyFYTu/AT/w4Un6fJVZOn597uInxCQJYpr3cswARojw7YyYYL0si5ujnF9a
P6a3UtaPXcvSN/UqjaSxl57njnYxz2c82UcjZzK1ag66+DWPDEvVKVAv5nrZNsuBwvKgDxeWAaeW
6U61HIbeucVWycyh/mJOYVzCoPTYxkQJdREAnJ6T2kS2ZQNloW8i1nFPu5yzER0Q3p4Qj35yZfgc
+622LoNdGrf1rpoGpOBEko42JUOrjvenRadJ/3+xd147rmtZlv0iJuhE80ovynuFXoRQGFIkJdEb
fX0Pxu2u7CqggOr3RiYCceLE0ZUh9157rTnHDB6CUXlSCd1HSaR2K+XeQ5y8XLGGoZk94ztCgvK6
7ic0TtX2mU0fUVs7japcQxW/F28U0S+6hLD0Wd3Bs/U4+eqi20U4QReyMfS+0g7hA/WT9Vc2D5PP
OsvLKYd3GNpDSkgS+p2nMMhLBsNgofy8Sb6ypMs8jPKoCwoRmVM7eumuDPBeZP1qw3UudMV72bUQ
Z8wcOWirqhSzomQEb0n5YFIUgIb+IL9dDkSodVNTokhI60TDuaZ3SykpLm+axa6oPEZsY7dlhmDy
pplrbhYSjMSmW2Y57tQCr1dWRCD+4E+f1OGJJhhdGxJF1jR8BQCX8NCZR9Slz7NB75zUv4mINLup
AvSF+j875f+fLv1PpktU+RyB/nvAyPT7M379p+HSP//i/wyXJOlfooqMmjGSImpMk/4DLAI7jSmS
wviJ/gzyzv+YLqnmv0R65KJumDo2XVn693RJlf5lgnBAa6OMRQtDqf+X6RLzqP9aA40PIfK8mDMx
51KM/4IVgQNaoJO4aktpSNogfb7sjp0TKPRbZuu8Z8AVsxhJ3d+X/F63nhbFpI/oFTbje0Xm0/jt
35ekUpicJsQUNrTi8Lrw5S3EFTmufPn744ueRAZoI/ayTr4HSilACh2/NBFA1jtW7H/++M/PhCfR
dFfQQyn3Ne6PrCC5mS9/38kYG0bZu5HbV/1agM8r8zBPdPa0v2+vBa42ljSWTxTthVZasVASVjXy
pvSJEWgvglNVwBaQA5b4nGjixw/iLQ3scUh3eRjVhOfKUKHzauOxiCsUnH0Pvd0EPKrUDUSmpyai
C9Wn1ZDeTPZclq6iDWNG4uHQxW1IILXkFXK1xofGybB+NqEq6Ki8oyLfMv9uPUHnOUWJcWAWPdUJ
iL+T2zNVZDrYacX8nyo0D1EvPlC+jt9WZcW3MrDYUJF6mvRCGfw9TyHXXuHfdySI61NC//A4v8O/
L9K7iH2xu6/6tnoF93IIIvDAIBmAUvdRWETXe9ATlJDlWutJHDDrz+SezmIOYSzIOr1U0sTJCpvi
S4QEofdT8ul3j8e9wKRMEqlQPENgTs9Q6hAFA2EzyMoAOvbvL9Ekff1ffxyG9zN0nl2y6Q3MTYSS
v7Ai8uUPCvH3nT7Chf++kw1ZCziFWuaIOf575n9f9PGPfz8T3nQ0e5wKqFDxGP09nzpJWi9KfZmZ
6e6NrN5CPgRmADKoXWyUuVRxvLWKgzzZ6andf5ciCgcATvarJo8CfQXaEU+C+m9l3tWPbQHWApLx
z3FeJuwKJEYNAnZhR6PdVOzHsSWRSHYqQnnFVd12Vld5V4223iwdSyTreU5/JQfe++m1iO8utZ5C
HFlK7eO8IDlW75XS79T8+zXx6L6XyEDKkZQyWKjPpTqMW6uzixmNgkq0GsyothQMeCxu4iHOLcpH
lcCjLYpkEC8Uik9IqvpME6dM01BqmmRulQ4dcl2dww8GhKs+Xe0nWdNwQu+BHKkglyW2qH6fuyeS
IU87athBICdK2Aswb9j4lJveuatQavyEsy2todgMUAZleAUIT8GKiBwlWubmLf9maMDbt2r39w1l
F43myK3n9Y5sU94JQhOJCm586AIysZnyYhgDg6z77LXBtFdt+Xn+QVKr+4ko08L/sASiQEZL/kHo
BsOWDDYqTJUezSh0V5sA27cNu0YNK83qW3+4rwmEw1U5/DT4asuv5IH6FZI9A9jpq7DfXyLhCDV5
HBbvbi2jabEepi1+Mo0wMVNkbrXsYyB4IGUQuoVIBJut0s+ea/mgnB5gwiesIejRrSRyqg3mI1JV
8t01fE/x/4nYXMHJRJ7GvbnNjQDYETR3bFPM29E8ZzttDvayPj1v+uF5NN0MU7ylda7ezMzyA7Wr
HqBeFPgUG+wLPpUeB22DFan90mkJE3jm3xfZYItrIDywHQhtNPbKXDhrsc2L4bJVP9Wffj96fWZa
mE9rQPd2S+dDdlBsZt+vyou4Ha5+8vUoLBEmSOI8FrLCShFgBZl1oG8jq9mkr107L479Wr4wFyvP
cOeRs3GxtXMjh/VrQXDMyLVCdIY5BziIO8k8mbSHjCthRm/P0OzoUs7c+1QkjGnPEQ7zBQcqoiqZ
fkERduuNyrTvF16FDfFC5kTg6nYaar/mV7yn6/Cjfivh5PP+bW5Yd4bK1XaRm+eUrKhMD1eyrVpL
xmz0muXrijyb2pZOwGsL2wyhCncPW+MwvXoGHBKR9sLUszlUDW+r+pQ/ob28ssDgenjQwnDj76Ly
Ohryzne7II6kXSBC1U7qnLxxrFLtwnQA2D+cyoWgqaPEO98h5LjZosttZGbEHTvlvuBQABCSNQM1
foDo/+0NR/HtPsGG1OdK+WDtuA4MtK1e++bUmunbSezyTQkVdip/Dm/7xXDUYuvJeDgAUgxSyw/0
hYSjfQP90mxUZYScbKXY4T1H5rRPPOn2+jFZQsmKCwbN6wCxsESVdnIeDpM5jBeWxc6PXHXaQUMl
itGeHO4fb+p97+WPjsxLm3jvab5O6kBqrfLq81nGuCmvS1Gc5vtriN3qWQfZWviCLsbn2wlMwUPu
vee+x4vPnXinQWH18+Z4HYEpDgqwAbyG4Bm8DgyApVWR0NbPJg0mUA7jU27IKx2tPbKylhAiwY3o
pxFZjAkCQgJsI19MghQx34bbe/NYJDcgL+ZXtK2hbKx0DOZv5YeBG4cpK9avVn9+tYekWKSkVOww
b/WCx8Ncc5sczkGY68KlQmgPDZvDX/kl7erzdYFkWh/W6WC1kRMdO9F/vPCCgRoug1eJ9J/uil9L
RxqVorip+pUu/hJr2pCiFNssHveHe1VnGnG82c8DCTRZregtNv0Zzx7JNrxsfffeXduLXP2Mojru
XjKpZd1jWtPi+ue0njBl1B5rHkOlzSX2LqFxLBY6QzRG6TUDcAv+VGXyySDfucTgo0laJwSdKOzf
bMr/CNXxrr3LC2P9F31qszD+isCiWnsGZJsoO0OJITmep1vb70U3ta/nMiRE/M7WNxNpagh4zYI+
+mq1OYbK9DF9QhluMMd7MgJh0ZNfrhSvXyXNX1eqF20H9wKmsE2L4P6YSq9FityCJEtanFMMtzAt
LTrd+B69kergqNVGT3sL5lr6YYZKmGy12RCoS2X1Xl0PRsgVDVRoJpx1RvIsMSnOPNHOzzyF0fBX
kUjl4CzCWkZD0ckSeHABee5PeSebmI5CjsvXbeYi0fUIM/JMtgc4Wd6dcBFCyOpl2pPJvIAkPsyI
vvCOmA75BCffUvylxt5VDvoxk8J6vRy1tI2S8ouuY8TZ7z7DqsCErZqB/sTdB8RbeBIRTRFJpB7p
tmDc/EJyEYzLhd8l+/fLayYLqQ1aFV7LQrtia7Hl3I2yDenEUWOlHBW5urYsRIfxoXATrGIyEalu
LXrxPy8E6wdhrRa+pMG9xitAhxDJr5X83NONjMUao1wPosGnsQJ5lv5pR242Em9GrJA+Crco3ESZ
melR7wJZJl+GGbt1/1JP+cL8eBjWc8NPyZi/zuJZLywNKg3bOBW5w1PayqACrWHe+8ZNPRGWO8+2
A1PqcTmtfwXdKZeROUWg4NeN0/qyY/qK+7zUG8FvN3jA11AEm2m16mbKRxFsNLI6f8pLvxzdcquc
x3i78UwNnjRmIP84Sbd4OOlZJH9oX77wrdvGjPcI5xVuaWyp9x3ep4rkMspVk7PCFENkmx6R+dTE
T9uNzITE6YBS++LN/BBPTXVqO7c8tDiaNw8vgweyGyBujM/Cp2afDH6joRy1shC2J3yXjTrLNsOp
O5UH3v/RaNXM8o2gWai88LL2rv2aVvtuD+WVKzYHE0fSkf3Ols9QP0qH90+M0/8OhmXxPpQhxwBM
VTX3oOxGX806/1S9EobQSH/mGnJExDJ0s4kN2eIE3Al7/ZsLp/Slg1ifEDdMjpLiS2TI1TaHCE08
Ge9dTVHCM/lEbi4dCSsnuqSoMeBtIedOXv7ExiytKx5j6DT1rq01p/ebWGLLCg+Y9pJsYEAVV69q
3CxoRO/VMMbf3jW3aX0NDevD65hTa57yCSIChYr06VbF6vXNPm0Cbn94ypFxU+y/vgno8OtlU09J
fpevqI/tYlUfxNvDeZtnnITwLZ4AqBBc21W1ACh0fXuPjup23W7LbSkvpLvdbpWXb6bT9OPeWWQh
GLNiPch2Y3rFLv3ixWP46RB4IeDljmH0HRZrZq2A3iucEPx7fQkARbiHjPqrFbYCfvUFshyf/1at
p5kOets1SK9FsXUZKvu6TFfXE8+oYSr1vtvPaNW+fDps5IFybDJ/ETBfx+hmO1c3ZNyU952O1/cR
NN8FffXuzDgWxDNjLdpe4URaIaJ/oQi01Hn3hr9MYAQ1Z0yCu1Uqb9XhWEa4awOxWekGUj8ajJeS
Ef59ARRkhmMsqWGUFzBHbUjDkyyKpvnf3/397O9LpPK3JhBQQlMI2spoVs5yhIJKfU2cEsua1ZNN
QLXPcZlhS86Jb/yuAzb5z3cPAY6clYx/g7KeZKasnfXMsCHpjb/YT5T6Gfy3/1rNc+DCWkcdOQn0
hKzfVDgXZdS68pNKcVL96e84Zzbjf1A2OB7DA1+mJvk0D4lEzZbcbPU9ONX1WYbms2Db//tWAZkQ
DhmmW3nN0AOFZ/06QUr9uctQq21xwRGtYnkE+kdf159gsWHahcIfi3Zl9aj+uJOf4yml+yGMe1YG
ijpt9dDIredNwz+OxMFKmOkvRU4SqiV+TNgpbPxljPyrBCGSxWFy0QL+6G0hIc3L50FVbdksMDfZ
8k7bKYtBgvY7EwxvohPcbMm6+/h5noa14NbUoiZqWGp9Nz8ZBKbNYztaNB/yBwckyD7+Y5mAHLZg
OASaZW4GYBae+tEsigunzqhzDbxWb4dG6sMgmNHKn1Z7KuCqfhCGspYu2q6+CYMT/TBP541WP17Y
huBeOHz2Q4GUBlOfJf+038maQ2qebSc3w5lsyAgjnyyNt5Ml7u7+9vSeUwoP5iP5vJ4z6HhzF/4K
5Aqe0wC0liddEuq+D30DaZu3DrDEMvmmKOak1yHO/6h+XpciQsBuJ8Qv6740480jL5bzDv8soveB
/Me05GO5a0G8siHlDobQyVy5yex/m8rnEwHeVyxIL2PO4sQeHzeAkWE9gMUOJps6jFBlWcoS92ZF
0rVu4YDDJCt+A4hB32NirFrVSdAj5B2DC4vaAd6Ciot/xEMxYXCq89XLrzaJ7rUMvCOH/mcnoEe9
aM5VCYvkeQNUy5mqPWF5EDveasH96m1cZf59ft3rNllVU236Fq10cfVKAH7ePVSCkhk7p3q/vuFo
V7HC2YVivwf7GRAVDyDhRlahsKtjbGc20AHb3ArbApPoQs0RgLC/bzk/KzP6KNJMYmHZkfCtWi3E
M5IkOpfRtfpRMQjairBGMasCQ/rOg+xUXjnhU1NZ/AahEBkb+YGYZslRw2imuhGCEQeZaOcXW5Ri
+R0+DE0Yix+Bj1F80thZbM2FOEWA2QfNIVlNXo5+KkKyOcgIXL0u8S7F1QFY8RuF4ubaunpiRwc4
ORHCA95zt73RdEbpGZ+GjqOldnflb5XDNycqweaEz+tgvoUY97qTp2XQn/g0Ch9m72rkvX7IqpUe
EL4+FpxemrEIDO4XNfdMDgIpa/DLg8EnbSnON/nDBbIySrJfTkaje2ITQ4YDfkykDlSJfhcib68f
LE3d0vsfN04gSpwepM0Irt+N2bef+oLjwMP47eE+CItJOWW8aX5R/HE81fx8OjbLJBxzePTdCScU
kkXpGNAjIFPwKP4aD7+dc44UI7u74G9qP3EzxQxk2ScqnoSvFRg5uNY5c3rN5+T2CHQAWTQ96E4m
ni67V9TWhFGfPPHYT3NybdEpUMQEfWwRod5FNqxNZuYtfbDT80PB1/b2G6IXRAdiYn+TSP+ZoaMY
+y2VXV3Gq+hi/NBFQDSI7wcercVtOGp2Y47idAWEM4fvyY2LJD6/yQ8U7OICJw4827B5EJYDDIOG
xLn5YYmLP3KCLlPnlVGrzdp1tWTogomlPeVykJQskjwvmhNTbdNpDl2uZN1dUBnQytAimz7WMDkR
iS7oyP9d8SeDanQZcg+Q37xbEEP9ZvuObMx5xm9F/yvz8DY/LqjmUL4+fCBK++gedguTw7TuVLcr
pgEu9YXSWI/j20GXutJrVHPW+/S4mNthgrEMn44DsSDLNlm6v7IynQAvkCjS4qvqFlU/tllYQrVk
2V/Ze2kORXNco3giJjZJCsxUiekB02ax0LNe3ov5+9SuX2EbXHcDgyEmONZ7Q1sLf4PLp1t+pxtu
kkjZ6RCVGiyGgWJ4IKEecWjCcwck4VQH2eX0QictKIhNPDw2pLIUi7w70vViJ7pO1rFJqeCy5ZQ3
3dWXdNAg8p+4d2skEYt8pa2HNWNioGAmq9K8oljAaxESvozIwxofboOZnM+x6KbDYVwpEjve8clz
ywknIP3G5g4zgRXW4Ga8sWtUg58gBgT0OTSsvLPXIV10a/2CeBGOW+SIP70aNNxy6Uy4NRMnVTwx
DoY4fOQezI3s7vW6BeqoJ3yUKgazNS6MdvoSfv7ebz4Y1RU3LYuA8eGIIpJEH3vrZMY5++rnqyr3
JpJ9J6IIcbDO7DiMXwEm0FJ2JQ6fyFqhhwIQo4Vl/LDVovq9D76QnbVkxg7FKsqFRZ4NQN6Ukee+
28o/NR/zjttNg9nbubTE6d0lAope7woptHP5D6qqI+kWqgOBGwUcw2DFSzK8OPsTh9FwW1vPT2yp
OZOAMwrnx3m4dAvuNBZsIjZB1yoI+KRFlhxQoIGGyKbllPyOgREil9NrygmV90oguFT2Ot19B9y1
AmgUXyUCflzoFc63PHfeb3VXdQH3hfaaZ4SBzpTLpHf1p5PhmnlPi8ZODb/oPeOxargav+8ux2Pc
zZ4UuekD499eG1y9DAbC2CoXSaYIvmqa78bXzMpSuPQ6uRwZ6TPtdx/B5JZRp6jjB35tF3EeRPo6
vSNL5lLgVMm2zWyW9J0rAGObaLoMqDS4lhFPQTvFq7NNzQIDVLjpFmwbZYH511GuKA89c8nya3Wu
dmQKHFNDyTMo7Nx33Y9U7UwDPhCny6V4YFOkKdhwSvp+bapo+vIT7z5Z86EoJ/UQbaKD+j2h/F+2
sxZa9wm3KIYHKwrMlTT2fh3pK1lHiIjs9jXFdcc9ChKTC49Q6sIi0UQ8QOrsEZBzSZy6H2qvgrEt
wyEbaYK5VSO7XEm3oXVpTL5vPW8F5dym3k8whxyBaHQOaWXXTcVCMrajU06LrynmFq/bVgctfHxi
f3e1S0HEe+xxuEcpQ0O/6abSCQnjr1mCLbUlL7YZ6zynQv+FYqTySRP6ZPlVuSwPbJJv1RN3vLHX
Zrx3qx9qcaxJsIXLnMnAQvhkS09DQkBDY5GfJcmKfrWRs+i9jUONVjdBqC76dGxSPkP7GpL28eRH
6thYFWlZNvR0HkvO/BddZ+JGtQeYq8ydAgbHoXOj44M7gAKvY+PzHs8AwMwDGYml/caswKaF3ErE
1O/SB6aPiQNfDvu5/Muqiwru/raFVTQbWYO757eKLMV6lk7PlWDl82FT6+71B0oSK7iW2zl9oCR8
M/zofhRnCJN1sY0CrtYvnuS18Kp6TrM0z1d8yCAipyqlm4/PX+bYfjGOxVJ1+9ndzzxEi9Xbgn+D
mYO8xF+2Zfjr5JYeKL0mM4IDGCfMpdXkvR6I8qRHbisOxfmWNapUAlnyMgZkI6N0LDOu0iwy5mBe
47tXS0Aa5hzt2pt54+YEBdGeuFjkbxmSp25Z1aI7XkPiDbn6D/0JuCQ3lMPb933J9u95uasOLIoJ
/RP6N/s7ZYIrT9WP9808ofcZDmlkPy7sSxN1lTXLePhio6H8v86Vy7VwYm1mfFGdCChPn5jFpvEW
svl9P9nkNHR2qcxTtjIut7m817kmT23Q/GSce8JslS76jXieALCYZogc5s+ZqruknHHcQ0qJlLzG
jE2xP81dcxGtIRDGQe+qK+DjHacaBDGe4nLvzO+uEpjec23OQFdvu7PkG3OYEDmHJWIMx8qhXtES
Z1ARe3wacH9kCimghhxbLemGm6HdsUZW47phZTeptIeWAC0rwqA29pwN0v44jbHyUU3mbln4XOEq
kuj5xCcUinHAXrw7HKahYtPUVwzHeHsGHd7GJtttQE3mwjhH3vNC67NrGus5MxRLgx8rWCmR2C2y
C0devW0jQHI3KIechTWlF0W3IWwokeUA4DAFYu52X1JYhvWl27egdjpHPoPVhmEzVszAMVA+PMHL
WBSmWxh20oUQn+nrwIlvxkBgysFCP4x2h0W2xJ+fiTZ9vjf3SGpVHyKdVhb9KECsxbUjfF6D7tz/
iry8lyUsirNQe81XfYQCZHZBtikgKT4JSrAmR2Mm3mhcTVpXPQlhKfnxtj92pTupPVoXr++EColn
RTdf40AmBrUCMNsjSVuGaUKjqeIDd+EfNrEbkdvOGA8bZ2/L81rkgE875TKJbXFO32fYDe+54uJQ
2xXniI4SIyiKcaLBcMAXtEm2anppeUX3aXe+d/iEPHOwCfyK6c3P6aR/BZVAz6ve8rEVVwsrDo03
q7lahgQCAlWoRUICHc5vqLi/ypGhBwbJR+RPGLFJwX2tvBdS5lRcFnbU2AW0isbPK48osphjMDit
JAABqw9s0A5Gq6ADovK0sifxcjYdxa/ckuwIFgciVBt2uSqP7/+9JJXZ6rfSQOYplYbFXcAZ/r0d
Vtmy1sam1GttfHVlwC9zLsgGDGhuumDVJraTaUb0PXgElnnMFtfFEmUMVjVX9gAKcvNQKrORRIuJ
Cy7hszlObvU8aa0HYsFPkVZyOS6/6e8Lptlv/WFgM4+cEQfiV2E1ixfMWKNfZZ/45r4K8S5x4B8u
6m+P/vZONMU4G2ULiQP0X9xp2LK21xG97zQYxTJIkmEprmEm8IhxE/bn63PWo3yC8sTHRue/wSEU
GmlIcDiEWoLaGNIpdxIpbAm8NPGD4551kG7k/z1hiZg+Q0sl8pEkdwQXGv67OiOTL94M3WzGRKXV
N/4z8uWxjmAmSqxiY6M9LbYqRTn6Y2Z0Z8DCTE0fkffqnQoIM72Z3jE+KY6vSw3tN0rXaRdSEDAv
5OBHmIklfD0/0J89BaI1wqe5mUz8O3y2oNxJpjcYFDBW8gUgYNyyHMK7P2u65yAgRSdlGkyqQ87Q
kKY008+Agwu0eO7FZYLNzRIX0UVmHaO6d2UyDwM+PSpgoKqp85bGZ/AGJb2RXd4cSbZivLNzUA6L
eJVMFlU71YnGowa1WzoxPkv2kpdLZZycqZYfMBWhFbxfATWa+akfHor9PKbfkeZyqT/mYI9c44NO
gG5BTUkvtJkem34eLRmf1ntk+oZOaK7f7jnDM1A0P0qEZjRMklOBApIm1EjvcYWf7sv4YJOTYSmx
IbWBSbFxgfDE9s0Oh9qQxbXddUv157GBH9xP9a+XZhWkEHgDHNrrnOhHzZ+cQVKh3WSH5U5KPWb9
/eBBz69L5zngBkZsy5DKZ3QY752i9JgmMy8jJ1Gy6i82UMUmePvwMlwE3pRpr8UjdcQjPO2VwHIE
tFZ5U9sUHVBMN4GGqTgvzmHcaVzXghUf7l61wzshSi5RY8YziEGx2MU6P7xegY56XqWz7UoJPTsP
rqOUrIfuaCbu9UXtzEJBscFT8ZpbSp/H12jvOIwFudZVt1oMi+eUNJyA1hHXApVd7rQH+rIA+sd8
wJ2+nrCWrqC2UBIeATx51Qk4Ui7gabDbg0xqZELfFhNBjCDGJvChphbbRcf3DlFto1zuCDB5gowh
GGUFBn3yh0vQTDKx78JrnFTpGpQJ7126HYKU+KItNbcKU96pxC7PAKfz5FCMz/X+CXLwal/5vzJS
GdthzcCcgREEE013aFlSbqgMfdU5w9P3kc6Fyxjr3DCmPEhrYQrnap9t2dTNkpmB4CS+8s3AKOE8
WlogLmbZ3WYt3onqKgm7lQZ292rDrjiJp4GzL4X3tPh4+kmIBYCcCUv5pNldX+j/A4MVwFfY8qy8
PN2rK0zrw33Hy1Gdq+Qy5VCm8ZSkeFpuvG74u6t+8QSeNc5TknFCR5A6Fw21XbYv99ya/Z6LjAWP
5IvJTjnj/BBWfWNJUxN3sjxvXx8iLYyjRjNmpLu6ZMtlPTNZW68dxt35z1OZlamLMBkh45stmvee
cucRVENAnG1WM3PxgO1PWF46R0+9VxomxhR7pQRhV582kGWIH1b9d88sA/Sg+7h6WsrVD51wnD9g
6jUaOwMMkJ5GLlCtz1phKS3YWCAbMPri3cOeNb69EwdwUqozj7aUj/LnvnvcAJM/fxgIb3h4rpjx
t8IqBnTDUmfDaJmVPyXkyglbuqXPk0OuWsaWAB1enYJmm8kSra3CYgRImF9L12/Pp8NrrDh/UIad
5Fnj6AtthUzIFmfGltkhJCz9m0hE50ofYqT10VCyJslMm7Wfwxc5LhBnk1/mHNN6WfZWDVo88bvu
GDVLSIwKRVrqPjfRGbspaVkbfaH7BFDuRGpblUGn/24cuMSUGw9mdojUYd/d7icOFdcHqG4HJUTF
8MRtwgn3KZKemzHLIzve5IcMH4EnTFkdiPhJ/PI1Jwbs3QVA4YnXQqrnoGSV9+o6+pG2GBSqLyOz
SZbx+Kc/At3bF20JRz7x32s9Xjs9q0V1EgPlwEhRcF474UPb9h9REkhTeeJj2fqqKFG+G4edgkbc
QYimxD/7zBYP+uCzZFS7MoxxZJ6iHYsCUCiEaBPVzfGJr6KlsegC5gy5Bj8FX4NdePe15Hdf6bpm
+CasG9IsUN0dlA+VIc99l6lOfjBuqK4nNH9mzZ7hCbws3s/SN+7WsOcx6k25EW/qLF2ZvNbSJlGS
Cg89Sn98X0pficZRa0Wjgb7ojiHzBL6pi/pNPsvOYxdfuOyinUiz2TZWjHzywXnMPz85Vqd0GILe
T6nBfvTOqg8FTSGb7EPU7gwxVRa8XXJ479AGPKlqWcFfFtYCAdQNd+cNALdlzn8z3lBznvl4ulk4
0S4wG909rg5jZQa36KZcwLE7zYs31WyskHs2XoQAFhKSAw3LWb18QGYTHD7S5JJzY83uXrnNN+Z0
ssZjuwa0fVMYGHYWspCZHEzWJCrV5/uJWzcOCRDaZMvOYbpI+qKI9/YETEih7Nw40vTpY8qSPQxE
gx6gw6PNQmN+i5MLrTwvojnVl3ap8WoZ336PLduIj5op5duJZ8LEGnifOa6DNTqoQbbVInc++S1I
uqJ9HRBASrIZn/M3vZg4ckEKNRMLeQdCNy5fhDd0HRgi6uF7o4BDW1FipsXeDMXZg+WTraeYc13m
YXYgB0n/1G78rJEsBdyRzYUiQdOnqHLlU7kA30jFdqcicgp53dVuwqRmINUHPZ3Nks0rVCNf4WRb
2LSdgUJyiYj7coPuU2Dkxon6Qbf8k+o9V+AU2UTYSbIP4RRwk/hVzHkkxLKGYouNXR67HRRjHucO
r7ti3gkdOHYmnwT27YlkpfHyhEBtCXS2EWLu6oUQpvtmiopK+5vyc2rcyvN4cLoplXrO0sdTZMfk
gBgHxokRNgDZ50L6oK/701NVzaPjcz5KxCIHYNx1mJqr4hNqbmm96aee0YQwt8ltoMDZXGC7Rz7n
5ubqiiIWPdyxPFccwTuHoEzW7f5cMN2lOxVGRxQdwlzb0BXAvX29sNPt0zQ0NgjLNshcN/VHcRKd
kjo68/JPVmwBixr8PS4fZcUOwk6jhaiG1AIZGo1wwNlANhZRYQ8bqmx9Dcy2R2NPeVxuhn21m6y7
Weln6fSu2jqV7bH0WWBWuAiFmbkn1UFbighI2Jlpf7y/BMJzHUQxswR2P+I1D80jbRaqXuBqiuEP
vumwEpxL3emPzLrLY3I0DxxKoYnd2WwOEccgyi8Xb2J4zq4LsDI6dS0dY35qkoVsMVIdfnG+medk
z4Gh5oOM/IxDk1usy2VCzcGxprBhb75kKmX38V1/clK9t36yNC/XHdhalkSxnNYPJxYDiL/Uk9du
9syXiRhoX9pXKsMvBhNPcarrziQNGKPfz5ypmjP54/3gagyuxBXQruhhp+vuW6yD1y4JnkuFG7Ox
9U9hzU4HAvYRfRRoWBQuLpXzVBeIw7zuwHZv79kG8A7JFwWjVgrTn4L534kagjhCyowXbSwMxV59
iL56Yo2utDlsbh9W6swgYzDocreQbODETXki8p1tkq2poJ0GnbENuMrKF91l5q40r5g1RRZNMHnx
mtW+nV14LCB08IEHlpbW1bRQ/3hIbu53t/tzWlV0AbTZhHiKfjxQ4zVXH+OC/BbGiiYiforNOh43
4Gg3BPUPrPgZ2L9XO84WJvvqlCJRjYL4NSfVd0L3Q3VeSvDKFuAokFGx8uG8eSHi0zm02dLXEMaE
wdr391jCcrqhbxnZVeHG7FUQWTa49Shy+3qlTw3Gpm2gKMhQ5+zTjKW9iAUHr+mwJS1F6cMCEYQW
yg3xleMTfmRn6YpkFJaQQCHaTmEqS2wqDCOoreXx7S9kN13lcD+EGYbw+rW9pyv5sXjkgfJCyI41
1nkLR6Gbdu36CSuSaRczSNI7tbAncSm7DVqoGojFjoNBu4aMx+coQ6QWokjAn1PSDKFkp+yWXePu
sVbycbwTtHpzU/AhVaeYX4knbh0NSxTNw7O6NdfIk5oabSx2MKxCmOstCqNn7kmvz0idYoCdEGSW
HlmY79q0PWi3dv032G/Gaf+/5/x/fwRFgfjlIQn/aAH+fi82orE7UqKH4x/0ZCCLNi6fzp/I8fTv
Z8NVU3FQ6ev2+jCnYG2IiaExllTcCTn5jLb2vtbhPeoaWil8p4MoDrtBmkxh2BmCylnx70d/fym/
oXFUNa3tv59J7yd/bY7/4u/PJnGaRlGYfq2iq38kMpyL/v4tdaPW/u9n5fgXRYrU/u/LUGE9+Pvu
33/x93v//BNDbUA0Cve2dlri8qy/X3pkhsKKNz7Q36/WEWEM90ROQ1jv5Spqpz2UnUr9X+ydSXPr
SHSl/4vXnQ5kYl54QxKcRc16kjYIDU+Y5xm/vj+wbL/qCjvcve+IKgYpSnoUCSTy3nvOd0A4TZ2/
13mx0oqcXT00xdYP2t2EBkjFLRFqgzVtrNyLnpNuuqmD6X70m5YkcT61IiNcy8oj+HXhh6tnD7oh
PpTWt1sCAIy1y3gjSqZDJGKv5nzt/NsxH3XgMUDxy/TVJ6oRdnI6blP0dAmJAru5bYIt+VAUeXQQ
3JxRY4osdoJvg31UUtI4NmVyh0401eOLiJLXrC+GQx+xP8VxwqWPxDvolxGDq6Yb98THbdNo+Ci0
QpHxgCwKt/bkANkjbSXOeY9Mrd82WHU5BmmNDndZqyRZsEwfcEzgR2MW7+jb0mY+CSXcqad3XCHN
Kp3ZcHS9RQwOkjQRsDFKI0aWEfpOE7VFA3HAmzpkjc3AhTCBMzYN2khwAPFspEsWqFMXIwmWV2Zo
ZbnXTEAiUdxteUPytYmhFMl3hfDSrQCARIi8ZiNGTEf0WWCp342GnBleL/U7UWUz8/KSwLW1mu3v
ODM/cpd+BgE7PubtZGPaKBNGB+0LrOkDxre1YTPa63Vi/0CasOAJrXRWlhhyKtbbLERshyBwIkxi
zKEZklM5Rg8w1NoGtVjdUwbEU7AZDTIXTCzya9CPBKmHL1Hd5w9+QehCHKp7Yo/DvygmdljkkIVn
OnFNmh0b83Oc9mYu8OmwBk7FwsM2da8ZkbjLKJ29KOtefS0sD2X2o8UoH/wawbo9pgMmRzJomAX0
mB4iSc+hbqP4AiXR69plrUnzj6jCbSEvcVkhUigcRAtzS0We2O+hbbc75VufbjjfTCqlKeVIlMea
ucVjzJiPvygw6G2q0BovmQnfPy38PRF2bHo51Q623nlFP2IKnWbU3EusQ8ZMUbeKl4oj0ZODpA9Z
HXBEIY5ciOGxk/7UQ1ifIB3czjM9ESfCWh3nnB/+EGroNHCrail7V/udJbD8MbLgO7ZqWmsp17ZE
0qJSHLItPTRVif48O9PRnnXOkpjdgBGTFUwyV1TSQataBkS1YQlPdRaLgUo/zCqj1VXHr3a0ZDT4
aJ3t8lFLKAl6kdNX7pmqavQNg5hLW6y7j50BdlIvE3NTs5TFZWbeSqp/Ndz5HEgbn7hcQ0HXh8+B
OjdF/Z3/DCLpzvDNACIo0nsWO6gWZdECNzKPHVua2A/GnU8w2bpCdFsoA50hHvSxTbUdNmSTC2rR
p8V2Mq2TxRvQV3QPs47DrJ/pggeg5Ag+ROI/1/G5i9ioZA27vrxMMLp+RA30bwzdCBEdGiFGsDdM
ByoIY4goGb6ztGdEGgWvIS5okh/JCCpUsoOy1a2jOpl3qjPybeMQJDSiVA16EDxf9WxEFMDJr3qe
X4zkbiwZTbXMEMdkQvzccQQT/bRKBU2sgsFn5IoNYRLavW1k7W2hKGGS8Uuztbdx5LPGJzt5Yko8
ZNmfTUFtD7dI8dFO+q1j0HIUxgsECa7VVwnQxMAl1hDbZjkaXLN+GDNhvCW0G5XOrBJanArCfpsa
4jiwiVCjxQWncdpj0kfvaUeGHya6k96ENqpIWEsmXNlmDLAl+Esi61Tdu7IlIzdOT6T4BF5csXNo
pa5t+qqot3hUbxUoX5KOgk3iYNX3a/0Rz/XiJKZniBsYdhhwpm0319hv7PA2lxCVNdW91qp7LmrO
k24uvHbUKONt+hNh0ISXrKQANRnazyZwYi2h2U41Zw9lye9lfVPCfxB+wJyiEskRLWIFXDGE2Lch
BHuw3bPPElk4r1pCmxLUKgP8JZY8ntp9Q5afsNJnd1zsClb33jqhj6+f7fBgfaZW9nsiim0H9qQH
Kk4PPvNCy1ZE+SAtUSoLiZOU8rYrkJq7skg2jkG91A20tFRg7eagu4/KJlwivV6MgmiLmoxPmuso
j9IGvqThzJuAoxyl37oJ8PcwcR7y2DqkzrYP0BsCRMvXXI1eNKj/Q/PSFEDUwFn6dshBFcID0id/
JWOd2KApfYlcPdyS9iiPINDQHEM6YYyDxgNkL9rCllMRIGe7dTs20zmDj94SHRJobd3ISayJMvW3
YM1ISWY3apN/SZb5fOhkWHpWk95nZJEBS6E96kDKMBQJfOGMsGEeUsYVk4/QPqXHaE/mFgQzBhF+
yUiFQ7oKKL7bPOCQt+Om30xLm7phI074DSE7WgvPrke7Ikq5smqay+W8xDZN9L5ICWEI0Zq/Uo2m
Qeac51bMnlGhniiGhuAxZ96XZR8fi7Ek0S1IvYJswJWbYe2LA7r8hAB0xM3hPfepwhIyWZigUcIg
PBmQLAQOXUN9go1m1/e6LIkQMTWGhCRXr2ODrkdjUfv1XGFXNoMnaNwTDkTCex3SF5kf4pXoyc+y
mnIX5Ej4SHC6TCM944KUz55ZbMd8P7JJuWHp34Y1RpkEbsEmsM14HzFol2MKIwuBPL7pX9Khuyw4
vr2WhloRTxFFonh208aBMp8x5CSTomoNYsfy+EVUwV6OLMhB1wz04SlGtFxtugDTS97E+Ja4mGS1
DbvQVC+ZcZkIBeZCXu5FRwNz0hIcW23xzTtOye64vyzHHF6nzvny0+xxBAdyybq+OQ3BQR+ZBygr
Gk6mgugAGAMxTEYXqnads5tnH6aP/bzXmOIX8d0YOvYR/PLzwtrhYGVbw+6uHCBT4gJtJiaNMdHq
a9Kl6J2zZ6tBkTKGMF6zjEEWdLJ1bJOi00b0sHQtTVGjyW89MV+KuiIwgnS+cZjOkY/os6d+2Zg9
Ic2lNHZ5gnQhbB5m2z5EFjzSCFGDktWOiFhahQGeHz2w3vVmqKi+Wi+NRppY0DBKc+TQmzGMMTwo
QVK7Qorbjte/ac2gvhRTfSHG820anXBvkU0ykx2eGfdGq+2DiW5SpuBNVXbv9YSqsGlhsm1o6W4c
m/jgR/PRaIa7Ki2iXa6HuzCieyVDVPxkKmBDijrMiksJJOrUIyBHNj2X6ci9BEu+i93RfanJQE1E
7261kiE94XSb3LixRBaTmMp41bQwMmryxxzaL0cjiksL7pBBTyf2d7xh5bOfzc6hOgMOMR5nZeG7
lasSKtJpZnOym1/IrTG2OMBh0cpjGTHMMZZsJjmb5yE0GaZUYiVttEK2qg+RSZd+bFRFnXNXBhmG
2wkrKfwK2yEswSmzcD3PNrqr4WZ0uUoMzH6aypJknaKGHLoXXdfjQ5pmdwgRSEbHcImgvpJ81FE7
6qBMay/H7UuAX2UfJpu4tdEIHso42QQKFD1J4TSwDHJCqvbdJhHwnLmgLF3KFdcsd/34nps3pMye
G6zCnrAdRkATHMXI/hVK87FNCTzpeK28TTFqQtLb2EAmT1PgfEZmb5KZobvbJm8fZNsH58xgKcun
5M1MxO+k5Q016ZO6Zn8IzfKthu7Cnq55zVTEXEMrLpFfwTqi4B44czeZVa/IP+ZdiEwI3SLF0qQ/
apm2AY91C7liWsldFTja1il64uHZOVX5fB7M8NseMh+X46ef0NnxE/L92Ixt87acLrotL0TGGWDZ
UClsDVkiOS5pqnVUvSz+bnWvuUxU2qhoduWi7I2r7uDalViDM686DJvm3NPECNh7NjhEKnN6McYM
s6ITtZiPG+m5ZnWqtMwrGucN9A90lxQCnaR3VOQJSqGG5tsEirXGWvCkMTQbItIZxrhZh/qAbnJI
7J2JMD85Wb2ihFb9ySKVhr6UwmSSZ9yb0M5pgV5vyDAe4RPVXhQh1agJpVz3X8DdSUNryfgO79sK
D/SApSyUE3E+JubQoSdwzZqCeOv7lHqznjz6oQUmo2NWy6dRrDsz8cB5Np7MmBhRRdPPd0CdUnYc
dGHdgROh39VsE206CnQTY8Z4yGFIoVOlImHOAMQiUKOQP3Amuw9Nea5TkE/d0nFDK8jJg8apBKYZ
Dge9ULvQrxkrT2F7T0/hWaQS3wZJ4QR+L9Lgmh7I2L0nXQ5wjSwEdvNi3bTa2Z+Y1mpmhgqSduOE
WNq07i2qoaM070mjwSA4vcRBR4B5TOsghJCUBUB+TU525Xjx8MuUBF6HvkRW6y5+2eYFc/d4Aqwc
rW6NPHdB+MwQUY0ORawZ7nRrvO97SeVds5nxdcLF+8q56Ba910AEN2RMslmWHJzsSxHkNDcc59nG
gQzpT+6nU3c13aj4JEVPaqW64Q+fVw7g0pUYGjzsfXWxtfg90ROQjvCRN13G4lfkqATt5AGCVuX1
eou0ZOL91ZbPHfTpWpf+Sflu+kuzQFiFoj3F7eJTJEZtDVF8oXuJXQqMdhg15i4joewdH6UBlGZN
NEt6My59vqYUlzr87EbzWE9tcoJixdHhGIx16gCXD5JWh7IimHSG1jNu20G3D2H8UMB6YrLRfhFx
8qPXNAeqlqLHZa4+GsTT23j784F3t6Q5s4V0RVxexMBbFBQXVoVra5pGWDJ0HNyk1tHpoke0Kmu4
CQt7W7rmsLQy8HgrRHGR8juPYFkEq7PKD12Nvq4z5pxqm7wyHTW55pfOrkPjQsjuyiwI0677+meJ
tjTdcDpnXQpyEwgPIkbUR4Nr+hvD94dLk4T7vp9vZk0lp9xB9zfO5cnt2mZT1j7aQT/yyDC6h81C
a3RWJ30Z75gGC5ORNS9WSvimpm2s4RfBWdoRIMhLb+iIufqG1CofJRCfZ7g3BBRqCHPMA8Hm6HmH
UapFOz1ByR4ysdVNfA3Ti55aWFG1eVzHJcoqqJ6rgKOeRDZtO+YAJKmCfyHNKLVafc3VI+xP6S2r
vs0HisF03UQXFUV4g/XovkDYUSoUhuVU7Zsk3VREJD9qNQ4RAK3MZL1Upr9SS9/2pP41eCuEHp3Y
Ft7TMZkRWwy7nDRtFsrvENwXoQlUd3k3SM6AbOM3hljVrc54TZFBljuFZ0UuBa3jPuWAd9exxYFq
MywcqOFvFYsN5iz7a44iNCEI3ztQUVtlDW84qFo+xBoAtckfS64MgoJ83IoqZs4h2vB+sj6d4AGL
Q0lPCvpf53r2oN61lmHKsEyPpld7oHJJreZdaZR15bbxjVe/wFuKBeuoteg80i78aDWaQjHMgLiI
QYcObKtihpRNVb1yytFg8iV+Ec14q/VuWEkd4alm5QqZu/apW8PjXDPTaK1LUhPqDhMFOZ9EQEZc
eWhH+d2MVF8VjMqKpY41KeEke7hyCM4C44Qz0AIZU3n258h5JA31ROOCFiHNr0CP5AUe4KYwsVE1
PVLNpBzzx1nXPp1Shp/UNt+mzyktrafcNelq6s0317e3zKL3YrYBu6zboupqso+P5hiM26CK3gzw
gFjEu4ELamRg5gVdTj5Gmp8zFC5Tjm9/iWLRs4rUMzYxNqyGWh+2XLoYTRjwngdiFHPZf/oqhj2H
Urzw2Z1Mfu3juu73oZHK7eiwvOWT/Eh99zmfY/wr6XWxYvjkjxcAqm+ObIbdbGXNuRoNh3mXkBsr
0goEOeRJD8ZuKTPWRQ20ebKM+eS6IK1i9i3FXOfbXvo3LHTxCSSysQrKnOaGI59Kt6I2zEaB1BNT
nNm9cvGK7pOxndam4z46duB6/gzEsamaZyfPN9ZUGZuxqLClFvqj0bL+5dKoN2lQ7myhiR0aVVVi
f4Jgl3Gdo8czsvblo1ZDHYH1ldXGsS5ya2+jPNBTu9uRO+mFDk5O3c9ZhTINPwK7JC0q8MlT6vUh
K4rTGhBLQcyLoIRmHrt7nb3FMSiMrygT7m0Ul3cke3feoPRx62ZUe7OD4yXL2cgT1WrFJrBrbdtP
LTNLN28v+ueA8CRj4SfrKKvQ9iabzG6YOvi/9Dz3nFlHpN8zzwjjjxr6/51DO5qqYVpZvf3iIr7L
sPrheTEmwILiJyfwZbAci8pN3Npd/R3QePOKGq3EUOrzzkWJMZc068nrTr2la19oWbENbDJ0BuBU
+8GfCLoe9ZVvL0mv/sRGrmJzYAsUxb5AgzApVgxJ/wqaoULKOoq13XVvQSBe4sI2N6lFlRyW+aua
5myvzOTk+2DRpwH7od4tIsu23WSwq7lqspAWkmaz3tzVwgHFEGT0OYLQ3DbvneggP0MLU/OAqcOq
4RU0HbCvUDSbXuLl0fK52ZiQmFftTDuCqNZiHUs33ccKAnyleFfFqH1ZoP/1JjPfXBJnYycu32Nr
/NBacVG1deZaezfwyb6UvnkE1ge/MG9QrDScg0vqVkxqHVXx3q/hyAjUDPmZUMIvWIXMwAcW/xZb
FheScUU9wvXZqr7SgHDKSDrIi4Hv5sf/+m441fcwejFUmSZBB65ZxLfXbw8q25kYVC9FRE8wOIV/
jjt0+abl5s/DrLJgIlwf/3X3+uP/5fN/fnzua17Xn8e2w4Rx2Ekx/PBPhngkdF7xcnO9d70huC0/
1j0m1T8Pr/euX7s+++eb//G1fzy8fp8Pbabsv2Tte1OCVdgFnHz0k5K/Zlr+xL/uXr96fTzrI08J
mJdb5RaP1CfF8XrD0YXj9s9jMfv/8dhYfLb4aKJXO5vNfTKDqBVao9YGrcxjmrQzf6UgQNonHbqc
SG8aySV1HKanWU+Me6iF5nEOfWcDHx/JyvKwreZ/fyJZvsW2DCYPQt//+YHrt10fCppCO2sIT9cv
RaZhHEdSUEH1aImBfxluz/X7rs9cb4qs5h+n6HyIIx3jtpVj6CKzwDxen25BcR8K9TUZykQw7Pa4
W8EqbyIoYic2DlC2FlqRXTHMh1gNlrdk+mvE7WMbM6Dp66leW0Amj9cbNbYIIsKintE3zihEoM6A
m/weBVqL3CGrLIpldEq4gBs1E7OwaRgXEnqbABvbw9zMj/ECigLxx+GyPLzeZOSqMam063pfB3Ch
ZY+94fpMH+Ry9vwy/50OdOX//FzahFxQp84iXBBbXHL9DdffXQZiIY+I/sSfE+3+/Ht//SvXX/vX
91yfGlsmKXIALv/nlyf/+cqu33194m+/+799+s9vKJ242bldc/jzvX/7Nwuif6OkPpGg069hZrH8
ORkgBRNcbRi4j4OBcFFJfHb21J4TWs/gpKBn9A75rZmIaF1+JIas9nblL5jk8GATKXoAFVyfRTcw
VUqY4xMM3oe9FxNlIwJ0K1UBygvEysZ3xUdfaz+WEWbHnkj5VZ2y1a/ZuVBxmlTZkAqEZdETY2ap
fCpPN9dHCDAwiMgU2vnMPiDO0m9vaxpv7hMbsOKSDCxpbgWcVmoaYbmJvymDnrjghmF9n9cIP2FQ
ro0RqEEDwyPPfvdBJLy6RAPFXgCkONBoWnQb7PKoi6ziicQIekUhZBDygFc9XbINm27m3SAy0T8a
waEa5aOyydWWWJzHVEOIEBE4yCV431uyXrXwsdeSugywP3IqBz9X0d2lsuBiFvndZZQMljommFJn
TNctavA0cI99MUJMTTBtxQItsTmXM6cWUBwbrTLcjwmhpFOK+q5gtujHt6E/p+uMKOmDI9tvM0gc
b44re6NcuNXh0CE/9RGjwy0PHAwgmu3+IgcEhoYRbYBk4yDqUPQAcbZm8dF1wFTrvPnU7G2Spi2D
RpOJfpLcNcSioAko0VCH+HV91KCK4drJMN9tU/9QSYd5tqGZZkxyb1pox8MCYUBx2yfIDe20+oXL
IFu5DpyTug2CVeXQJ5VJZHIJhGffk8CDPLEYD5VN7RAwg4VKXp/sQVyYE9R9+1Rp7IsllWmbwzCZ
mmjNMPgyJPI8EHuFfqyLvdYpbkSrV9vB9G+FMj7zaunb8nIAcOI9S5VYiZjIujTHGJP4+Y+dRqfU
HzCOB5W4CXN6aFzOYApFBDdaqboEUEZ0jQTwmsAdr0ICM5WBWueJfNVa/beViD25N2uNH72hHcAJ
E853mbAee6se7+g9qoDNWmKiALNM293b8GgqmiFHYWgTrqkkOUiHKih3xcn2HxOjN+8B5v6YChd/
lD4HbFBw1Ofodo23viFwgtjwX+FeBJIyYVbx3kgWXa/VfjEMXAq/QXhORa3XFpj49C71yphVTc/k
zHCFPaueM9JGAtvktrZhjKW8IrG/gr4OXwraW77vlptwiLbVALjNp6+79TPyuZLoQDPzWVWGf6h4
h4SrC1qdhfksi/acZi4aOIdF1MgGbHWGue/10Nm3pX8DN7g+GkbOOlJkR1oCNxomrLHp36q0ftdK
XkFWIoLN/PuykHdNOFL68X73wutNtoJ6N33LxBI3dYRPQDW08ARgekDJNtRCZOCx6b+GEaLqOddg
6oQZm048wG3o3xQzWGqN8wN6hPiiXENRoR1yF4Nv0J0MFHYDxp6mBqnEcr7VB2h8pSBQc4yz6pPQ
3wDgFHm/ugV8z0DfJmntIX5Jmq0Ntf8xa2tUhjFCGd5bBMxtKC7s6QH4SUS3U35q7Si4szuuyQFj
IcMg6GXU5bsTuxpqmBz9pUqeJyPqdk1CGS5D2yRcx/9qaaF10gSJoZB3jR2vq+riu6gtwQfOOu5Z
v+PsHvseWcy0cns6U2aAaKof/K05j8or7XZ46oqBseXwVDWNhrY0/K108gsrmgXb1kTzO0ol2cPz
S5kSo3HpFifi4LrrGs902mQtvJNYeaInQrFTG9WQy1Z3tD7IcKx2OYxKxvgoYcepOOXB0ILOQ02K
kGM3C2F6Q4ypAhpQlqA0toD3HpQOWMgU4S0ZCeSUjAsJgend1o+d9tAG2i05LsmOYdUzmeKYmvp7
8j7ntXLofUylxF6oBcZxcLqvGFIqjbb8e4xBEg41SYplr70IrWp412s8SCakzKqdTprpYGzr7G0f
d7TwC50Gj24vGNAcs0U1Po6tQg9OWjRRE5uZvJ9Ti7gGIHR2s4jMOHLtoidBqZwzr86yM33SW6Fd
BeiR4RWxVVF22PWuA/cPwHBOjlPNB+3O0PeDCDgNWUy0EcY3G/w5RKbxNqFvfxxKBisZ4H81xjqm
4cI9aGPyNiB4tcfxLbUYpmtWfEPkFProCauFpbAwabW+Dkyk8FM/nbs6To/Vdhqy+7SUrKm5+wGQ
m2Z+i8XXql8SR4vQzJSPFkOtfAa3XFlcmTNhf1vLqWopRjhJdq4HTiB6duz25vHTJ1Ng0KYSaA5/
fYzjXWpYsp0MC3IVPkELNiVSXbc6oMvJKoQIUED5ddlxsIDbMWbGBrV87frE7MDGq2zjqWja4OSG
5muUQjaMa0IuuoVgMyw3ckgwUwT5cyjC8BhmtXucjPE1FIAqmlyfjpLdHvISbmphBp6ZISeI0UGd
kiqXh8qdN2rpHvqN2o1LDaDZ1AUVdaTTFHKnLZDP6436z3vXh3+9xOUHmihiMOddv9C3iu3cuLxy
Z5BPIkmB/NiDtnHwlqOL/EXm86nMSRtn+zjTcJqS9ugoh7sM0otVYeX6RroCAEnt7nKYiFn9pgdo
/6WLzvO6pb/eGA6Hglpurg9D4dBBp2DbGG3dHRP/PTC6cf7rRekN+HKvnZr7cDnCE4PrQQs2fwUS
HhjZUkRUCnRJsdxc7/3ja+QkcN20MBjVKqY5uVROQpRsaQO9Q32ZmJeg6yjo8uWz/HPTLBvnLjKD
tcbEeW1UDDv3ciGzXhGppE9Rs+TabmxaWAnLTWybSJmuj6OFxzpXdGPcVN9bok/Q1dt9ieIFMmtW
P/RkTBwsG2KRs9zMKUJe0VbpetCGhVQFLPbYlbjOCG+/Ce2CBcJS6jh1hX683qs1oY7lYBGjqGjF
BgsjtiJPjb2YScnBo+truN6zKHXJR0HCFUYkzVTy2DaOPKJj70OL6MAKmolKEP0GhO0q2pXGdAj1
B8YixTGXTrULYwcoW/M2D+zzqPWyNWODio+w0DZ+ILDs2I1+LJXUj40e15uOayhpPKgPbBK1Vgs6
Gdala+fQAiDepD40BejoVsm0bmoMtdZ7ahnmmHel70c7mdkcTi4lr9dG4mdY6pjrTbfck4OPmH7W
aQz9BybXhvO/qVMaInDt81PeS+xLBCYQexyXLkLcOELhzA391UPRznI3Mh89zsvN9f2/PtRpKaYZ
zRze7gCA3vIZsHP79xt3hKHioBVYzy7RInZKQaRCHVHpsCtISd5XbHjdBST85wC8PpxiPOXFNPub
rnHI5xjeyhJPXT8vWsl4jpttqI2fOvZ41n37MIzl6X9lRt+EBrntFwWMcHYPNHeAbwZceelZA59M
dkXiJR4JSHvtff4OKSBi2oTkHG3gOXruU/UpnooToykNkSpK7WUvCHM5ZkO8xtFkn8Pn+Q282Pd4
y8TCfw6fMrQeO3uCcLrOfoAoLifluKPtyQSxxJfEKGBa6QaRO2zcGZbTY922r/kCHANBsmVRnx/h
SdcDoNdtp+2gOob9XnuYb9uvgocTssGVgRgCxBEzwDfF6SuJcty0r/xTFrM45F/1SnvAjMaQMMMN
jvDGOkefkioGeyoBTxyBtJ/2hTjhnWpjj51zPe5whChjG5pfiGGA1ZSARp/k2z0AKy+6WxJaV9iM
EVo8CTqlYovtPF5AU855+gru1Bl1GuACD38sRIKU0et3yeUsXVuP1rd5UY/iXT/6j/Tj2es12LF0
2LsrPzyzZ2BZUW/xr+nW/x7xhv8aYGC3u+Aso4OBgb9bDyzaFoXk1qg2hGgHyMnPwGfnkqJ7Vbxy
HOCAn5lOMDU6p6f4E8clWdu+J40tfH8DjlKK3gJjL4CHTqyqiBHWGnkcoKjhjp0Y6waSePf+jNpi
N34GxHI8/HbbbTshlT9P+Lydiovh3qj2rv0o0t3fcO13f6U2/T1qTDn/zBpzNELyTMe0yRsDx24u
OZp/z8kkPiBOdYlRk6wHgWTFS37Eqdgnn90xeIBymqJb2Gr+XWRvpmxHW9E+OzfzF0cI+1o0eunC
diHfQG5rn23TQaQLJzUOdqFz8PM7mJ1DCUN1o4udcBUzdvYNO4Xk7xWiCcrAl/kHut8222ZvUDhu
8IDuy5f+niStp/KFBHGsf5v6d3yEWPuafhgYXHb9JT1y7UeHqXHAYqzf67uJicTOvmcxQ2uwRzaD
nRr5NL59HWPTtFPD2thwdqzBvKEsnQ3cUe2LfQOGeaSbfbZ6QlS2v+v+23rKzuB4wx+MCRga7B8c
UOa8tk5UaRuAaW/xJ2JI7Zu+NfLX4ZHBwlPFh47VBlYxz3BWw2sQyPqRkh0wzPpn855DtmX8+IDY
rPqFxMK5FNsLRgm8uvSGU96/I5KoNztik71PP9Hqb8W9/gIFc+t6wW/y1DB267voKV04jerV0b3o
3B20fbgzLvhCjXdCCbFPeVjv23swgAies18FZBFcLyibPOTOmCM5T23cAJ+xt44OxEfRneQMm24X
BMCTrq1/AyaLbI/dwaZdR5s9MEtgn0ywQwyEp24xXpzwKYBT9+QDw0oZstM50yKHLr7QGzhskfFd
pg27jI2o9hAZDvyJwVa/k99Zdqj24wclOC+VC/jOPFZv08l9o67csXPbsjffCxxDmwW0cHkz31ES
ohD1jvHO8f6HI/+fMWbXA99SmjQs23JdtWRP/+3AB2TfoOhSw0U5/QXPUrhZ1hgOr2fbfVWLwnQV
Qet6xzaDsgmj0TOOpGYhfi9a5f/hxSxpS3/PVFtejDQMFM8aqUz2P89CMyaUsHb74RIpeoX832qH
MPcm3iIQbThsuH5s8NnF0DGYg92W7W3AABeb5TP+kej2+nL+f+bF/0XmhSIJgpyI/z7z4ibK899N
0X78Pffi33/q33MvHPdfDUfXNWsJTLBI/CHeYvjdtP/2L8JdYi9cUxkOuybNMV0Ou5zQ3fDf/oXk
C52Qc8vRbMciydThIGmK7vqU/q8GhyhzO9TwptIN4/8l+cIy/89cdZPYL3s50kzkTLrkv3+EI2uT
qTNkJ124H2MSrWAi+Zo2fVMcz/MpTFLmXoh36WpL4SbYt2pmsdNzaWZF/JOK3ih+M20V6bNB7Fbw
0na2kjQg/HjwPyS4zOS3pRBIrIrRJn/KKVzqYWMaIEO2bAjjR1IgoaY0SZK+koUu1YYxtYYUIYnS
GBt7BKpotPit3yqpM7ZGWuz4x6ZzR8j1jqo2udM1xpYNGIyFSh/c4Dw1gWWdFBHhXOZDkT2ZZTdE
x3pwHJtoKz8cdklFKtAqHmYVbeIsSaFLJUzaCvbZaBbt0ujXDPkX5VSXq3He+X2XfAUuRgYinDVM
0GnmgJ7qtBHn6Fz3+ovRmUhl7co0bcjHoQDnJG0rNdXWYmcdgk92K/TGa9KN3Kg9NEnOhZFyKPXl
h0H3Jz0EteCMbpIM7AWZI5aEEZXhfEkStnnIVBhlR0RxQrKxmsbfTuEUf7bstQUQMxpx55LwTfqr
sSP1jPw/l4ZmjuAAHdZo2eItR0EXbwuCXEv6LbpP86iAHFqWNlNVQwCDG7Ug1V8jPdG7ZzuufPuR
QEO7/zZbWT2PHJvfson8eldWQo/JgBILRc1s7aWe19v3jLw2UpetrrhhPw03x56S5y5HbFnR+SBt
zx9gWwlax+QA4xo4NoYJCH2ca0aJTYaYZD2ZqXg24pBwlaGZxXjvFgmYq8RCtUy2WVTiw0x7yggC
kJ0GdAODXdRjbV/cRTEGEq+PMwQ1VcMSuzHwYjDsnlJr2Bp26mcQ5/0+vyPmuBY/Y5AhQ9Ns0aIy
cQONvULcMvVaGUY2I6ZinpoCL0CmFqLvQ1e+nscWTda6iJP4W6POoqmRFzoM0yCc2I9QamNm0Grf
J3k6c80blJyVvq+y0lBbbag7JqmujCP/7FMNTC+uMfjlwaXF1R5r1/EVCta+QrvvldH/Zu3MlhtH
si37K233HWWY3OEw674P4ihqlkKK4QXGGIR5nhz4+l7OqNuVGZkW1d12H5ImKZQiCQIOP+fsvXbv
lagTBl/AvOwZ4MSTMwIRUsm1XZrWsbvYm7VGoyk7SGbVFLdb4v2WrYtI5QH5x6sveipARxHN2Ojh
vm0dcZuwFsG2qOkTOTD/kCGgMkYcthu9etnTa7avlygKvhJbLj8MafA5iGz30ORdeiiZVh6mEPsc
QtuOizXT+5JwYOR2fnBwuhi2hYP9yJ+0DxCLrrVu6eDgeS7lLvBXbMt9S5h43antWg5y62YWIVgT
RssoiZ2XMBmSg5WlJKXTdr3x6axjzmNnpqnZTs3kfpiI99qqehEvk8VXyQyGxy1cdOK2wEOYkYiQ
h+VZ1j6u7Cls6ofW68+jCFdy1BoMXRE+oWCepweEwdGxGitqlHHQW5Js4selBKeoCau9susifa6y
Pj/Pkx/Bl0P466lkOswemaRXZRDmd6hlqEMDCDeFM0J67SwUv3LKjw4R8qcxsyPTgM92WdYWB2LB
EwxFvdPdIlRAG6/gLpUtxcAcQtZdG/y1riedVxlXmrp6BbqHS+4Z4bm8s8ppvbEkrTrEFQAvpEC2
q2OY7IkP+3UtqkO/Oi/LDL+iIVHrsBAkeJUGJTjM0r5e51I+lrQ0NxM5mVtZF/6Dm8uWtANAmSpc
y9ceIcqhEAPl9FxIiK6V/Sp4G1eZK6K7orTLwzwtZIE4XfWcNZmFEc/0YjUq+b6mp5H4FZDOhY//
flHZvHWwrECXp7RuBnKjxxFazxQObIAbtOmikyC4hKjBK8wyQKk6BO21dGZs1/g3dqqgzxARB3Vv
D4X81iiK4aEOOvj8IsVxqqwbTw4Coboie5xI7isPHfDj2or0aRjWFlEYe7cU49nVosggQcNP55mY
XdRW5bhz+V9QonUCLbCR2JaMczeqt8TTUpaYdBOghKNsEFC4voewswEovq6KaDR7vi7oyGNtXiI4
K3W8n2nsbfrQ5T3OlMpuKUhOyGt3o9Nl/pbQ66R/sgog71n4oON4OmVoM9DxoFYigza9jzuGSJXr
LwfWqxBBVgsUomuWY+ehn5R6nEg2m0jGCSpxXNA8ca7OxLS19nSTemI4BKied60U7cHttCLwUmfb
LBvLU7qE6x7RXQRECQJlHWi5Dx1s+pNr8dlh29mkzC/pE4nxQURrh4YqFkwUiZQp3d6/Hnqk1Akj
/A39f3tfadB69iz1fowmGu4MdDYTf2szCLFsmiDH1NeP1ENN1BwHZ5a3o8Wse0DKfEVkOm2GAPN2
XXjkAhReQ8o2VqQoXp1dqpIMR8Ta3Tm9CG6n3AZ2VnK+t81IDhXawkMYxXjoiOdieGFUMkEKiHJh
7Q5HQmgyxxuBlaI2XnosxcrJCA/s8DhH8dxfp1nLxMnmX5taw40dyRteh4hP1ZkCuGd0CsZ+/RzO
TOxKKwro6YJpaiKNf3gG3OMVbYiLStfbqVn0Vg7rcMBSAhFBZJjpY35l0LBZsxmsm7Znb2/F7MOZ
WAJCAYy+LX1OpqZugQPWiqgfjd2kGtBtOYUvMGIy5GJb4F9FgxccMkFKB6Np+DMe5kEcjC4A1FUg
m5gV+nEAJMkU9zt8ATSaGzmekm6gM4yZZR+SUXXLNJuNUxiUnwQbNkZrMNtsa3YeatQP1DDaM2fo
sF/K1L6JCtrVwURAfRZ65HKnBBzQuuMY2jl4cosJrx2t797cTdzU1XIbdPnLWosOHi0jQ+YXsEOT
mYgUTRU6L8LfEqaMid7G3I5GUZPOTbAUWmDvKpQYfTmDNUCBcX6YCj65NSeVhhUYx69NG6kXM5UX
+9OD3YD/RE5JDbZOJMeMJc2cIU52Udkt+8ZjsJzmDap0q+0Y7bDJm9wWCk5kkZLaEzkSj4oeCbqI
TbYCFxWaGzPDUzJwmtq9qv2WliEaF94HSK9uUvO2ydaKNCayPKQDxa+ZNc6faAl2fRda97RicQCi
AMeUM0MtJXMVwxGDtDASIZcd+BQX3dOVx8aXHjRHr2nxQy2T/JKiGd/7Q4DbyMc7Ndro9xBEY+nM
5xwhJHYaL0GanSMxBfyVtdCeGBRPY4LWyUHJpR0YtML8zQDZ8rYbwTjraKT/huoRPbyMgakjWu0D
EA7eqqatPWJCsZiobRX7uZvRt4MXfKI8pQT6g04SRLSwYjpSBCl7FRgbJqz4mCUnnxi55GuC2Hcj
UtuNIrpzO1m9v42FHTOliT72PiwmL3aWA7cLWnX1AjIpcRgUJ8zYdV5HFP+N/zVzsXZWAzynKMqa
ozt59mGssH11zRg99rjVGGXX8zFQOeAVlFloRDOgEFERHWwdFs8zqikaXWC8uCU2x7nzYYT1K7/T
5/ZXJxrdu0l39UHPEv0cHdkr3x3iu0EL9zYSOBSTlWvDDyYCJssMdocO5upNZlHxXrM4fS5Iosaz
hhWtvsPjBMartO0m2UkbM/OJ5q1NiBwn9bUTYvK56gPGbR/iVgwFYe+9Qow32/I6ye01p8VljetN
pyzQL+xRbAjwIaYVYNNIrxcwzujw55r4ujgMo2u3zNtodn92Df67y/TDj/r+XP7o/6f5w9/qxkzy
kuE///xt//N7cge25+H8p2925LQO8Eh+dMvzj34s+F9/5kyb3/y//cf/8ePyVz4szY//9R/n72wq
tqnRvHwb/lRG28L/beDk3bnvz9+I8vzB+fE3/+c/C3AZ/iN0pXL+Wn8H3j+ELaUXiMBzfZff+Ff9
7f5DUQ5SfCs2Vcxi+af/qr8dqnYV0plRngwd35b/L/V38Odmj6+UE9hh4Am8T8qxQxNL+cfOk7dI
K28supTdfF/7zGBgVgRJw61E1RF4AbqXf+hQ/E2b9++eEUW379mBZEnyfnnGovIrf9UO1xTabYDQ
yGZfXUk8EA6rOUrGf9POMj3jP3SzLm+QJwqRgAeu7yvaH398g/FgscFo8oZ5GxQG6K1WsLw1a36W
7fr2+3f2N0+lPOX6tuAJbZ7tz0814aIOEdk1x6XP3/OC+GQrfU+9ncrjr79/JvOif3lTPJOgbxNw
DvzlUxtksvaJ0M0xstgwIAyCEZtAN811+u+On8M5/5fnkk7oqyCkMe84vzTl48Yu0arxrrwcoQcL
6ZvC09coeaNtlkd8IdNVra6dDiJDvbT7gIwYL253uD7ufv+uSVv96yuh8UShSKeIrtWfj28wlYg4
w7k5hmYKkEd3clyel1i/OdbyBr/jufeDHxHRJb9/2ss7/PVoS09KCgKX7uyvDVGLchU7Ws0pZGFD
sIdrN5jgEs3P7aCfKaxT9E+3sDPeMgXUtbbSc+d3+4b7FRJ+RgJayQ84GD78/7ws3xPspAOf4Nhf
LiTZ1aNbJBVbXh//T1yIowx4tsGDRW6r4fto340dTLmBmw6eCHAyNVFLufH3jNOLQjG4rON+ljHd
xf/Tgnz8eWD+OMf5249JBIx3ZGDbLC9//pjWMWOfW8PQscYWKwX2CvYNuKKXmQvc54pA5xW4w+fG
hbPw+6d2fuldm6udBfNfz23+/Q/LmVKhP1lj0ZAN5j3MNtD+MWbKEWtgWJ1+0zbgazvTx1nKr2n6
WnXR8G/Olr9bBP74Cn75VOacaoCg7Oa4JiYrJtBvUmfnlW7VJmNJ+P37ZULw16MdYqRXnJdEFLtu
8MvlWUelUGXdlMfabgDX0xOp8/eZbQEG6AlNcFseWqJGi/R1HBi3LpjONoWanwVk74H6jibicoNd
7H0pmH5EnDueFTKIhrzY228ALfB6TfexPT6j6H+uM1pu9UfNAhem2Vk6BKn0E/Q+JnNVfdvgVZGw
kNeav2N+f5QL/RCmnHN9qBfvZVki6hHiKXtFAup600pO0DznlwRBvojV7qu1I6RPOJwr2Euiic4t
F5Se5mfa1deTC5rKSSBSp8xIvYmmYVjdBQl7YMsHkN0u57nXj2lL/G3MqBVNJB1f76pCwrrm1eMQ
aAZ1CakCZTkyrEvy6xKb+RJ5xBOtb9hLjn7/PR+zc4HSOvdihuvhHrcm29SZsVSYvZeCLZybvZvz
CYU6QJSK95BWT54A2WiWYnNkKGLcTeJCsUMqEWj3mxVMtHem5F0m6cENgrueLioWz/nZ0fI46+lD
MYw7IXr0mvrtsngMUt9QYsFS65CY6aU8OzynT88NKsTyNocMOedleTYbxMUezzNaMADGBMYybxwn
YjCigPNgHvCG1g5qiTLgY6k1s5yS7KiIBcwc/khkjBUhjdXWB2xJHMm6fO/Kfh92yfsQxISSIuz1
lxKZW0LhNjXfaJjRCOKtYoZkSrzab1M63WfhD60a8qnU/Mb29E3h5rgaQtbFJjy1ifPQ1Fi0Ip9X
Eqn1SRP1EXATDtX0TOP/WJaALXKAdSLsw91T3tfcXZr4HAoOQQXuvUq/t5O+wXd+Nk9RrfNzMpsT
DVWoeT4YHl/6DDqCVZy91b4R5kix+bnXjbwPctRt6BYs33rP6/zsZOV5Ml43T7+17YLWmXFwHT/h
cgVf2TnPmWJmbpNu1MZiAK9LFGtZ88exl2wWPGTgEYH2FfXtVNm0cFVy48uCMpftBfrgkejbYd82
KQbYNjtnOTY57o4PMp5+gLuZabrxYXWSxHtYxvUPGGzOowhQzwyVPHFd3V5efUCdhtllejb33azt
4TSeXSTPiE/Oc8k1svi34RAUFGoFrDbXg3lsv5lTeTY3Z8ZC98AQ8ORF5TFz+GxSFtADrUTIE9Ob
12XY7roawXu2vGIc7W59zWvDfz/ycGX2MDLqmn1rk27p1h7YGS97uJyOrYjfM3PhriXnQUe2iOfG
T8GAaDsKTNlklhKVFu/0bd7CgmuF8QsnbNzPb17CfYpxDoqEqGUGvzILr0FSyxC/38Q+ws+BjssQ
IM3y0q/sCS/L1mRu9cnobmYT/93ERAOb2j+jm03ZXG83dWx/g6sypcEThkxG4sH4DIk5eQ9qMJeF
zdI3dDG0n/yVbsLZan2EDcMXkZ6mhWtg4nRx4vysLMp729YHOXLLCpFRcQsnH3Nm8HC4/AJh03E7
c5EF05syb3SweFnMiTjkHk9FS3oXcR/adpZ33ytM6Wq50bgCIEfWAenTAYSjtYPy2aFvz8Pozh45
NuFqYemyjyKcdrqDxFJ5ABzmgnXbCuN0Lzp9pwQYu0W7+FjN1SXrhj+EDXcYsdA1XOm6S8pN5xg2
yOCEu3QwqVVRsY3uVrpstzSdEDwrBcCZLKban9FaQWGxk/nkee11MLCK9o25TdYac77N00obv97S
4sqQ1n6xLLVxh/6uXcx0PMFCFzf+SzKBtLd0Q5IyIGcdT+AAK7/chQUHrnBsgNdcV0XCsZIz4U/F
rLaXE/KyeZFj9m5uB3ZZvItYHi2bQ8MSNwwV4tDB/t5G9kuGRhUGxNMcgUIYSVqap3obSWwWPz+i
Zfg4huVBl/HpcvKP5YzZ/eSNRv+ZckLhsTk7Tr6AaMJTSlb8fmlnFBOc1omeCCJexh90GMOdqOVL
W4XL9RxlFOAeQaYlvpliwRusx6jfe3H32o4ckbhP96otAYibaM7W+SrHXqD7zg2UJkfjMxiIhGkD
MoJBZhZbh1aCSF1or25Qqe9UUHJRNqu7abQk0dWLcXBy+QiL69CPYNgxFAMxs9YwVxpgoesxW5kl
MATALeYo6OHk+DIm9q6SoQUrb3wxKRdhJ+u7qiGFRE1s29Xyo1XDvTuybi3cM6+i6Ye06emXLQfJ
NGWawsPZqnRDD5snm1jM28xruYSJn8lpcF0+u7rgGprWAfPhW9+ND1pzugxAWLZe6J7zZFHb3GYk
OK3t1u0AGCMCRGYV4DS1eHq/BxBCKqrvEz5x2RP5rv4WZqDOVEhLcwEZEubeAA0PGk0tGASIhPoi
mT2k8XTxR7OXjRgfbMYf2iakZ1bkq/KmMr9+rgb5VmkugSQaX9ZqfnLNWi7k/WrTvRc9l2g8e5+Y
YZIPZ5YgMZYYM8jAThpSGAKmVdzbml686UD9KDSXrafs12BG6r9WYKq9lXZqneJ0LWa+4lMptoPS
ty3lwd5vyhOFJuIiP3ah9837YRxvY2Wo9HGFKYZ46yBiqCSzstvRTlq36yLr4xrf9sysucLZGIxc
y9uq1eKWbhVumhd3UNNLBbTed+v+zl3Vt6Wcn5xAzV8zBE9JLk8xA7Mv6N3xnfSDNX/Iav92mjy6
Xo7HeHlOP6l+AtQbZvOtpcQNk+3o4BGx6LbToY2aFAastrehTJvN4MZIZ4tk2XhJ/S0NF8ACbZYf
KnIKUuctxAQkl5T8UV28ptxKYbvsA72210tLpFYIEcZuiRfghCZDRVfpoS8VA9HOwm+fkru8QLut
c3ndJd6d3bsv1cykNvhyqcl9TvuZjN5hJGADW/c+LnWHCeO2SrEhdMJ9FLqrtk5dP+QSj5ggaNs4
fwER0QUuknKXLurNSZf6eshBqGL7g1g6PtoY0w4iaLHP9gT5lUA//LHdjxLnhxyIM6qwXuDFG75b
M0mUFY1I4ED71EtD0inLG3QTZrCTP4f4d0X5pmYUnY3ZMnSaO2puk+nRYCrGtcMEK5rU1mGbJ4Jv
g+b2YeO+3w9zDkW9fug8rOSBCW+xIL+C8rcV+y2mlp98i0n5ErOSWzFOpSymMGm9weC0uP6X0D9O
2ADwNieHwOMJwxZz0dowwE5zbgGTO5JBlaqKwSDnJQbhsOs5v0IjwwRJAoJnG3e5zcy6xiwuBZrU
zBbHRHdAxJb2NnH6U73g6rA7xixLPx1U2D3kM7GZgjYeYW8+6Yg5LWn4V+xjp8+QHcmGWOcJsDNg
XY+M8UqRwMdIirZqA58ySLrjDBuvt2Hc9SS0hzHD3HkUiC5B7nfcYbYMteh6NzagF8tB5MTOD+TB
16lHaxVyUDe+eXY5DIdBtOlOyARyRXDiGsQvZe50lVdTZJIoOEikUJGGkLp2a36I6ROwnIHzqKpn
fDfuYSVULlWxdxxDj7EY6R3aInJcu8ldiG0chslrEWE7Xab+a9FaSBxiEGilm3+piyHcecWnVlYQ
TtwJBCG++nZIGTmThaUG+QEDcLqneoOYkE53culfQ0Xy9sLkA6V0QnRPpLe2y95gHdHiaeJbqopt
uoOhBE4cJZPZUirHnQ7TCMyE8gEasvNWuQQWq4VtusU2WaSY8pamOJsb5s/u0oCUtwblx/4nAx8F
o4RwBNv/OAkk3jU4PWk2BXmwQnteEVNa8DV7l30WxLcr4+uyZzShWZqEh8u2FYMbMTiLCVr7WAzM
UiKqmWwamn1Xzo86BGllB+HBcjSv1OMDmpHYssfbXI7J6qkPdVU/siZ9rBUQebPVHTLKTOUO8PZS
cpMUm7c8Hp4dQMXEzi28785uz2FzMDvlOnLfKpSzvgvfVlb2dEgZTlyl1mfB2sEiiFg4iqvd6omj
+S90edN5l72v8FTZxDP0jQv8awXpSmHFjxqAl9uyHfcuW7uuYqNRQgB1WpUeLWbrMCwSsmApTPdN
ysjGh4E9+SN/n92FGqnvysjaRUnJhcswF+bqrrD4GDNTbI2m1zKao5AotAVjGrwC7foK++NNZJ1B
EeVn1+f4z2tPxUmdZskwO7V8YkNGUmRBRUJYDAe3Lh6DSd+vgXgplbwP6Rw2Pv6pbNhNqr2vsfBf
cWN+E9ynN03awjtqesIH2xdhyhA8VR8au2qPVlsUewdQzVb29Y03VbcW9EXQEkrvorT6vPj3wqW+
DJD75hG1HuVKrChNPXNkrZyHn1uqoXoKMta5iuJrwbmHFDrahCs3VFOWyiH84g5Hi8i/HkzFzzM0
Hnui7cL1JiuLrWKMedWVfNbmZTMSI2PGIdbSoVqY7OLoevaDxB28lajmNzIlbxy04ktahMe84U7t
lNOzV4bzVZk4x9ibn715uUk7NsdjwIFnZ0+Bti/T9N0KQ73LxukZI4tLfFl8isv6TtYjlWk/3ayu
+3b5DMa0JCmkWo/JaF6DWVer2tQWpj62k+WjL5fzWCJBbbp02akIcm0AO+/qUiV7xXrUAcHGgq2W
tGlWr1yHzlRwcpkX4ZJlEJrStpLlndlMcZxYnkyxynjvZhRomkI4CDXxzK57K1uuiV4sT60FLj5Y
brCvQFzx9gtWFosBPdAJfsP8adP/gPXxda5ffdmhGV4KkC3yHtLaY0hLz3PlsR7Vl2aChdk4+tZZ
2ewuQXr2TIk+g6u0o4+X9tvlxTvmntP4nK9uSaMi4yblpO77IKvtXPN/WkjA6HqM13SeTb0LgL3n
hM9TeR+V9FIcfaNK5wmoJIh8T9/BViIxQjxYzPw48q9mwRir5hNCk9xmtQm0I69SyDKXso2pKQta
0d+y0WATTK03whr22pdLN7mNWek68cVSkuaZS3mZ+8uNuS8zXQP9QIz8xDVtivqpZss+Okwrgjq8
9X1UGRKJ9hBBhgc3BnDQI1yBSpgzmP8DXotJ0nJsvblctavpjmGL/d4MCDou57wiyb35eaHtlT5V
Y/8l1xQgZqFtPlbp9B1G1LNZSsynmqzjUdbirGE9Z0QrwryCcYnvD95uV1kPi+fe2WGNTiTlrDAt
iKnn6om1fhbBh3xMvmEOBY1tsVV3Y+7q19HIkrGaYzJFT3rVn8zblJbpKbMoNkBshKKZGVh89qZx
OaKGrNm1ciMBHbbQTKNRMft+vtMld67LbMAbMEhEg+ZdREQkWM761lr9u26K5/aSP0IIe8Llj8SC
4j6prnVLxo0ZYGRwyGBNuafMpuk1YXSWeJ78grrDNHxQ6byDk7U2cuZVJ711zajn4LBJDMypfXlI
meKBHk1LIPitnfZX9gJdsJD3iJ5K+iIMmBhY7BjWP6JVXHaXxkLyoRALM0tXwWefOfFi1C+0kUok
PZzgDkoOF7m72QmMo+MYyU1EEJz9VhYguE3HAy/muerG+6lwAdFMz1KY2pqz0tXlobfkIe1pzulL
+yw7QBUFPKCiu5kI6wVmKmzy4jlzeZu8Rd3NX2ke7tpu3hUj/IjR4Y5WOuUntI93l+thiHw+QvBg
dUpBtViKAB7cHis6sbxFlEkduI81M2z1EfzYUQ34jRgQcPn1wQcvmqgNTakdMQXXkI8wuL1PNTXb
ogt4ApzQprznfg9A+10C1sT0tCL6oSySKr/u5vG5mPVhaVxvh32b/YEDriSBbtuYHbWgC3uptGLT
KiugvSwVFPdhKBG0mfsjA5erS4+0tLjrpjTdKpiIFuVRlrAagE8FpxP6aLhimlMJH4goOCXb1WUh
pXNX4vFP0uZIeUpWq0NcH7fQQztO1KAhQ/N2SV96Cd89u569hBQOvICY1wHuePUTiicAVQM2nai/
dzP+dsvyOmWvGBP7qwn5LaHrxfeqm5z7S+1ZrXKXZgrSq7EdD0H52g3L7ZxhEV6ikZDsoURWIoJz
4JTsGO5jz78H+/d+6dJYFm8aasK2bSR7f1upg0jhTSfc2qBk/bzZsVXMdy1GmFRQGiOfJjgtY3u6
BN+DBCFxaFpyZeRz0mTqh8opeREGc6dMyLEzDbEGrh5OEI5dHha0ndgjQ9N7rLMyAKeVvi9mFtCE
zJASp/roa/k+ap8GIrnZNV2E1EvegQuVC7cQ+Dk02OpP/To8NCbFAJQ4RVQhWFC5vXnxgiESAtil
Zq7wX28u97Zcso0eAvmj7S0yX2hWr6Y15QouzMrLQQTUD3QZrhCLgwvuQQTE4d7q2ZCAHOaeNZZn
mOY0Dfb4Kce7y7XcWy41aoMDy+zmLm+UrdeybYTP2kyRR2e2DM2HjniI1HCCwGI3fYqd9hno1teQ
AeOhaO+cxf4cCbbbDUMAqIFfgrSBR5t4ES0HKCfm2Eif3TXYxrqKi40563VOwDu8FEsVXJUtqsNq
+WxF7FWaIL1fw6c5iMF9JtFw40EI587r4re867mXspR2MEyq8oS8qTz5+tpWDUVBt3yPvOCj5ZOr
QHkOTGs0nCYiPNqw/NS0wyluyj3g2EkTwLmICiJhNW2S9lsDaQuD2ENEii6U+M9rTAQcRLAUvkV/
2/txc13lgYUNKZu2YiluZjd177Q9jS+ECLyWOXmlpdDHHARbY4X7VejnJkysXUD7bpPaFgGUSyNI
a7e6t37dr2D+6ghCbr16LSFzRfZAGMBNSe9h1IRd2KAI8YSSrFFMzT53UWPJEUdOE4+EcrdFT5oA
24Zs1A89rJlbl5ziZErWva2YzGGSnI5xNn/oRk9el4jbZrbblEfnCskpVK1X4ed7URJMAHbwy1CH
pkdKyNQKUXfX2PnHss39wwyJ8tZBVnLwRfVYzUh3NkrYz7Idhz0S9uFU9hIDjXkQq2ivM9AEsauD
0+UBdWxwGj/X1eScOBeI5r48iDo4DdnC9t82Psm48nChL81T0RbydHmQxjopuHLmOK6v+7jhzxfV
Q4EwabeAQDAIom3izPQPEvrFMmGlcWDl0iFktYvy0EWWCiCzL4pvvbHBjqX9uWoYKBTIgXdlAv0C
HX95ujykefQ57JZw53oggRBY//Hh8rOsYeeRtPnXtCYfARr1NUfTPw3l7J8uX/3yrZeM3iEW3Smt
WxJo/VHvZAgR0qoy+/Svh2ZGEu6EDQpzvMPiptVpT1oDXtCo2QlrGo+eZbSfCcQO7PasAh6Ge2LV
yzlR+xkzmQb5vLPx7JbD4p4uD2OSe6cOJ8AVnepk969/yCKeqMjpaDiW52Ac54F2v/vzqzHPvRLI
Hz+ENUeDwsYwObdp+2gEm9wF7Oc+d+znus3ifV7RGkwilEpVFdzmbvrqya699Yeho3BMy6NV2LEh
TT3XMNtLbQPil90t/6zvpUNEjJcX2XUIrZ5GZJVupCLkUFWd9yQcy31KExujWpakuzAEFoeysd/7
7AhYdJawZ/irBk4o8y2N9pawKSRn5js9C2dHh98iYa4CQjnycuJ5aZ5Xr2yeF7xRtMbpU1x+FlCG
DeEoH33C+XK7flrbe5piCwwLw+uri4d0qykNpYEsTXT3Vz/3uRFxnPvRQtp5+VJU+Bd07AIQx99c
0Zs7Xb6azKfwh5/ZEutZ7H9SM8EI+UzM9ewGny07GPY6zAEFV0F8A/xHh6k+Tebh8pWekhcaZ+tV
33AHD3pbn2JZvGcM2nc5Y8PT5UeXBySx//y26TDrBUVT7Fj0imsgalcuPcmTSL7wAp8u4Cu3Rkgv
CujaT+EQTUybeFDL8o3bkY9Ze41eFvdQz92LANUbdfVyVIiXXXMBB+bqHJYQ7Z2f3bZlD2t4iMBA
V8OejvutWBx+4pKky/Vk7wZ9H4xdfiM82uFeF3aA1WJyCgEQX5HrtwxOfOrMJd6nkGbl0AASTW3n
2k+fyjQbT1OOnwkFMatNYRaaOqpJHMA6gHY+Q7Kak/zVILK+sqkpD4V27xM8G4wS3WM07NERq33k
9Tf8rmRDN6GJNn9K2kLss1I9jNlAoFzhALlaNblNq0V0q6y+tS3PvRz8ER7D5HfjqTYvJkbpXlwC
TE628okFVDHBIbXSOHJTH/O+7Z8uX10eIh9M4eWrFE7QvgwVd84RMnSzHAqsUKdEguNY5uSfX11+
JuLXOY7Wa7rHIfc5TXs8SU0oegM32I1g7LlQPIhv6r8sDoc1DbhFL9Njk6SfioT4Iw+pZtJ0C86B
4dXNAz55jNrLQi4RJzONBzCYUaqIVPIIeh6i5hbIK006GV/7lDxVAcIQU8zXSPmHLLjpEf0mtf4S
ts3bKoaPuWbH6BA3NbMvpfJ1s9PisoUHTPsqstlYVsEwrOBM7IoeBsQx+h7+FxsOBfru/nvLpnzo
ivFQxG6zeye76Cp1YIzMsxLXqGDlzgmQkTkEE8ig2dZ5RPRy0H/KBAYEqb5SmFwJrD/0+eOvuo3O
i48uOuifq5gwsXrFkD1C3bSSa/MGbHc+sC8jRoBiyDusOXu9DJcTiwgOdpQXH4YEqa5tQCnxPmVB
7jLN2taGG8cL7ouE1a5DcluQfrnyR+AOvyttYIxQJNOEVqMjyo9xgzmV9JQPbhh/9YLhq1c59L1I
25Xke8Xs4IDiuZu17D6RIHK7eqe1BdZqu8x7JWZ4sZIZby9gVOENf2IVusvtpLu2HMZTQduQ2zE+
um1TbpQmj2Mldxc5ur/zJrT/c8oNbq1JP7Xc6ap70pWYd+xmu9tV0gFnFPWeuTCzL10e3xrJ5LJv
zNtITCFQZB+moCuvECSyoy4u87ooHNxNVh/LqCPchoStgPLp0tHLwvjdtIL0paCy6bDAStsMbnQC
YFFuMjG/dSERDQKWUIbcwh4iCkgPCTDKCou6xc9aGiRB95i38w6A0DkN7RePzSK9Q2pmVWIJBsOq
JvoC4tJCQkow0hYq0uLstsq6Qr4bnn6vt/GNxOxPUrDQpipA1kT6jus5/i/6on5dYx8KbkE+mDiC
LyGW07GTnYNJUTMjCRpCT22WK9Gibi5J4Lm0u0IGaqMLwSvJxK5n102Dgsig0lQGl0MZ02b0FRFO
83UMBBz9AaHYldPf64yA1VFQXI4R9XYjUIws79LjJBiB2W7t4JjWgsgKuj2QdJx9336Wyj1rkVkb
azatg2JPPA7uePC55UiCIDKW3x8U5xf3sq/MQUFD6gS4ONE//qrLi92YBCkOSlc6byNyoi6nZDUv
KdXqzgnw9hzjsAOXNart75/b/ZvndmxwJb7vIIAK7V/co70/CbxqTXFszMS7jKi/eCInIfIU6YMr
7mt3eZaoRRbtvKnAvQ5nIhuowhiLPkdhTN62j8sZXcsyDnddEV5rn5bP71+l/IsoLLTJdhIhSWmh
5zE0/LMsrep0BRQ257RRvMpkoEBUwGiuWIYpJhfTXqsgkuGpCGElo6tCMtbO+bsRc6Qpn2JZMR0Z
yU2pqYjRGpw9U8upAvVnUFfnrCvPBa1Czom977Ipi7PkC4RQNrePFwlibJu63bQDh9a/bz9lSxBc
6f/N3pnsVo6kWfpVErVnwDgZjYta1J1HjVdyuTaEfOI8GWc+fX9URGZnRSYq0EBvGuhNLFzuCune
S7N/OOc70P5+12nQJvxiESw3HpHZVk8jb6VZtU+4cLH1nNPlp1R2ZKHfZxU3akDkCalO+CXXuds/
TXn0EzTr/VdfZk9Lw8ac50Pq4SnTDdFa4xdrGTLGsj66BfVt9FHOrB61PT1nY3T4n19r0/4XcSwv
tmtaIOQ9T8h/EaxWY1waOA7SQyxTd+0LZ4tGle530Zvo5SRzFoz7QKoDM5p+lRYTCGxAcXdm7+zk
KEquAybKCjw0PRWYQ9TkwwGg2j5bbu5pYJ6DO9PLT1HI/ASr/JMTsACuzPIyNz5hqWL+lc8GeeGo
Unaynnafw+YwYmJh413Jo4+wMRDCLYTDmLduWSgWMUOyZODs1/QoAo3Kyl4yTSwGonZiHSqP6Rtj
hlIzbiMTA7xt+zBELKZSk7iZvMzevJmOmJ32R25VCIXmbl1NnDw68N6z1qMqXL4eZfznc9/aGT+z
ZKh2zBwMwGzbpGi/5/7nuD7PLSoFe5sN8T4SxUdnMW7M8VBgJmTlRWZCEfYkN9veshoB1jXg26PQ
Y17FxMdhNJdaQC0ZcqFh4Ld2/fbpc9ZeGeUdgPxjVBk/SZ7KmF2GILQD96vZU+4FDoTXJKXBEujK
yAxCyAK+pwB+ZOQWke1JXS35EODJEqLQPuChTacB2RSoUvfV5YtsCIA0D9+cIQIlhA/L6a525R2r
RSQgY1YN2gfRoY33MOc5X37U+hiW0U9jGJ+6tOzvJwkszewEYoBufLXBaE5jXbHjavUpK5uXv/i4
/psbBRe9BK4pIYW6iwfgnxWrUPaDxDGa9GAvv/JyG3j8GTWc/4N4gMIjACWKmC6xfF4F5bK8WxZm
5aKkcxYNQ91mf6Hf/VfFt2/7XBIuzxHWT8v604/UTnKQVWzGBxhuX6s8eaB8Pi6j72zAbaMnwlV4
Hcuhf12kV7nKPgCefbGV+xevzb853G0fvbWFRcJBEvln6XkXd30gizI+tNFYobzhqepWIgEugrKF
gGvf+q5p1frZ/S41+xd8fddmmW/IRT+GnmLdQHna5IG6iS6+WU40bZmEkT1ejX+hxPX/RSbvO4Iz
B4W8b5q282cdLgW2wxp8iA5jmpCXwhYdZcVG9A14lcBaltm09XMmvS0hafa5EGdSQoaTJxy9tfiH
DKgvUxoP2y5W+Rb9BHSXZRpF6BRHL8BR5qz2SjQI88rOf4XIiOBBDDnNY1EaqwrC63FIx5d8SgjV
nlHFWjnMmQCmrG+4/qtPL2SJJ0s/A2PT28+ZeLiw+Sc9H6wUgp6C0d8PDNayL5XbpmDpi25bdXG0
47FYtygrXyTJQTL372Q0zVcfNGE8sbcw7CUjsJKnRPPY2CQBgME15x35b1901ZB5g3yXT7B4g2N/
9YAoLzPHT6lowUxN+cYtYoEruCMiK3roJQfyXBTYstFGhXZOyrdtHH3hPhRd+MstRbeXBOgmmcau
phhol2MClw/Qv5zrS+1X1VM2FTSnKadVPrXjQcfxz3aIy9+rj//bpqfN83/d/var1H+7Pu9u/93q
9Glf+t8+qP+X7FHQP7D2/MMYsBiw/jBWLQ6v//yPu5/D304/dfNz+m/eqN//2R/eKBxQvmCt6zsw
M10fJ9Q/4CSe+5uLssahnsQZtXzh72gS8zf86FijOKA4FOyl3PzDGmWrxWpFdc5XhGMKDoy/+8P+
8C1gLfvdL/ZvfAym5f35cOYzRdnGI60UXzT/XLdZNXmPNuX3oRlHaofJuBLICvPGRySQaD2AWMI9
yTiq3dZ5dDO05NGPcwI98xYwclDfQm6+LgSvnHCvXbjIoHVBgkexkDWoShcnf4aoviFLkexB+e6A
AjiTT3eny9HdmRMNIOPyoymaFEajrPb2G0WCPvsNa84yJ7GlzLsYaU6f7xzkjxvbmhLOEmqr+iMw
k29alcljs+w0nMa7I3J0uJQ6RY1bl0zg/PqcNeQ7NeSWrLPEANo0GM4eB8WDQiZ3p/rspiqSQd2+
2esxbI4he0JDiFeObcLkUj8GQzr9QjqMUnHd1TgdrWpEuWEw9Vx8KTV6yX045vd97Ae3rnC+G0Py
XtucR6VQ/QPqsg3jdjRbGUmVVLlzN6UnL6W1ElacrK86Zy/CRX9FUBFvGoGuCSLlvErHEq1OGRpH
7RQ3RJHernYIQCBkCY15PW8Qq+V7HQ4vU6fzQzHs2QERXTgsTZvkwIXAUWwmIhfWZSlOvRG+hSBK
V432b2xk0YR6N2aYRIEPTE1ZEZ2ono0CkZ6sEB50jsfhbPpMPGcy7Pvg9jlqoOeqtgWT98S0Gi5L
7LwRLtTe9/ljXkTU/WiVSA3oYf1b7068YPRItuum5NAOKMO6mtlB0y721wxXakI/7Y35zquYY2RB
es5s+ZVpZLGnWYbdUT6VYpGV5JgsGt2jFgnpnXP0GnL5F0AOjG0SIKtUqG1XfsKf5SMs09ZtHlrA
bsLi5dA+m4dmNGKUL+Fm1q/CGHlTouPU8nNCglSbEQXa3LFMj1geunO2VYlnr+bJ088tI50hDq7m
7MmLStvLMJhEZE/WsJncgNBvs/fZjA0nKx23xugV+6nn5e3BIXvjk6+13CXTIk2HlKd8ZC7ENm3n
gUej4kMXm/aFPWC8tQMgmajFO9Yh0fxqjXzUtAPhwq/HHSwO4Agr0c6KYTuimRBNIvZweI1I4ELy
OXYEw08Fkj/HM4kK5eLADA4lf7BZ1RObXMz3JR64c1bHcDDa7A7ZCvFhjbcaRrNhlVcnq5oJyjbq
h29SvlWJ2T93xhfXJGOXN5UIvM7gTSW0MtGJuowtL1I6R29dkxgne5hZQUyhPDooLwnvKgFhWkTk
AqL1wkbux3goDmPJWyDrAva/qZ9DPgrEqIOVE63amUGiH4mLXOfa7Pcybx9JFLWAusMGGx1m3V7e
ztcsQyQYSbGhS6jYchnoN0YEwaRUMQ219z5K0qHiw5NvnZ5RD0u9mba9uhjMztgKgdCzIRVMuY7R
YUo0xwSfsGmiXHw3W/dR2xwksc5gfqBb5Ufx1iH4EoNWQxXNs7LDFSFUTMS8PtviEydShbd0Q9ny
E/u3j24FlPfg8tdaa3B3KXKofeBVwG2GWxbSfFIq9KuAjENQkETUjehNSrMv9oihHrFQl4xZFn5P
nn2LAY6uqXZ+lGGarJ2wviFeIkbOBb0+C95eYAqwy+YMhDoJkcSFjsbOxc9jmN3B+RWqMt4FA+8z
IBJQ0OZp9rS5cmM/u0wtCODKi9Id6drPWQZQCm4E/Art2ESMqldDDnxEoc4+pgTjDqTmifQlnFkF
kxd2tPO+XUIUxLbw8AmUP1VZHOAnuWdLoPiO4m/GmFOkRtkBoap1RLjIvLZMv+nG2MYD3VQf24x2
6CBFSza1S3G3hnR9X7Z1vHaigOeUJLeN2yl4jiOJCV6+lctfGkMITGNRHMKZ0knVmU/Ijsmen8xy
d0icbXLAUFW8W7a1hKt0C3q6dpg75jfVFfNusKeLb/NRKMqtcSwY73HGkf6jvbq7pqZ/p3BLrQZa
lg26zGDXFR44v3hIELc2zWaIw58JXuKuWw7V+EcYkc1dQbk2DAiehlluGzW128KgpBskbvVmdPZt
T+JRGi4jP6NgD1+Gd6mwgfIWzN3JYMcvaKCXKlFGzoX82lRCXmqzIcY8D2kK7EDcjXHNjD9vtjpH
y0EDh8o2Zn3S2T1rW6utH+Dtr5siMw6hrh5Tz6nuvd6IL0UGGrKhsV1ZZLj7s/c4dowxoU4ZUELq
U27q9FE3lUcM9KLdMuo9yvXgsW+nO99O6jM4kHQHMZYsDfsUGlZwnehVUD9Yv2YrcS+481z2n8tm
Pa7xTDSFPs0pR1PL4wl8hQFojEO4Vt25KcevIvSnHciN5WNwIHUcAANwVMQ36dpZ7q1OFTv4x3fO
NLZbI+DvTTVnnQeFGLkj+uO7SHYw30fBcjP6xm3fr5Pl2415/zzqj14wwCVVgGFvT+bjLOp012kQ
V14ZP/mIDU5hdyViWu8pzfiF4+ilqXW0y9u8W4fCgLu4PIxzF636ihwqPQRbJMnjxlXhFoTZfHB6
xE7JCKJyNL9mVujvZebfIX6dsJO9Wo3hAR4SDVLnfF1qjhrBt+VTjMwhHhFfi/lgyuC7cpjKFZOK
1/agllQ6cjRMxzv4vJ7Y2Fg02H381C5aG7t79kZvj/kKPcgQt2zx3Y/ZUjeuoR7d8qKIUUO86To2
oMopCG1P4b6nNQPuuhhAmjfmLy5mxzSnO6yrxk7L7i5PTGzcbPSAQ1gr8n2/2nbLB4PTNmUP0mAj
2TmKYM95Mr+Rr/mldHzID5SFy1WGzqUlpHhEMEGB5A5kSozc5t4SAOpBtSpsGZzMyGFv3RYbAgcr
1pvGLk5QVQuIWsmIZryLbr7T3NkTHdjgT/xivLjrNJgQ5JXkG2SV86UylgWDUbKVUUTGjOqe3YO+
libx7ZF1EhFhohxy1CZQjDkYoLpYHRYd4tihOGtjE03izF3ITgBpEdIVWV6MSfKGdsO4FtgDt4x/
hyOXIrmPZYyEvbECNC2T/zQpslhn51lWQf9guslON4l6yovnskWWIq2YgBCTSN2hIj66cy8ld3PO
3fhUzDYvUdr6By0y1t9o7UXio3X04ofKqdmdpTMnarhWjsbyIgPUCcr2L2lt/0iCYn5Oy8s0NuK5
G8luCvvb538GfEfTOCV3g9f0N2csWOJNYX8IwjoDq2HN0IgDsa9ImmUdQ6iu5Du1TlU8GgYXfekQ
+yldkzMQwkuFDOkYVFBSp1JwabvBjSuR2VUQiF3YRzXUoNG7idDyjqnDNEQlbDWKufWOdmC5V9KD
vsrRRcxeTMYWOJH5RK1MbnPu3oQ7uTeIeTvBhP/x9z9iM8CHXBTnCembG7XOLQ15OJDI9YcyKgSs
ntra472a0KF31q6L2vHFNHh8zSxI0GfwK0Sj892dohQ0CG+u1TIUqL8zR3I31shgpBCYXMJKxnd+
bp3A/SbsqompOcUEmfK4pjHSj3TThWQ39uxeCnFUXjlvDd631aVWkXqiqWfqJPuXLMu8VWlrbCIV
aXKW8zh5KRlkQ7A2ZuNUDToh+sAMD40rp/U8tDc4lHgWmuZVjkw2dHqUBSa3oQNWPHdVsAmK+DUL
J31wLGbNuVEzSGHDtRuGDFtAaX5BlsLAawAeZtEBBF35JtOAWDObqyTqrUNr7fU8Qd/RgBW7el/6
54KQvJFbCwtX8YI+ZtynIGQBk6Mhlnti+NCCUC5gS7S6OxqOxyLsdrnJNLH2e6wSXHbwshDTY5ZL
KhIQolgREsaMbtX23i0fEQUNsfZgOpXE8eXhTuOYOdWW+S3joIC+1LLksTFtZtI5M0Ml1wY8NUY3
hpj4lRWvCCymiRTYtxgzEXp4XBwcrPUWzSNcRakQAXYtHh7WGmLsfyTvjZzzR2oRpl58mBW7O9e+
MVhszh6R25t2qVCILrto9pVF7tckQiBuitxvFOft1pl9wVsNGN8fvjVpZT9y3Jx1jU0stQYbeQVU
Sd8M9YVuCtkuS0XWYIfegJGcS/pKL/2VRwOZPZJHQNbps0isveVOR0VtgmHBXYIR1U9G8zch6Cbz
ZrQ2TV0dlKF2Bs6lMRY5CeM8ukSOx5E9rZw3mFVXO4ybfS/Ji2kbfYQBSLgDVdwGlM6zG5lvquId
ydNUbntA3bYKgVb14bWYR8rFPnsOyv5i6OBdSZqVeGye+yKAFDi1P0Lu3XkAgdSC6Fz3nvWmahpU
EsjC7TxWE+SMiF1B771PVU8Xi6bqSMoYsDgnfJAGhi0/y4e1alO5xohUr0WmUFFRSPDbhc2qtpLu
Es/9JhwM79ioXRaG9lNNbcI1CLV5QMeKefMXi9+d1cxYrmKQPGRlbyoSkL3B3cNkg+iprPGQSKeH
w1Q3G1NydQcsXlZ5W4gVIUmLaJSRH5oobzv4Q772u+AlXcRnfaqPgEAXLtXgnzWUS7+LKipKY7r1
swJlaKPH9z3zECDRHiqftNQQyrSZt/dD6XxVFjLPOLLunLL0DmkZ3hNhbhybpr0GAp+ilMDfHAwZ
6xa41/0wy3scapDCzfKD8uB76kE6wGQcMVknvWE+eOSxCq+5hcwzkfZjpB4cZG1Z2hHm7iJWmB3j
1S1cA7Mr1eVYc1zEFgkwRc5a10F7sU7IOkpSk0OyyayNEQI7RpaV7s0Ujp400ccnXutdEfdfmzlO
cUt/k17Xnp2IeX+tTkgwKBssGd0VFtlaVIf10Y85H7qaoPBu6MYNo6UFa0VJrWrjUFpUeWlL5nh9
jbiPjnwi4XdEiHwNz94wnD52ZHuxp8PxNOEA2Yad/2I6NgR21/hZJNU3iKHpkQNYrtl3TRDrqcKG
dkkwSXpyJX1xc+vvCu4TkbhdccA3vZEzCkyj4ocToOTLRmrsP0QY08g4s8HDNIuvVmECZPDZg7iD
be1wkpfE71A1kmDOINlpHkJ8netaZ1+JIK7wFK5xl7F4CjeWepq6BhqZ8MptphWyywiFh4hwrZQB
Qtu5aRfO507OoT6NpLXWxE1ODW4EjnKqMFNAUYLubOlN3A/tpnZo8LIGr5AfhdQpRbgqG/Oa1pn5
eLcEONK4vnJz/eonfgU/9R9rGxlMIthtNTzc2OgZUQ3MqUZVHJrSt7ftkIu1IZznXAfh2nMoyWcR
QVofv7D+RDrUjnvTZIKm24KCYf7pWOAbYhm/BxTghVH4e8qRj74tG6y8XOyPSRm8sx5tV6pgsWZn
NBNuozg1Zuc7UGE2551GUoB/RkTfHDOHvKiQghFD36xVOWZbG1fv3FIa0vptyzxkpdfdu1733Ory
LLMxOYAxxW/lNO02N90H0Kw87ekiu66T17ihl+koDVbkYAcnN82BLnjvsyf01/S+AB+EjFejYJZo
I2fje9QylmrCd7YK4Rosa4HbstyYQxVuIeM9eAWOwt5medDTvUpL0hyEyYztuKAtYZy1XRSJxeiy
vGS5B3ORosmG3TaQ74cXCjtSRMtsCUYxE67PQpITly9SduZrjNGq4Da5s7MGlvrls4sjSB1Pvn0X
cJnt53DqNm67yRxe589WAmsm35WKMapfWi3GHeBMfzuE4ymaHweLsY1RIsRulsihZTHZkOkCWQ7Z
nlfqvdNCrF3qfkwxfIpq8rDbmqjUlsd32XQuch0xs9fKGdWAG67gmrD5Crn6yfwFtoe2vj82LYg3
o6e9H+CkRfTIhUVCmsqPXvYMr+dNT1GJT42WmOwYZmEWxDsq8YmcrjWc4fAw5/LZb1PM90OP8SGr
MRk59W0igfbcJflDMBH4hkgKCVcDJjaugvuMxunal2TWhEH4fQBiSuZk9uzgxzlbSfLYyuHS9ZF1
0Q3uPsJgzC1TEjB0I0MXH2/0U27HX7qa9PWl1cia6twgkDiXEp3jVNbDrjO7UxBUuMlyE+JGNT7H
s9oOfEaaxC8u4UTcnzLd8+dY/v9vMRZU3F9B3lgloOH5H7YYJTz0v60/NODdgkXq7+i444///I+F
iss//fsmw/3NYVHpOZ/4IQvQ+j82Gcr5Dc6ZdARUfQm1amG5/bHLsOVvbHyJrHGVsC3LWoQjf99l
2L/xV0210K7g8aM3+j/ZZdimtYCH/lm65JvgP2BFuRKau7C9ZYH5T2gkLx3rnKVDcoiF6+zlWL24
aoJ2mGCArqzukWV+9IgS/FTw6O1Fy17eroT9VHQ52282ryc3Jwp5KORTZdT+dmbTuou5pC4IZ6PV
MDvuA8onFVb9g+wAPIaUbmjYFZEPQ35puqr6Yuurj84ljcX8HnQodgt/qLEPFNWZACRSGJJmAl9q
eo/kUTGGdIP8GfLhJkVyuJ7MwH5SkG92rWVaZxcj/ln2bbcza9YuVsQxUo3kp5WYeL4DZLhGysSb
mssM0azMDvMY5Pse+86b0Jow9Hj8GqtqZdStu6101u6TXJb45CwSiCOPMV5WnoBJdC/jRNsQGVN1
7SCwvmBp71YlveGmUgAhpDCjF5wKG8BA+yyf8zMo4btpfpwAbR8xb34gXCo2CSNYsybBJI9ddUnk
HO1Bh9HfbKuyNe9sjgafy3nryWhTzzlC2/zS4y45N4G1CXixXkVL7HUl7WPiz7dS5th9XApWKR3E
C2pblvzvBImjG8bklDIZUryaAUhEv7OgcroUsoVnPQ8eopMQT2ghzGZnOE25N8pLAtL+VZyTR5Rv
xUPYjW+E3A+7fMx6aEEEhE+6Kw+ME4ew3zUDSzDooYdx7M0HZ+yfPg06hEgSvpNn0d7nV4Dph1/D
XVVpvW1LA/GfpvSfWoUs2othr5I1+xpw1ThoVh8MpTnxavJGKucHz1F9SOHMHrxJinsWR+BLSvvW
pIypt7Dckd4398pCLOO5C8Wc2ecCCBj3FS7jncubs2t9wkjE1O9wMerjJ8whTFKDEhP7pMEdx+y1
jKi93OhsDsavshHfKkNMhyms7UcBlL4PbMYkhX9xO786jnzTNQIgChYhw5NtdTEzmzpbrmZjZwSJ
v2/l4r/vffuBBCbcxz2WNbLs37UtFjw+//Hm9hykfXyIio4SGY0V2qq18FGEM0MivN1/mjPPuqp4
tK5sTKGNZg4aWyd5TmPELXyyTipgzDyge1FOQKShjRqoVhKaEiI/cyFbyYaSVucaS3tVZFtfxFzY
NWqzirHhQ0LsNiFCHjPDXvD2M9gzSvJ0Itgzm7acXovJMjY9L/nai+d6n2DjJeqO+i1I5r2VYweF
GdnvvK7amhVpwbdhLLozXvxvdkA0nq4B2ruoMwqVZJtSaLWU13uG6/owzU8M6M51XXkPHvQRgiaX
X38iiefTxj8arO1aR2H2Xz6sVdDGG6LbnU1jVil+jlSd4yH9IiJHP/il9SzD9BQHtn21QvVK5kF5
RoDBLhN5Vy9DIpEIrvM0dJuCE/jKs/MFvlXMyUV3a2bzI0GPGDQ8WnAdUxgFVbSzDTvaRkVJoFQX
SIpPSBJJEnkUdMgdxITdF3IxDxrgEvr1Sm6GRUhuo9K7JnbE7qd4dxwq+5K960mQozu+IDzbtiCh
riigTfQWWsHdT7aGsNtThEN+AyYecEnBUNopGRKWYt0MY39CxfGmfEgXMykGBMjmX80AmI+EvY6+
tfwaJ2gfoH50tU2cDn3infRxlyLdydeZV0UXb5rRTKHZWjtgQNdM1OGIGHl3T8Kj9eik4t6q2+Je
Dd7jPEOd0OUyGQ5lf1f7jJ1V7X0b+mhbl+4xrJLXcKArVnmltsWm7JPkODU4BjqCaIGEe82mAU9P
lxHH+zgiJyy2iO9LKuObCyvxOQksUivdnRPZHVmvcll863LLPVReJH6OYuq+iImT3/wpvMi6r/j0
byPBJrzxXYZjCktVOPaAl5Anw1jGpBQviHzmkWun9j7o1nzUWlNw52jzpFM0KWMVDIcuwZYwJPl4
kblh7Sa0A3Q7yS73xPgwR6p8R4vs3Hu28TIJ+5wz/H2BBM+U08Hq7OHSNJN+J9ruVxLjozGE1a1A
k0UXt0AVZoiZfMjFo1yr9C2LzecwHo2zwmmAJyu96el71Qf3XWSpF7brb7nXnSukfBvw09GJmUsD
9R23u+Xy0uZEia44vPWdRcRzODFqnofpfRbFO5Is7JC4ehnX1/4xdAvIzyHJSmXcxgcyTdJNG/j6
0TeOwGR/IGjzX/FSg0gQ4UOssgoMloqekymFnjXFT6NICSDVSwhpYlzzyN7kbFI2ZuX3Zwc8xCGu
i7cgcus1QMPyVKVRvyYSALrSbCT7Pqi6ndSMfiQB4c3slrcu61AsNznQLLP075VNXBsijp2nGae5
vSsuuAJaDI6t2quZyF6W2vMxLMSwISgdFMRUhHfoEZwrIfHv5L8CUZHWC5vkkV7efIByHa61I90n
ulUHL+tOsoo4tQFg9s613D03NbPizPA3TEp/WdP0kXep+TqZZ0HkyeuUDU8URh9zAUWqnvBHOmnz
EvY+g5JWdM1lrg02GOojIhzmVBrDW9WcDNP2N5Js2zXyiPRqOeb594vEm5JjpBS3YuKZW6cGS6Ab
7kSMRBY1QGtuUo0OIHKa/MHPcBHO1odVC/cxHfCrZKK2L0iu4l1Sc1NHS7KD0xTqoNsOQrUZlTcs
JDNcV671zlqaoZLJaMYk8axRQhxpSVEDp9NJBBmZ5BC2imD4jvY2C+YAc1iQ7FtTYUGoU/MpzcKN
1/b+2a7LfT+QCwrrXJ88+z4Ezv2EyGNsKrg4JhE1U1keQRixaCIWrx+DeWdGEv9EUzWPJNecfQ6g
C4ODboGXp/tGNxL8XXRCYNuuk4rJnJdlPyEAURUglVh3w2Od88muwmZ8CgUNNGEHN+BkeKJI/ypo
63eqDfcGcfSXPHnPbFEcVTv90MIlN94nLzdqiQKIVXIdZxaGDAcrfh6CYAmCQDDbK1hGvM8stcL8
fXCk2lliXuOXU2uZWuIuzvjslxV48wju1Y53GtRU+FX5LN3JVu/I92uN8DjMGIRm5W96OPn3vewo
HsEl0QUyNBvonBsNYN5RNbvQ3oou0i1/sjgLdiWbGhkxJW7IaD42g9IPtmF8GcpIn536ufUMUsr2
n2UE1jEglIAF88LcibpOiRUgP7yvt0x9QxItWKKk372EssOxiIt1Ku+qqAvJY6/0PprraOX5Xwv3
yYic4Z7hz4fLtGufzwehamYZZtI8mohkx7b1zgoMCKMX8wLCoXWy4pzhG7CZj1zagEVPEc5cCl5s
s2bHQJEUeXpuzQqCSTBtC7OCo6DRF7NSHUeH4MEw6R6oWQnv5VVcS5BPKxhe2SGyU4K0jSXmHSr7
LvPka241CF/SWRzykqg6y2P3PvaiPafIfXsb+wkYZpCbanpxGlIWbCu4eYZG5AkiYI8v6B5RMwWB
no8FsHaG6zzzLT+RtIwbxiqMTfoNqwvfYVP1SX1fOcXWDodHnxXrMa1OZocjRaREt/u4jU9wcMql
wq6xR5Ad0TFY1gRkBrIfn8hHeI0cjF6dWx1Vn3N3VvNTamI4jaPpWpIhOQJseCgJHsZSaR5ZWKN3
HGEuS1j3tkERroeScKEmFbsoK34UGNQBRiz2y2JiezihxI5az7mD48XgcpTk6U7MXpQBW62ODJhd
ai7XyXKjNGlP3mXiHD+LIX7eJTZCbfu2em7ijqwaqPP3c1itg2H2L6AhF1JjFe+1VbECZXiGZhch
ZJRBqnSSK18/ZYDJN6hhMzLurHy9ZA9tGWBCPnGmev1ZlA3eMF6SCFtSIC3YwG3in9GVviclPm5t
FNmF6Oz6COWy2HgIRi8uI6eCnmjre0QcK/TtW59o1kM3gtslh2ab1Cx34zFzn7WtmHGWzKdg0+BU
nYItZBfIyWRbmXfao3tavhj3Cg/NUMGSxO9WwNsZfTd/Cn1iLkuOYwQt7bEMfXhKfQVKgmJ717kF
8lOLZOCJTFPDpvDtYmpqwAVrBXGC9RGfyhpCzT6yrYPXqmvho9jjOzNdF/1WTYqAlu69tz5ZYlhr
JB5Etju/oFeRCOZzp2Zt+t2xBA+kXfUrr1qAPAvJs3DAIIXkq2yGGaSV7zPi5rrv17WRnzK/P+KI
YaTdtNZdWZlsdso6CvDosnvlxqw3WZi8JSk786CBkfd5DPDWbZvsNQFLft/MCzRuVvrY1ul6jnAO
gu0aDlKbzsaywjt/KIqbWRVvvqYCLnsfp+rYs+fjrA+mERTpOD7nQvb7shX47hfOukO5AgcEMU5W
eQdEg7e5SSfwYbrcATSvV2SaoYl6rhDnrknx5hRNO4RnoC2opsnd8gyj32fJ9MVnOH/3qQHHSzAQ
Q8HHUiNxNgcCedjRXKup+gJQCo+2LDDuQrFcsp6/NsQJoTAj7JwJrdypZmR3PQe8oeivOjDHqx4I
3SbtZiywSl5RGBYnIAw8KEHp7TKZhCdnTM/oJuqjWbs/TBbw2zFANVKGssBCgcADz+HAvdrYBGCU
C5IFPA8Nd6ymdB20OQRijPdDb6LXJZq9T5YAmLD/PrkVb3fm49xy1KWl+YRp4vDL5bU6dDL2L2Lg
UYuJoloNE/kVuoYKWKXI99KUAW2JVnk3LcySSKtD01TFAccSWUAeFi1EPhR2pkRCQ9wDURwYfqlW
nJhlsul0zNcb93uMUAsdfbm1hpBVb9Dqg9z7ZoNCJeW6bzm3cTPUH9KdvjczKyo7PszN6F+rntVt
WRT+tQ6MYzWmzYEdkL3pPHt8Mi3Cdzw9DeepamjLWw5hJNmsRubgOgb9O50rfyHrg9Os2i/oncj2
tNz2QZcPRYztAoztfcB9hO0DZMniLIwYWu07e4MuzL/Af/MA7/Asuks2hdCpuREsAEhcmH8qVJmb
sSYXaEQTXiSTumSWYd5kKG3ekTnbx15Vr1N6U26P4ikKyHRxrfY+yxagBKEre6nSja/y5qiLu7G0
nIs1eBm8y6CpCQ9dLOpeQzzGNDdbE23wMq2N93mQxHvDyUYqdSC5k1uYdwLIluEDnMuj4BXa3b4T
xCuFid9tTJtqpywaNtTzhSQ/TMNVekdH0O47QnBAY4Ziq2KCdttJIRm0LbE2lytw1Nb/Yu/MltvG
0qz7ROjAcHAOcMuZoChS1KwbhGXZmOcZT98Lyv678ndVdPUD9EUxnFlW2qLAM+xv77X1O9+Nn2Xd
jnc4eMd+Sg7zVGOJa6dTlg7rOfabJ4mJtIFqqUJ62bh37GMGwdd21G/AJBY95yUZOXTplEEcu8DH
NNdmLKohJWNunFSvcHJKw+/XbJczxEa7o3QOz1VUm0wLuWZmeTgctdl5MLLGuBbOR7/EBPShuJZG
tjMaQkLFnNkbje3gO2VZd+Ik5lw7TPk0kJimWikpEamU0Fw+xtFxMs4d1+EzE8W3tNWal8oBS9Xn
n62mRY8ijd78uM9OgR9+fO9YcZpBcMnVlkkNla6z9twjxMyGrB/DhPXFqq1zYs76KuzaHo5sheut
XnFkf7CCNn0JLSvcMGQcLJfvrZ4YpwTZPot6E4g7UzrYZMGeJily44MeVp4smgN0PONpZjDORUQ/
uOBLlr36HiOXu8WNpXNrFtER6GW7t0JavqJpr0bOe8FgTIfBx9qBZ5AGsNhEazJA68xquqapPOiW
1txGjoAkBzO7K99jxjHEgtGOrCTYOWOKNiWKE6Pp37Go9TPj9a2dhaR3kHiPsUH0wIUguW8bPbyX
W+F2zrEaGTTLGDdORV/UwHQ1mpNTNGL9ZTKxAIIqdc4pNTzgBXssINruZ3iNxz6rD7Zp5fs+dH1E
RMIdYgqjczrYlOOldMEHmF7W7ijEZ9cHq0ocS3to3oyGHJaBqrliJb/gKoeZHvsc8RsKJgvNPevF
lzO2+3GspnXdLJ12uvsearxbDvoMdiCkgIDd7dpkxg2cPPU+HbcZTjbDtfpwxFzglAFWWlu5hyum
uMsyzb6FYbiJG/017FvrI9DefCjIS1uY5+LqOkqT6UrspB7fzHCRNH0h5DITwhV6SCFgrNjFtY2m
aYgxmf6gxcS0y0j19zi5jnE6oOZaTvKYY+9w57xg1SxHeh15ZotFrLWG5mZHNWImtnXOtCH9drGZ
rwsSnWul5y9N8jBKus9jW/40LYjHvabyixDUwXXDUxQk6iJI4KKh39GTR4hl8A92M4KqYgLO4Ru7
3izJ4PXZiIfXcXz0xg4VK1f8IXHaeSPMLUASCcbaINAOkcbZOsdPt2MQ6KzLnmiv2TbBDkcn3aCL
YtEzCcZhrrI9iGJBWhd/ZB9o2a6q62RHkN/dKz7qc4FWrrLwykz/VljcxrGU3Hdj179MLidl9uf7
QTg/e6rtHpPYcB9LgUIwok044jpI2soNQ3MXyZmwQSaP1IgGa83xq8fQbrG16/l5CJLXhryjx3IZ
YTOu3Af0kXUxUg8/zGOGu0xWyPqMfEH5H/Jk2GgMCLxpAYVpVoZ5l7IBaArvJqo5Jhy57dI2epWE
9DGqvFT2z77HQPTt4mY2/lsm7lLajPzhBJycw9E9KplUHrDueymJHiLdpQ/xWDxKjFV7Tl/jMZ3E
PUed4BjoSXhwQ3xTYV80d36qAX8qsLX6lUlPgGa6664zPDsoarRgSm38Pq4PWGprR0FaGdkrYpNZ
RJM3n30ZLbZo5ur9ZFzHzMp2MCp+OBohgDkJCE4VwBkYTdTad++jk3vtqKZDSrQxSdmPJI10VaCG
fRwoStWrxiPNiJWUcoQY2ThJbxrQL2sBbxjLi/41RkiDWTIdTNWXXhvZjzoSyq71/Q+tGrWtKFgm
O3zBHO4xU2KJ2Gn8pm8kjNOFhykDdVFXtF43vX7hBGLthoU9oRpRrR3679ZNoxUYnbDptGxfqsGz
CaDFXEWxy8lfdpcu4FQ9woehTG5CNoq2o1UMXhcEgze2qNu8bWi3QNVUHV65VmzqCsvGkkrFp2rv
9FjeN51M9sNcPQjf5MK7cLW1LMA8vPBrkl7OfL82d+y0hWFg8f67xbPqinMsAAQxF90Q+gCFFGos
ruRBcapTDRrooKh/tizanmymyouneSDHRQCmmhtSGLwEHNeTQlEZWiEOQjZrgPttsU75Oyb/r0UN
16+As40z8O6bPJQvTA6L6gZVdNDTQFVyLXYUOg118GGbwDec1H4Yq58jBtOGwVEBfiGu3ffZfwtj
P/PMWYlDQeDG1lTjqeUlSPBiUr9Ki1qel56ugYxAAusgKPOIfL8g+VIVyPxlo8Ep9oRdJHu/oyvP
jGsPjPuwLcLhsw3degcx5FFxDoIdTeBgmpa5hCiOQqdbMc8GLg09N0LCh6Rtk1s+AbWTUU6NH7Vm
EtAK6mABOqbAYZxld5ND3R5HXWsMeHinbcIlazWaybCNZk4Y2CY+MUZ+FWLet6V6muP0l48TVy96
2g9nBhnskpJn5ThpYeMZ5JZ3OHRefIbqnimAbE399GGHiJSlu+EUmO4JkFyb0TGOUwkc0yECyBxb
8yZ97FZ+MELzm4CyVPkz7m6x6XS9IRIO1cQZrzy5bIGFfe60KvekiAkzNf6pGJiMG3E579EneHiC
4KUXvflM4sZYhYk62CwCR1WpbheUhb+by+nZTS1r8z0jmZuiPsH75M+6vwMLrd8TcUzecaptqH+l
H141WBUN+ynURipycfl4ej69mMMogV1jDhwdWzDGCPaJhikfiIiAgUgbu0HE2PDFxkpQuVGsaMMt
GZ9wl8GwJ0K35SHAvGHQ/LftioCMLjo9vDZvWF5I+9c7rpq3v57LBTEzoTOuNCGfBezgesJa6H7Z
7UsdhTdQoD4OyeqHco0B5cLtVnkuL06Gi2Tukt+jPm0AzIJI1iARa64uV/R9H5GFtRUGLrw3CRD5
thDWocyV6Wl8cWhi2xENP2OZt2rZjNdWBLdn4KHEd4SGCEGMe/tPjimutLZu0xgbaN93QypuKI7r
tEsrTxPuD8csP/SIvHqen/qEA7B8HJvrHIwfwsW/oamSC87Qv2l5+dr8dML7zJAdxvU7fenp6Lvl
Um0+13rzSKDW0wZkmam/lU63geKzAb7FlQgtSHbdRjc6SKyZ+5zUVDFqzjPg6N5TobEdrDg52G5E
wZ1fDodhptxlvA+qyjoy3ei8LDR5i2UuEOk6JkIdJ94Zhayq9rQX7EeGzGtJZ+bKuRtaroOVAfXc
nooHJ8EZbzJJyja2mbnEzvDMZ8kunKESDUmYoL4Ht8SsUCNyo1tnTXIvKBoiD9YDPQyQnzi+gB1z
2XZA2M6b0OoZHWPCXCQN3VPYJfFrgb7pxq/YZgBITiRsN0CJkQw0CnmpJ96Uk5Ud61kcwtp29wEX
IkO2w8GaUng/gTgYy9oDIqfw9Fh4XVWOqGimdiBouw7MdCfxjhx6AGn4gSuuSZb7lYVaszWDmTNz
Zg5c8pG+0AfWmoy5VLruOZLqjQNxQNljdXFYMLyupMxjNdr4ZOpAX2JZjZf60zuTCa4YMX4gewr4
bPh6fGKGElDPq0PZXcBnbglVe570u94Xq5HzJBpep+8Dq/BmO/Q9CHLBblRYy+Q4vmaG2+8sh5K2
5cv8oNE9p+Kn02gPnBA6FGb/orP+fG933y/lsraLCPJzbDvXSg9PML35/nwQkrUoKw8f/2Nl2yyx
vsWBuAiNDUG3LWtdxV3F5F6Y9h7VcN+YtsrnfQ+p1eQ0ml1wLVRrCNCAF7rgXsf8DTTEg6x5KVso
4zLhg54U0w9nKDHtMkdr85pLM7ufs/zNv381pD/6yKeOETPsmozXGwNM3El59jI+WPkCP6aRo2yq
3cTBt+Q4gzzr+GszbyAmAvyFHgU78sZ+NWzrtrq5RUzNdRrMnq13DAEMGKtzps7uaIzrPu5fTZX9
6AI5rqFvA40AFsUdzxTckK1Pdzmd2DjLWJ6tnKGaI9yNxvHUSwrD8XzV58cav5iAULanLuLFhkVO
1gl9Z/YT9Hg3qVd1KmisxSy4TR0nXttpHGxS12frSkn+hFrveqlh/q4E5bE2OuY4W/vvfRsBqztq
zQ9L155ENF6IqwRbx/JPAa0flSFuDT6cvWoUdIw2mVHLmCKofrp0TTrucbqP0IdIeMs9xsuXqQcx
J+P6PmnHk4UidBLAeCarFjerziomEj5LsRzv+Em2GAGGp6AfLpxsH7itgT+163qbuVJbE8P8bRss
ENyVKeyFJazm9NXhk1R1OIT9fjoPgqK110TvzOPcTGoNHpGfXED1gNB/4c7n9FRAT2Sl8/dRj5g3
+P5jzRVwBUiqvqCI1nR9siY7B9/MYQGl5ehhQ92nKY4wtQhzlqLXOXmqYuJ0eRg+sE74yIrIGDaT
bQdluzRYGQ1SuN2SvGkSAR9cEfwJiuxaZDo+SqnBVan8vZ006SEw8Nqj2Im1iRe7y2wd+mWzy4MG
uSBz3qMUgKxucIhR06VnJHKqoX1lOY6bLhoubYAJgINJWnc//Dj/1PkRr6jinda20RGYqZk/D331
kUvzQyMCZrX2SS8t6CXxZw6/+66YWtwCtNYeRxvMIBf2Zp1zs17nabjW+hv1HEduPAa7JC3Aer8T
kWVu2R/zjUvFN5uBIjY2Wy/uIICUdV+6oR0aw/SPVokXpgIf4mK/XIrONwBO6r1BNGgVVPGTYmB7
aKbukPS+4Q32L7/wNSZtwdHmLrmuJSFBt/hdF3765gJTKpvsaDZh8uHuKxd0Eyj99EAcl5Yey/7l
lo3cxg1Z0BZ3rJ/5pyiMo5Wcqb3uo/JoEeDb8g0EO10ikAmbEJpDty4D0GTxTOdwPfSRVLJ84SFY
ixlBKGxKk/sRxgD6pfFCS3a67BINaXAw25veY93R6nwNEoID3uIsRXXWgx+UMObLOOUn7UjuBpok
s21FdiqAE9dCKu39DqlRJ1OrBQMf8Ozo2nJgQmRAGJ6GAKXpsa7j4IgFa6LemYAR7uRroGgqS0xM
ysYX8r19dTqVcZU6t7OxdNCUWLUj5DrqqleM1C5wz1d2JuWmCQKymX18cAqYpVyl37LuWKb6l18D
eAuscQEsu3iS9II8qk3vNsIQqxWnFD3epPPZwenou6rfqnk6jaCFCOgulJGakAGZLtrosY2ZotgU
tZ+TM5MQYmzVwo9Xv/rzUhyN/ldTu7GaYEStCxkzLJ83wC4ZoO38WHyY9ZOlrBrTNx6FaIzBgKoR
5w/uj63eSIJliFyFhc0lyR8wV9BKBiGDgfJCrnYOidDYjpIt4iM3KHuh6hQj1/iOoWM7DcwbiZYk
uaAOc7mt4dDBhR2rNDhJvXhTo9xkC9aJVVBVhLU4U4fcOkxyrRaLhiYYNjVJ9ukO9QT2h78YGNgM
avIEqdUXh6ipKvJK5peDHlzpJ82mvy0Ik6e0rIzTVNhrq9K43/UJUQSNQzLbnMIygx2sJgpJIA0q
xyYPqhu3PDZpnZ7tMpq3hiBBFtHkLFJ8QHVjwBGFv5FRiBQRMQEVFm+sqP9Utf04twTdkPk3ZRkf
/Yt0rAzRlLERuuM6hRSvkxF0xFh7RQPgctKTQ9vlLk4Zcxf7A9NDEGWpsJodDc3MOo3hptWBS2Ip
3peJ7TEYXarAAE4Jzdj7Rn60IYFSEmkmm0CZwMsa4yejX+zPJV78JiY9O5vjlX5HjOQ3bji1Z0fz
Go9JtBPO/FFFpIgLv2oRvcY3mpACt6mZ34jPdMCw7wxK33XRgmgr+nfMP3QJtoom8tQ9MQgG9FRn
W4cv2aXOeCM43HHSG7EhLf+VQepiVxVEOMRfnZoKKegYW1r5ILP8GtMV4jG/kRvhT78LPRwPVi7P
pIzJenaMI7irAmkI2XiTQlBKEdKystDZW3HosOdlaU8zomOsLNFDBeNpLaty2OhawaCZucUmgDVX
I6RQbJFtAy14r82HvM3n5zLDTx1txcDRejBNYxfFRbluFHuRnelovYo89KjDyveZDjATH7cZAZU+
l295CmrGaTqMLuNjkMVc7m0Tp3QTMd3NlqehASobkbC0CWzVQztvdT1+6qTx6jA+IuiEvoJN1DGK
kM/cc4oPcYdFg2s6zwcmMqt5sEIq8hhTnWFFGeRfZLRzTePkSP81dAt/07VqFwdjdJKi9pLMDiG8
RGioEmNMRw8jpn1YkfVmpnx7lU1DwfoQJtQe9deqTC++GpudYfDYOKL2MfdV2q7KIi+rh/C+Lqf3
+H7sxE8r5eM6lflz2VZMeXv3IyK4uQvBGmchdOlwNhYZMjulM1eLvG/5TOAG63GaRwQTrZiIxKll
FB+Z7MsuozDO89ELjI6Yg4cZgHZA59RtCMP58kkcOUOz9oWMgpcTekWepj2V8pnu53bJfJSQQDld
f7/89Y+ERFdyEnJjR2VBFURFpgQb+pBlICetRVj4fjH++1f/23+XoWKsWi6es5uKTegg3JKayr0+
1tVaH7lnTrIzdhSZPOpcCelSn3AbtVAEYDfEcQs3b/lV+N+/+v7Hf/Xvvn/LP77iX/0WIUYuC5Hd
bRoBwNOKKpOESB1eQjd2toEBe0EvKGagl2XeaHBEknCOt3lYP4tBfAVdUF+iGFqSL8GZi8o55Q5g
11Lq+U5gR4brIL4EyJFVS3KCsxIeotJzzB5BcGLs2tEllg59fMeTRx1AZe7GiTNJ54bjZdCI/YWZ
2OQ2pSQ4SplUInMQIWFv6qJTwP8/hfiO8bGsu/mA2OZ/fBgEDc8i/c2aOa4LnWWuayabjFy7t4VL
36PxI4itbjP5TbDJqSXTDIgfnQVfgjsh4rsBr9Z8d1g6jr7c5KP1UZr+dQp8tac2jKujSaHu8GmW
0gAQ04J8YQgqFbrQBJYrCS+1G1tohiTgexh8K1M6K3M5UUpfe+my3zpousfBeG+N6RfiariZdf85
qMhjJNa0t5q29IokgZk84quZa5NSA2dPFYuAksDNfhiLr3mKz5xd2Ab15gU/NLr0zFIwOek9x4Ut
zQZA8Q0FIcLobplP9Zx2w0VkbfimnodakiqPIn6HXq9NM/rZIFCAWKXicHT77GDWzlOuhRQWD6Sn
jI4oN/flizVn7043PI4ZBweK3DjxZIDmipL8pAiCkwPGYB/Ns+1ZFlTunjoRTxTOUwrngTMv988x
G+ExJIrI1zg5u7Gu79Ou07zKVR1lcnJgMPwF4Npn3M5/sGgszQMphZAFhJf2MtXWp2K8mMyqVyya
hIdSNppNlCUhiRqXUPWYPcxT9xi6TsN43ewBgoBi1gyo5jIjSOJMWbVt7FwcY8YtSYScOrjpntiU
5G+Hlp5l096tdRYU1zw6oZueJrfYtkk2kN3ijtcXJXjIHnRZUOOVcAveC1qjzJNQ8ysXxdXcusY2
cOGP0WDilWWC53s0Dt/fv1FfLMJxG30EleDnKJkwnmc7e1VJQqeadY0HfG/hi/BxATl6qWNLQFhG
lL6RSsUMgPz0/R9y7TtL8j1pA5JzSBlki2bQh7U84NuYSIWjxRIzhMsyOb7XauY+G93hUIV9f+gn
e2/Z+sTQymSqXlBDR+1Leh/nsQfCiD+3R9OfVipQcq3ZvqcqjQeH8zAeV27/ibvjkPcOhOnSCUJC
mTP0awoZwWsnJH4jijGN13a087Xl+j+a0rizYkm0Ur3Pefo21j2exrE4qMF/t/zQZ4odd489HQs6
aTOvCzNuNYzMhAXK2Ke2oen8N6Pq9J2yYsT9aHpPSprIygQ9qo+1ZOvHPj9YPdQfC7v6pWdqX4dJ
fOswMqx0Ej8AjvdDIqJbHjLZ6ub0RTnKPWsp53WuD1vglSDibSe+ZEl80DU/3GmFCM9xK4GQ5pG+
dzNUl0HcFaOrHWAlM3EEreITdMDjHV6MzuA680OaKWCp+UeOv2iq1G1EygmYOJaYOnbNFD6kyy1q
UOQHzRnfgsPkgbljDPNyeHJSdI60ozSuWaYORel+xqQPcHN1+dZw0skzl8evtZHq3Ya3nfBys2a8
DL0OEFCQoG7pnEjXPucMqtaa+zCQzK3K+DUuASG4Q5xvSFNU0FVadrFsCmZWP3pwbEOS4QzwAXeS
qcM0blPCK2vAAi5XGjtg+WeXDfvh/RtybnUjBaXLi1tSDTmY6Ab0dZ1zo+/3BpMIx8IUlFbHnOZI
z29NnTFC+dAb9rFdBhrfL12JQcVeyP+947+MyQhL1anpZ7ZpobH68SvTCwWPDqtz1c0njkwFof0W
VMFGmAF5ag6KJCfoCkaw9uQC/BbLy1yQq7VbJotdE+WeYUYvMyUgzBHIlsXS7E4m2AmYzl9mlOSI
q3wNDgAuVsuaBpvgNwAyqnsi8SKIr0c8Gge3sph59vXZwd/0XpZM8EqMZrk/vtbLBLtwkoRS0eQL
u1R47Cncu/QN7nfVCcTAiHyt2GSzH10xGVMKqwmqCFUCqb+RDbvmyBxAh4QAtoe+aL8LT7P2m9op
GMa9OMkmkhe3ZaSdz0b9y4FdtU5tAF9iMNhVrLehY1Cs65ix7MGJLomo6BmzUpKL1BCPMDcz/vY1
leA3X9mfUHweSfDN71pRnFw1jL8yKzq718Gew/c6Y6Y9a/ZSz1TiTnZiUt9B8WJSQhnP9rDrYxT8
icjAHDJEdc0yejM7990a7Ppral4VSb80169BKyS3pcHeiNz67SvMqDF0sFVcO/GWlh3uhjmGLYss
ysYIwbBakf8rmQU+aooiwwkbYFDM+XlSWERrY3Yf1WIBd4va+TCGY1s211a3b7KiStGug4Sot7Nz
suoZjYrBVbqkBcBM4Yz7YYPMHKPwKa8NZPTI3kQM9flksLIpKu7MtA5Oto+bsm0tqhkaJATqFajL
KorHAo9c6esN/uKGslFZ3eDywjSx+p9O6wxsJW79RO2lF3OypWP3JgEX3/nGvK0mI/dorfDxCmDs
mira2IUOl3bk5yhDVR4Dguu9Of1yrfQuD+J9kQzitwnny6mxfHN5l7to4I1yO8u+dI5hHFkKO9Aq
dfxI5ot7LpmmX3ZwoEmQgntOuBsVzN0pCG0SM51xrW2s2mPNWFFJeWd2xX4qhurch+RYO2KO+8QM
kYCR286O1B9a7NLYl5ucBtKE6SrtGdu+1mEYpZ3x3phztIsSU3k0tv7XS8ad0Ete4d6W5zyJy3NW
R3LrlKirf/0jQv6edChgCs4qk5iHq9OGb+FExitzmPB0pUlxHFBXy4XiTvi7pM6vWmIirrZOQhp2
NFux3o3J1h5phUh82R5b1bwpqtTvAnt5z0uUG5EY4q5KtGe7oyAIHSDftuFvQ8lli5xeGAf13FGh
GPUCt7TNOBgOnsaPB5djUyaYXNPZa0LbpxUs2Fnp4EXhlFydx0EmWIjsnLxs0WGQcEeQtbmxbQbs
mIQ3OBKbAi2JIoNVwWJ80LLcoayO3py/5Rz/Bf7Q/hOtTWDQJs9oEhs0FeHBPzCwXeinUdlG8UGa
DSGeuTHPfat7EYjfB96uHZy+yEuElbcrdJutFOTGHZ3J/5wTSuEohZk9naIUR0v80jcOB9wsNb0o
ibQD9pUMBrYkGj2U1n9FoawUwnRRq3QTlM0BUAh9ARzhcQyk8qlNXTiCbmecrAQffmGYOkKCDpSr
xdtilv57SgHSuYHTdjQ761L6c3D+x4uT5c0hDbonComYawnOST0OOH1SAK3nrim3pW7cOuX6/+Zt
FJAq/8xdOpbBvEsoB1iGuTAm/5a7HEICETPtdeD91BfVAcZ7V8f9OrFiatwBoKFw9NHb/FZODZ4f
lVrgy0frhtvRxg6SFsdOpNaN+WtDPGje4VkgwCIy4i+I3Y98cAnjdOA2JirYEhoG8ZcEVyC0ErZh
2mwLKX+mRg3mxYjCB5MYIpaL8COtUzxF45xRmDvmG1FAJWCJVmvsn/69onvCAQ12whJ6bU1yeqKp
juTU8QKgxbw4QPD/DSPdIjv75/vkWg5HQFMSk1Vqya/+7X3Krc4vQnwBB0ApmzHP+q2EHEl7J98u
bWwcJe2YVpCqPfU6Vtaw34FY1PeD1UVH5OF7P3f1u5AJhZoAw34H2GK7rQ6UnrvbjHnj+ssus+Di
bKtxnp6zMbof9Wzc+AleRs3P3rU47h+1QVA3+G+eAf7cf/nNSb5BiV3YEH8C4MHjdHk/Y3uXaUo9
MXNWezcUVvQRlqDqRFBUfJT4QTC9osCmamhv0yLt0wGDQdEUh+A6LQ8ittNt7jBsZX7aw8fq9Ofa
tYeNqjOkbh6rVTNDxUS6ai6BpdK//Sqxw3tlWu091elwzc2k/UnpPUmsKX8FiVzvnD3mn9EjlWvc
z0WTb4JAV+9+mR0zwTQuH/UXvY3fI7OPnjnd0MpBAuYgVGfeUozg4Jl7jJjDJLGoa6+oPvKRqAQk
hDgS25o7B5hNF0wFc5PDlMqjtDYGsbQTxN/aMWcqEQznkU3Pw1rerYcqDWkbgd/BZZYFgaa9dR3D
Rm2q/LVvZP+rZ9jli/aj6KYJjztWUNO+tT0+hkTZlFTZrXiEmo08DajHc7hQQ6AjSJpV2PlU18u3
aiwuRj3bv1haD6if/klKGlFk5EPq6ZzgKfZFuu0MGsSJ2ZG40DK6bRDwE0KGcbhj364BOBBRGXbN
XDbvxN4wjjdHPrvkdwe3vTNjUi6iZzsa6vItVxIGFCYFvFjCi0M7O7RAlPZ2ixWzj02YSkULdZ1j
RugXxvv/vKD/ExifWYhS/I8qdl1Xxp+fMAY8kWaRyT24CKYHHeuyhbR5Vv1r2pvXSPkg+IJabhET
zVNqJAWSXxIsJa/c+B2Ih/Uyc4x08zOz0XkFs7u9og/J0Snx67OJqkuXeIfZkBToFlc9FYgr1TbZ
gmnc2k3tbK3CRb/3w3eMbZg2UEfXIpvPesvvTJ3BPgBl/zcfviVe/8fCgpuC1Ju0BB0VuvHHwqLZ
lTZ3pgoPsyouUTKZF2iAEGpTLboP7O6U5SZ4WCraC9PFJt/r3RM3mos2gL6Z6qa7NoKMJeAgpj92
cNb8VC5ipYVNhsxy2eP+DrIe5+BihJzHHwbpv5WlkQAM4viZDxEV5czEkrq5l1bomTSHIEcnu3Sk
kwWyor1JzczeVfa+Yf61mRln/Zu3wJD/vAlBJBC2K8l7oD7+SVJXvV6SCAaq1ZsliPs0cM5dbTEv
M9+katuHOZAhtcTRTyXwboiofIXouqlVMO7gLSPIZW75niYXSi8f0ynBxZyZ1lOmwDBVOYByNpGT
XdX9qxu9+9gUrv3Qf9Iqrx9M+h93sSb0FytWGxwpfNKamLzKVFxaC3ygzxg7LNKXnMHbZY7qVy1o
Kczxk9hrtLp7dBVMjLx86lCENlU2LnjJ4pqW+nCpGSHfjcH04ehNj8002zXlhDvcli/NFNuX1hTi
wnr5loqIAnrT4DEFGnHDP2TdwRq4Nytosm2QEQ8ZtHNHqmhNwYsNfXEuLw2jmg0tXudvbwlr9rFJ
ufL3+uhgD6nmW2kbN6cri1NX1TfLaoG+Yoi6ZVwGS3fGcYxfcs+s9aQVJZmTlopAp7NJU8Bk6mb3
1OoVo4JBj1jynAfb6JK9JmE+hm0gtoOGIZWYYlAKHOiqdO5Mu6HPCC/edsRatkP/+FJ0a21JU0MH
AwezHrrUv6aZcUFxSPdAh+pt6eAkbvKg3kZc37e6kVWgdxTmO0NLdpGZ5Fc96g5YTrHvRdzL/Rmx
2zagCIONiU94upuV1BDNKS3yt0ZlUPHXJiwFLxyuOP9RO7LSQoLPzadtlChf84SVa+7fdWU1+znE
hEIykrNfR8CxzCEp9DH3hqVWqErNK77Ns4Fl6zIA2t4IEqYOxpwV3bT1leondyuVbW3HCcElgrHP
aB2Qc6ZwW0wRPCXZFg9pOIKuk3zlUjTXqtl5wSm2shT3Phym8i7rJgY8pa89/88LqmG6/7y0KMDg
0nCEIaQr/jgihxD44Ecrbc80daTkOzYukN/8NY5uyF+z+Oq5RN/ykkaAyWjSbalE7g2h8dHT4gY9
AeFOAxh5LqiwvjaaGR47l20tC90nymSiQw2yYNerwThYlnwFBLYGWJad7cJuLkAWse5VfQNtMm3v
XV9bUy9RcMG7jmESXpdx3wMHUrIVkM+3VGDKo89w3tHNeO/0MMiztufrAuQUoMwpu5CVnGWB+aG3
B2rniEqfbZExNi8MOHZu8YOxOUq1U5y7MCxx9/M8Rrah7s20rdaWjBro4TR6TQbR7WxqX7PBVFfq
5cFvTd85vV0WesCCm59qao6Ri/vW0K6m+Yl80R+0gmk5LPSZQ8Q9peW0CDTDcAAegv9ExpuBBXkL
GrfBKSlt5lL+fLBkcG3zGMsNVzBGc9MR7oW9+c7B2+pkSWS91C/nQ4ZiA4ZvcF+I0Z6TqYJOIR7y
Gc8VB2/LC22XOGCrqgPx+ZBkAmQqQQx7NUOCvCQ5R3OMSXf4MNeGVnLYIOhVQ8nC5lGok8wDfYeN
fTG1LU4IzNX4XeynmOQNypeTbXofL2acAEdznaS6j/CDzGArtiIgjIdLMg7i7KebYAxwY3ijtW+e
TEVW8fuJ/T/Uz/8G9QP4xvrbB/yfCguuv/K8mdL+Rx79/6Cfv77w/4F+xH9IgkSCOJph6Q4c3H+A
fvT/ZO9Mmhs3tiz8Vzp6DwfmYdEbzoPIYqlYlFwbhCRbmOchAfz6/hLya9aT37O79+2IosGZIoFE
5r3nfOcX4HWa9BnpNsAeGazyj9AC/RduIn5Q1Q1UVmQd3EE/3i9MykAHaYCAPBtA0P8F9MNSgxSG
f5rvuA5VasPRVN10SD/i9f5pIZVCnMRHqY67IS2/iVhMaz+Lv5njWFA7XiJl8TaBon3JU5XVpGpT
UtLNZiP15MjtLQqPTvpYIgVpWCdMrTDxWrQs7xGhrDOb5b0zwPC20354KJzmq/B0tNdKW66GkMmz
G5rL8CHrbUQZfkYJtOOfEeAgxow20ETaeNpT7qN5gdCMyNoc5WslyAcMhXEkbA/EU6WWfyle47qP
9jXZI7TezMUkPCr4VJfXZipxlbkZr5oKOoeZdO52ZGBdNknwRGlLW6SK1R2wbkW0qu342DXt9zh8
jOK63I5evw2JMN4FuvNrSOL6VmsbYr+Ddwqj28bQ/HWIMzYdS/rkhYa7T0eIpKTpgYbwuHSkLSHr
ibavbOQMzQBBjfBCGVJOllMaQy32SQhfTSEUQCj6CeGM9SsI33dql0BBoEzYDo7vKVZ7Yn7pT/ap
u8/60FxFtn5y/JS8cMaRfWQyShknMbSgfJAt5SGBzAa4JKLqp2FFC8TdD1TTlo7XVfsJEcq69pLo
PIYkjseedyjs/oT2tD1q9msTNsmD0UPZVAznZDtpthwA/qxr+kRbsmdo8uPIWvUDNHpjntljNnNA
S9NgSWlKsapa9pLUaEpmoxFHT6ZOs4TghxbnJS3wqAwb8okZHCcHuxv4x74WDHWluwuhWLgIolSl
ffMBRtaSHDmAkOwkS9KSVElH8iUVSZpsm/Y0SfYkDvEvlqRROpJL6aGWGQBVOpJY6YOuHCTDUmGe
5UmqJSCVFCOuu8XHN16pZVNiA4IZSxrmKLmYAkAmU16HZp//nY4Uel9J0WxMeJojYE0ipWBsKpK2
qUvuJuhvFEuSxZm5UDk7yed0JamzCn+rAXfWkuCZUd3fak62sXLldzKQm2UyIKeoA+6SBFCY/aEk
gsagQWvJCM0lLdQXQ4lKDEI5T6mWIOgQfkm+qCNJozbIUVxc01pICulUgneKe+dHKwmlqmSVwrBB
WVuRYzu16jPJr/TfdJ1G6FCdVKf6TUjqaQz+1LPhoAaN/yNTxEOm5t+QM7DH5dHJlOxUQXU8lzRV
laXiSusNnMTpt0YSV7EuT6uuqfe1z0KZskOzLUb7VLxEUrbWS27rqH9j9pXtglxAHHE3qlbhkdUh
vY5ZsE0j/xrAxHcjJC/JgLjFABCrQQtxAMYiSarWWas2S+LP3jPcJVMDIiScfIP9xScW3tm4kkBr
SRatW2sSK8K4NebNkQ9rfOVbfo3AlBV5pC2ZT4Kz1p3XyiFPRPJuSZS61lr90EgSLpPHmMlA1h7b
5DvC1QcBNNeU9NxWcnSTHxpQ3UTSdacBzu6Ifj+U5F2BOgQBM1wGsimpD0pCr19pFvRSDFHLUBJ8
mc8C6wXqmwH39V1UuzRzsICSdLEaK/MV7iXulyqkI9BXW+Hgk0Xkk24s3bvmNtGxmhPBhk9gEakm
SoahAOnB1DeqgJ90EQhBZuL4MWToQtCfqeLTIrcYjCg0YrmJdg39MWR/aNHAG6d648EFqbald0zw
x4X0kXD7hDQ1t9R49R0VmFXkx0zM3OqZzFuESKkBJpkpaKUaT0VKj78du4iV7hjuhEEr39JIvumG
5NZHRMSIBh6qnccC2AGKlNxZDq3V3CaTgU6019ay6dcQ/E1zgOFiysJjXwFnsY3sCxXrr06vU/AS
dLGCkjpHPH4vibuk19W6j89TapDr6ePMAc469sQSZlCZgNTQscfcPMLOWrrqwYhT9SHHo42DGs9P
fGatQRBmFxSnxI7sVWu9VXK4pn+x8sYM53DmvCmetUNw628VPWP/rVUUpi02Hor3GCDEQQEeNznW
b6b0OVoOrVo/Vta1Q03JniAIFNEry0XYLlH+1K7biPib2MkxOWsI5LQa7g6mWn/ndOqr2kewzqBA
KZPZIJZDK1/gakc5t1fwNi+sGPub3q6MwHiv7PyWWAwYxGUg9qoj0CBtvKF4ANrFouONCODkT8mj
XqDNmlr8bH5tfDP0iEk5Qp6xAmGm5BzHTES2vWqbiyjHLNDQ2SVCZ2ONgLXQ6RUVZtoyY2aNaY/M
wHPb+1+r2t+Ymc6k3WMnQk1NZe5XHF71eqBjvAlCQgTIiN23qhgPoU4ei2XbC5GiDCoQvdCFmTZW
qwzIyfr9RHjShow9TsWpiaBi5bK9jHK+48AutnR2CoC2wVd6avtcD9dmSJRHOu2LmF1uzDtwl370
o1ct6xSgZIw7ZM0Ig/JljbVuUQ30XD3jnGFiUJpkWiJcJ3jGQ7nuyX4YeZ5vbl/FUq2ix/5LMDrf
vZEevFHV68DKMNsBJEuq8S1R3GDVgvXl5xFbzTNXbZC8Cc/Zd0BFl5X1FI3umwV7c9XVt8ZF8pq0
F80UT0E/jau4ar4o8QODAqHGDqt3O0Z0BgocgtKSjqdiysQE2zhVQWLvEclmCNcJu2AsoPcTUpdv
x3XrU7pmtrFNS38f9XsLl+UiUAT5PGPzOkAwpdamSDYUapgHrayYjpjBptNjfGyt8aXo+1syZv0C
cOgpaNm5WsM4FdhEtvGQ04uPddIMi6e6oyZQM7qR7OBg1mi+ex5+MWNMftOHCg2MQock779PMU6K
GO0Sa8d2JQZHPwbtuGXnJqeE5mlVQjgUHfMVirBlmj7mEbDDqvpN6e1NkuUD9AdbtmVIB3CvJC8g
AEEJ4asj0n00JAaNuoWZ1BuyELCwr0ujxvZNd2vR2dTAMZEfVDf/TmNSkOgW0P8rhJYd5gvRWhmA
k6xYJwnZ08Qc2BybVbr3UREeYLj8fDHfZg+++LiDHYApJzASBnC8SrNhab6AxFkeapz2exgOY9MW
h9l3EzkWEr35OgdnuqdMtMgILCcqVsVPR37nuitDlMr4pPZx+S1LOhPpN/k6uTRwNUH5x0XS4HGb
r853WKWAECf/EKXV3WTha1l+8KTqbvYUkq+0R//WoHnldldezFvzxfyIpqvecPPQspd3zjfNW/Nr
fLzm/eU0QmaaYzkmJTqj1ym2jUPRQyRTvb0No3tbKgld6ByMcCaTTOcHILvGzeP6eweZWkLGCZ/N
nXI2P95CXvchJoN8V9NlIlWDNSbDQ53JevG8Od94v/h02/yKn27zI7AcDX7QT7ffr7p+BEsxRmxS
FAzkYaggeDXx8syGniABAlDawpmW83XTsW5pCUlGyF/0/rPGUnOZzvLL+WdO0X5NzPZ5EAqIW5ak
PigbeZvqBMWuwQpzf/K89ekFa2n5s52QkobUbt4vsEWWh9nLO98WNbAb6WSOi/kjzC9FW4J9bH7B
j83At590cGeUt6b8MFsf561kGvlq0xbNGPqA33qpKfFSTEuTIAAptnOH7r5lZWAQ0j1eURqFTozM
8eNnC4KKZ39sz999LCNhCqv1V2o+8Ala+fOVUqg+b9lSZjpfiPaUlJm61ycTroA61PxF82ZQ2XyN
GCEppSf8WXBC5GE0XzhOzK9QyiMqRwKzciMWNXDksCcC3uQb4iAa0Swc5qvzliqvmn1cqcg72fR6
qlw6SWk+DZKdURa/Kp7bHYsIngFCgt2YNFC1JIVNKWuiTA7oKgAJteOPBqdLMk7Do9Y8mGOdPLqR
tbVq/7n26/TgKCJaV0ylN0lb1ZvS8eN1JIW5ZnnNC4P4KTf7mhtlsLRg1W7DgtzJAv2kHC9ZzNnR
CDZDzjx0hc6IlVL86mRt0k1joHcgBDQknD0pWUCwcBFMyAusWD1XXaqtSOBzl0TJxXuNbiNCKWXv
gu+AJNAkR9GhO9N6PzvresEZ0p6YuxD7uigJOseCNeKzC8ovCKtWtDb0Yzf0v/Z6jra9TFGCBnWz
jlOdBkRAVJ4t8neO8KvJiR7JDesyEB3hrlNVWLMkMa1SgZOyRb0CjgLGkx1g6R3Nk4fFDLkh2P6g
j87UCSlR1zVi2dAusl2ik+cwxSw1S7n7ZXJUFnKfA6HNqWXevN/46THzvV6Eafr+ONj2v0K+LJe1
4Z3m+9LKthll5MOm3u1AqVEOLtjTJhcvpyYv5qsfFyxLll5K0hfsEsQvLGemZTpV9j5UtzbQGyYJ
HXwbm8MQ+9llUKd+M79QQ+ft4yXrRC0PST0Nexv0o3z9+T4/z6tVryTStMxtlVziq6N9nO/s5LPv
L3G/Ci5mXNBIAtEaSdts4of0NYNmnUhhdkk4FbfJzftFirRpK2wBygJNqGnltPrn/d/tOEZw6ckl
KMAcedv9jvtVu/ZESo5ZUG4J3vp4yHwvPvQXvYlVBpJ/PLVsSnOpMc9blPL7mr+XuHRwpvjmsYyQ
gi3owj8gksXuIn+C+Xew3Yg75t81yApvXM6bujz1qIb1pBkwimpVIT5GXoxdYRz0MAyWfT3hhPIc
VPxS7lqjZjqIuNR3LhOnWcfOvLzAo8FQg3nvj637bZgN3aUudKLicNivAo0/I5enX5qo8k9O6mPl
0I5Z+9PXIosiYDeIvSMmkWI8EfjLQNXzV85bUDLxQilEzht6dTBtiGJWr+9YuAbrmkNjwSIHw+X8
WaZ5QCzkZ5s/TC1othS5Gq7mdwcWYm2K0jiTFw2GIFUaIHE/xlh0OPdQspZEOc0Set2O6o3pul8N
+Rc28/kxToL2OF8fUkIxIL948ToeAkQZS0jaCCmmEUZAPezd5PdW+t7ni7j1zGzXyTOCmil1cwzi
sdh6anoQ8rb5oqEZReeQr3t2AczPm+/oLJSpMp2JM0A8X3ZJjalBRl3/9Cj5Qvd3nN9rfvq/vc1t
Ql7x/grz1vy8+233q/eXuX+8+21xxcHqB9TMGgdhyf2V5wc7mWDq8fHZ788JU5f2raav7zd9PESh
SM4YSTNj1nYiwu4PaGzsTVknX/SU470YnWjdceplic+hrMi9j+JVWOxMaRmfbyym4bto25ASfmyj
ayOGQpoyigCChFkb2kKdd5l5z533k/vF4LhnPH36pp5ihNMCjDpgBxeg1gHs6ggTwEHdmGc0SYlp
RlQtz8Ml9jDW//LzzB9CrftvQiet3HVHXMRGtrNnxkReAutxS2iBGXRO/gRg9e3ByKpoH+K+dJZo
FuI9Vvn2QHPsomE9ov0+sSjQkvYwvwZn8YlJx2S121pLGZfCfhu12TvU++pDwfP/zYX/TXMBPSN1
9n+fI/AYFr/9/h90iF/y3/4pReDjif9oLmi/UNAnLMCgWaC70Br+p7ngaL+4xCHjA3HoI/ych6z/
wjOQysjWvqnaOr3/PzIETF7O/AgP0Lj5U/bxX2Uh09T/3FVwXddQTYPPwOcyPotHqjro6szzih17
Zr7AtvaDyoCtkpgB8lb1i0vdMIPDew0oOEeqKDzAc0VOcDwdk02XOud42QXZxa36q1tMx0i3nkFN
o5SIHtwmTvAUI/JPXuCgn5xC3aDRI7P2FGbFvikIY42+UnI6i5icYksM2568Ic8jZ7MqXBeDzPQY
DbaLQ/orHYtNRv19NRUCrZsf7IIsPadqDwbDLVrUy6zMK8jKiEzVWzednNql+j501PRR5SRGOi6V
GMeRaqCD16z3FtdlrvwoEqJzSKS5KajNvbxFsTS1CyrHGu4DEl4khS/XQYKNAy2VxjmXBIYs9EG7
YOHetabzW0+Zu/bk4r0R+tJuzJ1nZLDLAQTp0EQUsa3q7jqnJqOBpjz+uxjHR4U6BgjI30fEtgYl
UR9xE+l8CydSvjkotxa+3p8S2OdBw7fpEGRDqPpXoaanqE1PRY6tMMeAYFGeqdS9IsZLVDtnJVKP
NK2PhadePF+Fnm7hUxwvfgXfkNEs02610myspF43zbiN7PRUt9G7Bs7UU6InYEiPkdtd9dB67hIa
Q4fGb9ZO4YLNG5Dq0UhO4hfNmo6j4M9MoEtp/WOo+pAx917S4vTuNoRSnzhrXMx4PMa2wACTHIQH
oyxW0EjEp4iWlKVFp1IDGUtObt9tWrNdRbQF9FTQr04OGmH0AuV04SDnGpuNo4wXdbJP7fikppQw
PTN8NzL2AypRR9QZWKtwT1XmTuTBeowzkCmm2uJRxyrDO8OZmxbpAO2EfpbWGs9Jn74EVvoQCGjM
2qUMrV3ZhoeYqqmmBwdwhyf5C2u+uHWNDtoqeWXt9G4FqBtarKN8jaUyQc9jpzanq1ZtmYS+jSow
Ji1dpuqwHXMbJJW2SnP4Rgkpm4Z49HJ83XUhjhPZiosApW9jeIdBExcaJ8wNcDUai0SzzsVkwQrn
GyyHI3GSO5DgWNPTdzfgjAh3Rxo9qC4nJ8KMb3KfnECCq3ACTCsiV3x4c0vCBtw1VoirjXRFlOYz
SF9EKcAhIF7XqNXn9xiJNBpG49JEtLoEWuOuCt6Bl9qLNB+2wZC+gDXEudmsEYccQuqjwFAhrpzI
grz0ss6rRs9WF7/XkJpGowW/Dh1/TKmaJQeD4zwbo51fJLi8x9tAyFqGqmqIpwuUPEC27aaK2VeV
muhHmJ3Dtq76RzPtrrWSnXo5HLivQzjdvKl7FDirg+FR5ydBr/DS9L+SnXloxXRzqukmf8FOHY9K
mpxo/7zIL0buj1ogHp0ISlMxoR3qVuSELHqhL+SfBO96NaDbMRwTFh8/DTEFF9GoKGPFFoOdDhst
MGper155/D2J56zp4S2EsJ5JMF57k7WLTPcV9eMUMib4ZkdydLiS+3aSDEf52YA7ganv22uE/iOe
9G0c56cYZ+KiC6ejjU9y8mWtOyOhsEnfwf2to+hZ9PBcouFKhXYjdyYSFjdVpN/8luyv7NbyTRm9
8zyUEIgSdbqp5r5RvG/IqzdI9Q9KXG8KHAjoyC9OPVzItLwCFlq1+RrR5EXpxpsTk5uek6XmF9GL
i7ATFeHXh2awzmatvoU1hV4/WPV6QHcSNIfhDG+e5X/PLSqzVvze5uNRl+Fk7MwK0QvtyKzKPmNV
K5WLL4oHo+hXttBAp7a7akqoMthn0+qvU6VeSsRlg9y0dpYxHY1XO06+qvAu29rYVXp6yqp51YgL
L2SX4Ju2aczWPygsfenw73hle20wIhOpQXrFcKSWcZL/lCjaoLdVMCVw0nA2VqAdK6t7a/zhMrBv
1mZ3rUi6WMQmzIJwohlg7eRgFTUcVpMGsa8N0oPm9Fc5YON7XwVF/MXjzNbG002Ls5e2qr7r/q3L
hqvhoyeJzOFND39vItj9g32Wh6QcE1TPOWOW3ciDqNE5xkC5EO4cuM9dV6JhzTnTeOYzKjU4n6ze
wWg/IvM76wxUi6S/0Ml+aXmPNGd084CWUy5ZCMPmUMteYk9wfIQPdXiW75Xpznk+4rThrOl1gNPB
/NEqylnL/WwNw/sL9Uz4BPjWFuFofMezGRGWqceHQQFOqoP8S4HrLvE2P7lx9TLSFt7h93jDxBXs
K48iFFXaB6NjjagL+xAzxD6QepUi3BrVtT3AvwPyxOnuexpN4y4mcxcMS4NaJnnOhoFED9JuxiI7
tlrzw1Asc2H4bkvxlxw8PxeEX8VQrZa5NeDTI7ccjv51IPvzoMkF2YwSm7fm28YJ3qfI2n3n2F+x
2+mbudp5r3vOVxWz/qMMiqKCj00vXy465Xr8YwHuBE89qSmr3mgfHBwRBxWdFfqC1Cd5JpT49HrS
DvOFGCuNfFuz3fgTS2VYHKxG/INPZPNQpE9hRBE3aClQu14Z0PJPll0Kf2hUo5vmaOF+RObkhhND
SKfusOXSClLWU96v+ilZ52RkCzT3nAMAQz27zTtIwE1CVt2I+Sge2xWhRU4FQ5VbWv1BKclLyxrq
7FWnyJJw0X5cdCwWjny4CTVsc3ZoE26YFLEuAYISotRMlfCSF2aB/tC8uQsvJUvZ8nYhZ4F1Fbov
WFEQ0CP1PkR594MuxDJXYuDduPZwEUaU9QfOxql5wyfa0gIDJ5EpOAJrS11oLH4wELJjg+V8S5Xk
0OfW2TXJhQh73E+Ak4tyfGYlx2KNwzyuGTw4BNC5P2be9BiQN8vBth59Jjqm5f6aqugB1HiNRYQs
ymbtMvwNeoWRPXGeHcU+W5m46vV4TczinNr0/Hx3O1nRS2TuFIHgkWrbT5P6CyyaoMj/g8SrSxFR
Mvuv/9T+PE32dMdzbXqqNJedz0LbKIZoF4ukgOWQvGPdF1p6zR1x9d3hXIfLSRmPFfOowanWf/PO
n/0TLlFhHqsHwzJVU3PtTxYDzxQdMe9OThtFu4xE/yykyj5d2aCPqEbBfYSogrxE8SAoMVX6m7eX
qqKP70OGoVkUN6SsCeUoggHdc9RPby8cB0+pXxbQa5jEM9YAjt4oVUnp4jEB+GEb0UtT7Nvha2Rl
x9pkVGNiG8bj9m8+yGe59/xBXN2xmbR58v980J98JAEiGVwEfr6TP7419I8WM5OUTBZH/TKWTAzS
9tEByeNio+20ep2nHTBFQrc1zj4pE1YP6EpuotV8+utPJtdof/6KPCq2UoWvYa36509WJvB0YWDn
O69jCUXYsxEaX5UmQo0jBJNQC21T0r3Ou3fZMD9PxzdmYteguRRW/KJ6w5sRMgDM00PXmi7BljTI
pzKdbi2nLiMel/bINIS5HbpH1BbDVk5BbE9sk9jahRwAcpauthwpKWrHMD7AEbxAONrV/BZkZqzS
olqGYf8IbGOtmc8k3W4qTn6+223h2G5rt3msRrFLITMQsMAcFjt/729yu96o1D4rgw5yFqC/pd06
qU/2YJ690Vg6Rn1xYQLgJnmvvI6Xj0ncA8DBLBEVm6QA0vNPiTNBrcmpqqBE1In+GtZF/jc+o3+1
e5ho49DAa0BMZqfOT7uHnkaYz3WTPBC92ZiFekEndsjS13lmPdy0tt7/9c+u/cl3IfdIxIJy1e6a
HCOffndPaC5rU47MwCbOLY2/gbe0Y+MWF+Kx4cQHOid5GYlUhm/iU2vqryx3D5WZHQzm9Wlv7bXp
W9jk+7w4TVn/6Hl04/T8CxpAdgbJgCLc42IAF8ZI86XRj1Hr4jzMR75ETh0if5gYDzumYvJ1hVtu
kAFbPbGwTEDlqiBlT/CIHNL04Qh5ejk6061nVZVZ9dqL0d5kP+xGW4Kf2LK+h9ecnvKoJ47s1Q2R
92jwwjyb/v8AyUOH9huNOk0t4Vr7WLOUlVkS3YQoSi/XHZpu9iL/5LuS4uInb1rbIfnprzr5EHBe
vuTJcBOOf42ibtmzBGMGbjzrKbNj0qJSy/i1ZjkKJO5FTlrbEuSulZ4zfMB1N771OtOxPGLJHj5W
9R5pOsidPaXfS2ARiKFmxLqYz9KBIUgqMMeHQYnfFb3c6YG1ckn/Ru/2gpX34OgoBS5DaRAbY+3o
lxz71n22e+0il3vMWI7jWuFwtZyPdVJh7/RuYtjFRZF/HXROWvwd9PXPnk2ukVEgGehWjtYfhau+
+a6JxY4ywV/vaZ/V6PN+5sggZ9V1dCIl/3l8mciaqUySMKhgou9nSTfws2s3xy+f5J+c2+Uu/5vR
9l+N+pbKlNMFWONZn82NNQ0QJzVHBtuEBVnDwrT4+1PqvzhkHVvDqyEvPf2zoDUKq6RNVZVEBRdT
rbCghujpdK2HZFtBkXIoBX1N1OpxItxkdIms0dQjLLd3OcuuvekIUWEdGWS2WAAKdcoRin5OWPb0
uvnsMBAifseMxXMKqMlx/OravE3VJyfcd1ToQfcwECfZcOsC/dYDlF/A5gawQq4RYnz0tHQpu0eD
37/zkxfdG49t2xIowMdkXeYY0y30zHNSmrvBYEqO3dlyHicx7CwWOvJDWsxDaIadR8O+FhQt0Pih
iP9eUmFwCcuOhktixCdPdFfNsZ6DbDi6dnzKa+MU6sFaacajXDa1YOHVCaSxVT+wexwnvI4+pY+G
eoGOT3RBdQ90XPGkYXRZ+GG+7gamXqQAv1ucLpSRNUmUnPohOei6t0j5Jd3U2Mm6gnw7tWag6WPr
Obe7a9bU66RynlUsCXJRIl3KCp/F98VVjuAm67W/3rkxav359MkuhsmCVZFqmtYnH1eul+1Aizbf
aSmnTwyiy6KK60XUsm6qMWnQPVOPRaq0Sy3kN1KGaCuach8OyjfEUynmkv5cs8zrWRp2pn3uTPfQ
tDeL3kzFCl0u3foe3P3wGCrBQ+PqDxiXf/WkfCqnGUpnlyb70+gmL6Qut5yy+EpF3u2J8dgUFP5y
i9AF6D1xRQmg58hnNionFeREPXa+dZajajX1bwW2L0VtjpEvsFsxWWIwc4ziZJa80+geFAxIpTNs
NYoLVO98ZXj03P5R66AyWsMmK37IRaqDP6pWQL1O7YYs5WNjEAVlMduh/kI/9FaF6oUF3iDMJe7y
rZyNkTy5ImeKObh1JkkhIG3YrBv8SuJtBEQpJ0FWI0sWqEFlkqdE4kEf6gpxsy3+4i7gkDD8ryUl
utZ9TSzlkbl7u/rrH/pfjGJM3OR/yOGpbH/6mUWA/rwVfb4Tbg5xDUde6VDXFGIrd3KjhRZtH3wS
y/76bXULdf7n6ZnL9JkztKbpaBc+DZ+VaQDwMglmb0PrRlTuSZ7nIHr3abcWKj9Gmp18MtBl/SyJ
+5VvmLuaCU9J7LmscII22BkNgYiTvsrhWctJdkJZs1Y1sA/8nvarTSHFLOqFnC+5FEod+tBUN/LE
fe69ZiOq+CCHDBEBwla2TW9v0SE5gvVQiorRz8Y3NCPnkNa/SXEvHiEil+kJuttNjrsxO12cU0IE
L1Vn1hr2O6i800jECeCux4BJD/OJopreZNfMyfk1Y/PBxiCA4vKUG6zH4+lxSMcjBiv6wxzDgZG8
yL/ZmNTbpKm3eFJPVcfvkrwqTgpggWUfz00iwLBOvdZhi4BwPMiJDjaBY8tu37BylQzuKj0TYOta
/jP1QKkccp9lhSLoSfEmNaI1zHM5Ze+yHOL2w5ecmflvReVt+2w4aa0MRH+v03hDXPzJNpl1jNP0
lqlrg0RYSgSgrJdKNJwRSrI2ZFoHQuFlAjSHmehLgDGM0Q+8dFhpC2JrNg3L3ThJD6NqLkJXPZXQ
ZcnyI1EheelG5yyr1lg9gNDAIKiCDYKJtSzCsfZ6k380OI6rnmiXSokOKuzMOu4e5Rk+4tgQvXUO
/PEir5f6eCQxKKJcVHfRKaec3A/2CT0+OosJ1EuCwMnHWNCm5k6OvrKyVrBeNNv+i0ZKolzEjt3V
HcWbVsTfJoozWqd+Uw5y1O0okqt+fNJpHWhT/GJG8UnLOxab4YuJp6NWLEZoqq8ZDuTRB+uXAB6x
rGdZaQOIsKk5enPVwh9JBT7l9MHssgy/xbij5IRJS8cbms7nOAjXwMnWWjK99SGnOmYTfZ4htIgP
oUcdEUgswvll4ND0DEA+UtNsU8qL1RpVFbPbA+ik47zD0/SQ08iI0/Ag+D4ZvUyqAmYOR5ezINFU
Zw+NCzXEpZ6JvTz55GbLCtIClEGacfCmKtT15Q4nq68xJ9VyYO3QVOiI4K07hEfQWO5v6USHB1L3
uq8Y/Kd+21dUnRmOZZ1wKv3f/3r40Iw/2W5cudq0LE+1bAYR9dMsPx2NuNJNLN2NM77lDV/kJPaG
/506FwWPDnioXIy6XfZAGZMeDVgLDiRZe5Y7VhN6aEBb1gCtR4m4EIQ5JtY8bM8v4OivVcwEt47e
0WW8xS4QOms4c/L+5kkQrO0GC4wc9QP1ILFuvibIdxcqbuwhQqlh9pxz8lox1yqJMN7QjTtDRjkZ
XXfJcL1uoc/AViuZMrsTMTTRsyarSPbEYTLYWb3R9OqlrMmzCuhyL0AUXuuCWmhbUNtUjVIszkAS
WX6GHRkDxVbAOPWocsfteIOsGPb9u1obhLlxgMvxJZwM5L8xmRvqUo7qttke1zqDkxxzvqECPqtV
Tbc7fFFdZiG9uBkq9qHY3LWlRMzBQ6vX8hyeAsLzMeIUdruqBFM9ed7t0hO6po08/hrH+6YZ33r6
GmmsXuSryWlSQFS0ELhXvyi1QwIDC2D2ioSYPvkiHvX+mvKyrAwotBOwAB3kSsNs+quWYGAuxrcx
4wNQt8/GPKL4tNnVJbOgontUHyKZDEbM+LZHrWzncMGr5j1tuyvstIs8oFvnH1P//++9/y9674aJ
3e6no/VPxr7v7Uv4c8/9jyf80XPXVO8X1VJpb6u2ZumGyRpH/N60//WfCl31X1TwWywMVAx/qskx
fzf0QRLATm+rns2ZwGS2+kfX3XB+YQqgGtjsqQC6/8fOO+u2TxMT1YXuZDAxURlXdAIXPlW0CiwI
aBPd8WRrCjOBJCBlhVID0P/7Jnw/JCZ9RMDEx+bnB5gpyS0LkjIEIvqMhinNj9CC2AFLcJsDQsyk
ObYvAG51hfkQjFXEjFC5hBQZdnXnPtS1IgAcmO5a0aZ3MPbRJR+nmpyQEeTSkMSbolZA95lTCMc/
YGHM6hAQcnDOJimYCuNfEfE+w91zFqkvIoLe0SolNO/0rKtoCHoEJUgtNLrAZEV4r7poIghhFNql
1hT9f/Fl3lS0wp2+zZuwI9L+SICmwGDb4plA3vPHEyKp+/74Kn56mflZP31L86PmGxlBAYFOxEPE
FKOhUSMA0hJ0c8/zpt+JdGOa4dWSd8w3zReJVBh/4rjebzNFizRwfmAKdfePTVMhG3oxP2q+a376
/ep82/1t8FHwxPn6nzbv7zQ/ab74dNv9dYOotPZjhOCsFSiPVCl2nLd6eXXeut/RSK3k/eq8FVg4
AKBz8uj7U+4vMz9lvhqmsFTViGbcv3owPBXCJT+/4set89OtQMqj5s3IQQlQhR8f9tNnur/f/Fqf
3mq+GsqdQtHNngnrP/6ecpDq5vk6nkx9mRPQzbpLSuby+TKadXamVNLNm4QRkkmT4SII6mI73/Tx
wFzecX/Ix2vMj/54kLz7fvWnu5NZ9NaZmM8/NudHfXq5+eq/v3t+C3H/lLSWAjxDUUFJUEpJY6ko
RBv9xyesAgX7gSeUclW3OAE/rhdS2zs/aH74fHVSqAaKx/nW+Yb7K012y4vM14Gm5Yd56/5MzPFo
9+7PcZUOx0amo1UMlS8GBLlDq+UQ3q37Zufn9SFjekGtk/vhPiWrkjkWbo8AXbaWGKu+c8yVUJR+
lZhfM6ave0126ahJN4c8aki575WN0yrjjkrJspy9C66UtH5salK9avFt4kGVZoaPzfnWsHWOJpPb
7XxtvpifOD/ufvWnl5xvnO+eH3h/3nybr1PPLgie21TBBC24z4rXfqxA7fr1cZJqWTVPzYVt0Sjz
0/bHLKCfL4yGHuGimMdzW453WkZrvUDvh7UI6CWymOFgOr4N1lVdgS84T2Z1LSyI1fosyPayAT+A
9VBnzbifbSKzm2Teul/Mt+W2Ua4Kfeo/zB5TTUbSMqvALpOd+2Ti9OE8odm7/+buzHoT17Yt/FdK
553IfXOlc6RrY/omJCRU8oJIQmHT2bjD+Nffb5lKEaiqfbY29RBdJUI2mMXy8mrmmnOOMfx4pzYX
PlibClyzNuRdIyjlcbAp9qQkLpA3mebTMQGPEdBAaPHZTaBkFqtOsN+hWi1O4ZxxtJS7UPJs6R6K
VdkRzpONE0AV7q5ycCUV9KCCI5iAoQSWqJEGO0z/7FFX85lqwUm9SRa7LgHHqAsD+4q09ZQVQlKn
jQLPuFAkMiIRNBXKYEd9E5E+WR0lVqy1TCUDO02WsBXAnqLDbnmE+lSiOUkkhG2qwwqmUR0FiKqp
7NCghWYEVS++0Oc5nVZH8aEmN1QE0SqMRvWy8uOkaW7ltm2uBe2I0PmpLYY7Ka01idlGaObtGQIH
NMaQD0lQDJHY1sTZLeRD7OJEZ1XFy6n7nd7brdEIMHNtXV+bEqwy4Rq2FEZBdECMR6+yw0/n1dFO
yQp+zI4PLQuQdM3Mi84qAgDumOT3INsEEW1QnftsujsFQrvuaq+I3B0z1bxkig7UQULdNbP2NbbD
pQZDWHUIsxphLKXtlyUE0YTRFzEh7wVAEGexAH/ib+2jokwlK7PDTUaAvAMUxSJ9I8HzJkTAAmuL
mQ8mD2WhEv+DyU4bsE/hEYyPCgcMax605MMoWTYO99Dlqn47uS+eLb+JIwWJWDBCpM60at9CHzkh
2IFcBO7oiqu3AOT+bZA3o8XXbENZ9VhqHbKv3qsaDXb4lJIWQl6IxeRI8ngQ8HlE58naIvTR2loo
IAwW0q188HbaWzadATSn6GUMXNKVt94aFdlHqFbjmif5s43aywIHF7JVdDMLjsGGv60vbWSvoZ1s
b8q5oqBLtHcivxPsyTVp54IZACQVsHQ3t/LGXnswtJamt1W1my8m5tyI2gf9Ada6EIi+3IqX/dBA
IrW5W/emvmdBzXDoanD++v1YakdSy4rhVfLCHO2xJpSTJUjmSG0mNKeCCBgTjka1gr68czO7XbNc
FU2gb0WU4MLEnZ59jYs69KGUOI2GMJ5stg0fJZkMCbk7aGH22WRTS3D+3Ubpm5E3yW7umqs6OEYr
bxJPIuoIs/Z23SaF0BWMcHDbbpDGuzPXDiC5qTRY5B0DTWT0RKyWOtsvSlKhm1DgRqu2skKer53v
YEwfwDmf5LDtQwQ8DtRH0pY3t4dF86BgozbR1ki/KYgIfo0frVqnkFrqNyQ1ZOy1odzfJGjbtqbQ
rfseKOXQbq5Rmn5ckhTj7YeLoC4/pP2grkJkRbIl7lo2dWn7YLQLtRn57c3S0eN5CvvwuguW2Fqh
Q9hCT84oe5bysiyxIzsl/DFJ2ZPsEfyxodG04qZfdmLzdpV1l0EnLxkXuNfXS/xK38LFI/wNCLKX
3cgW7Q2IHEoYFKrWuKm/Ib9mkmW1qtfopoXfAYG0UD2DB5g3y6irs0cmv+GNzCO/qEPMYKUdoVc9
IkUQMUgVVViitFuvtls607RD71TM1g4NipoHqaa6c40c3lFXUON1dUSgChK8GlA1CJeBjQxzH7bj
re3iGTatrpS25KIu9aI7vUbId0w0tJRaGgx37U3agk0AWQUT+SE4CWJMh565L50krgMLXSeORmTx
4HjFc/Hgx84SlxkhulGqtPc+KZx5T08bBzSbmtwmSUKOvm5laZsdNmLd8nz5jPKSkRdA4prQNe+V
u/2mB2e1NFaIGdaepG0/MIekDZI5VDYN8nwMLHB382SrnYShsGhuyMgkZUkK7pAndUoNMUbpNl62
JWgRhBaZ1tCgK4EBaAN5UFchT00HgQmchCwkdujgyt0sA9bQW8Yv6aYJmTVY2HFmDVO0LpetDbEX
fBpvJODbD/Az6546wEEDlhd8M5qxEK37QFrhVH4CPGSYzeUBhoWG0OGI3fAr8GibiTNyVKMu7eqU
ktSaRFMBudDmkJ24SHYN1O6muW2RvFITPn3HyhySy5ANRTvHLZDWXteDmqOS9Zg+sHFSEXHrZl91
lZywFrk+aSu7U96mqrdCHYZ6AZJEY20NJiFqUicINK1NTyGICpGxu3hAhQ+RnqCp2t01fkkP/fFQ
uUc/HdYxsgoced/L9z1DavgvWTAo7XoGcn2GiruzSyXngEs6GOSOHaNlhvz0w3ay6e86/lAb17y0
vPODRmk6yu4ZOi8fKBA6AnhlddlD6QcKBHXdlwtYl/oxcl/IbUQPh7Cxs/Bxdu31KPedYuVuRtBm
y/gIJQde7gN507f2BBoZ+zV8NLv4SIsWZJL3W0DrWnsxKrtgxUvZKyZ24lrglrfIqxA7gz6AVJv6
8qukdtAPgZvFye0WBFx0DPgb8WOtoOfHCmb09aLaWK8h5DDWSpCKI3zTq2QGlyikNyZiZoCYicdo
6FU5+rKxiF1ovrXwfpz540PZsSzdSVMXqlq0nEyDLIn7xfLb/vCUa2wfhFqSP9kkBBFSEr2HOXyH
EidSQ81daU1EA2llZ40A9bRnFK2cmSXoRBJ80bN91JNr3YQQp+VBcB+jVA03ROFsIUokH3gH+h28
mgPbTf4Ge//SGfpfAw1iUGfVZUPjIzcL84rh+GOg7c39XSgylutIE0L7uEZEkn12Xd3BheqkLzKE
DDBGNInjjxHtM1zS9FyYsxvQwsd18MduNIH73riF962tjdRVo2ws69vu4daIPfUZtZWlixCR6dHT
TG+1d6W3iOngEQbNwJXuRdq+R81ll8HgTxCHn05bNlzyD9qt9Ra1Fv1Ffx5PMpISBssUXQOog+D7
cGv0WE5qXs1NHf0uqUP42YI3yyHpxEUAtKHfvTpzkgpek4ZRBwjoKLfqYNtSbg9MChgAD5CeM2K2
k+VEUh1548QT/S6fuqrpIO9RRN50bEBcGnk+wR7ow8JGkrfxJK5gkqlPb6emlyskKzasJTo0SN+A
24KAz1mgDwi1hAOyJ80bpIa31/Q4vwV7dPicNKMhWnAkNaBwmNyxXULOb4pvPG4cvKCj1ZFu5kno
AJcb+XZQdlTThXHgxXZQ5W0t0QRTGvKkrUHA9jxduGoPRBDJn04yqL1Kj8hR5IGTzBYMA2DyI721
GUkPi86qby9ZEuAicafLAckS4UPYhGAYLfuR9YQyKJ/Jk83K24Vu+WJSa4ImSGTD7dYOYUB3fQuz
zeW9wFnWgxHxCbzyJs0+IUJCP+MN6UEeI3CT3yuPyQA56kZ+q/fQq8pvV13DRZapdBoZwoE0mgsL
di8Z5Ldxe9p8Rle57JW93UBtWDsXQlFObd/rM7w3JYON0wJd5jH5zXnuNEoMhMP2nitCBwaCQdnT
G/5T2tZht50dPDQKO8/JrOhtBkVdR4KhifXRUzrbnq84ZQM6E3fl1rx13XagD3CW/am7cbikHvbX
DbuhuMvbtA3RSzReDaJx7WtwB53SbDlGomtsOtK33ePei9q6E9VBp6ZPiwkE0XrdHqvkxkK2AZ8M
vYcUgLrcYNWYMJPRdWhhCJQFV5JLjy0WYg7f35Z3cc+Ccqu9GtRawDd6+jiqm/Wpu23at+hsNcwn
NLdqQHr7RuyWT0htuNC2uMxQIB+Qw3yqqS2oh1hcnjbcVXPRxChpr7t0h8flOO3tv60GVjPv7WYk
9hHHJiD/7etmENwdvOk3/2n7tmlJtARzjN7Vu1kfjvMSZMH99j7rw1fVyJ6lh2BkwM/B3OIkDKrA
GUtzwhI1FIFciGphUnLG9kv2nCo82VV3N4IDd6Y9xE+HARMhE6Q2i5+Wr5q7HyACWdyvuquu8mC4
qDKNtIeVJ7k0ahNqK0dyUfLhB16QMmH2aaAFCE+Wo/fMluGGHf+r6HSt2gSCIaY3gvrMcLtnjcM+
RF68WTibkdzaDlkSO7s5fTV8WG+dNl7/RvJArJI5Jp0gVh72WZ1W86rfp5PlEN4G/gtGUb3obnhe
0HoSuzA66tQNkECAs2vrMp6DeVrW0wmfMZhg+QcqIpBBNI0GGYSzoZlgLGPNeClflve1KQxT7nQP
kLshS44GzJRIJtofD7UXqc+8bLh6o2iT0cVouTU68D22UZhoHQbFW/xE/BLixgb9fTveY5K/LgwH
huTH2rBsyI1FK2RFWsot9Makx736ddWU2mj2tQuPtZis4dJTO7W+2k/DwDPvNvMDpl1S9+03iP93
5FopLJlkjUws04HuzR8d7qSmOSx72WFETkwXk0IvVowV6Sl0bS9vTW/nwYigagb5JFnoZX2PqdxZ
DoNROSmqCbCaJaZYtyxEmpM8hHMCTkwqkqO/ZHwRgOkWBwa5Mp75su+j66E9pu1tvWijPGjN0uGu
Y79s1h4y7QBcANXPOIqf/K96Lx8iVUqtSzhZ3eQuR1Updnnu+b05geB6uIrcVdncjIR98Cy/7J6p
4jKqo6uwm+eHXjlhQcxfSh4jrDVbMRkzsWEi7PsJ0xKJWo6CFF7n4L3kLSw89pp36gB2LJLSsKNd
YMFD5lKWyedy098fmskDRLQsrcN9n3aFecvdebVutnDkodJBFc3BBHLlZ6m9jh2jZ3sWmehkKfBm
5O3q2xa0OHWjaQ+lpjQIW4RY9fFiAv9A/YC/imAYg3fRevHrkac3C581rRgZPfTqWPCWQ+pd7DxI
zRgvJHs4m8mOFefFfCuf0r2rv8lP+tBi7V427MF2EnVhPO36iWvfKUiOml629FjSlFvMQfwwdNqH
oqUyPcftvRvXa1353mrumliolNy8teo6uDlnP7fE3S86eTdsImg1z5knWkQy3Z0rt5aN5X0wWo30
7raxv2ugeS9PFLoAiKBaXXkgVyoZMWanj/gWeYDaXA3q28CTHg+zwyy6jceru80g7W2ZBc1Xe+iP
zXt5GK/dsj3tGM3NwBpB+lNfPr0s67W7opsznNWW+AMy4IMcil3jUZmtb2u6t4QFBj0BtNtzFxld
1CEDZ4UJRejf+Wr5fVYa6TGZ9qy0gV3cMTqwxjYRLY3a7BdGsCsNMDPptcoDnEvrBvN0iDbpeNHR
2ja6NMuGYnmlOZcQSrQWI9g4eYplWjfH6di264uOQT8ie2Mc3tkTKvGyaGLgQxvfqMg7AIth8Sqm
yt6I/VHldqsJR+SJ0+b4HuANlfxxfAUEDyp15eroJOR89EaRMdsI98sRuxCcUJWcfPVSeaJOp9XR
4rBHmGWvwkojfLpVfSxA45lvR/W9Kd+v9vAe+Is9OfB7FEsjeEzTxGzLe2zBPOgmteccZw7cXcBl
cm+XK0HrIIUkoDGqBflDAKIeaa8Q+NhiqOCThzgQNvDqha2LIdWM9kLwhMQCTV8dJYLhpVT3dUUg
nZMj6FlgsnEAbTCCxOEqlQJWgT3T5Zr08K2Pfnlg4cG0IAVChbFcqHhItls4m3c6GGqVDW8p8B4H
dXcLUAeVQwOPwwn44ftyAmvz6kVODbwvxLWXPhZ1VCwIUBXkFQc4IooVuSuRgRkkaoxXS/CdLJHB
01ewlwBjCZpFGUKKoTLh7mpDfLRw8cZrJk7qBEMQXF7hpMhN082gY4JkTcRSTBEeqQ6zwsClEWgR
s6mI1lU+3sqvWx2ZVbBuv9t1N9PFprkURAXVy0HE75SKbODHe1EtC1qxv2gstgdUVzN5H3fSnR53
cvFSnVYvUoTjKgdvzkYBP2j1EtVqO8WrDo3pdJRmmxxkPH7Zo69WKRVY8wGMgRBHzqsVROuIZFwo
fgrhKT/8OCKLFt+neK96uTitrqu+tqpFhFE228OzbIU4upP5SkrmEGa7xFaZAFYZQ1VinUnlsCun
igJ0ZrBOI+6rwttAZx13djKZUcuwHGym7X0GU6iSqcxEGl7xSERxioTIXnW0stDr3AL1hafkNpQM
ZFKmO7yM4MLMvCur2TDbxXIjrxnoTymQB+3wqvM0jEdTsbL28az6wCajth4s8Nl/eLP63vG8OswL
z96aUVdFL6SjM+ErMURC6SLGf5zogtzneFy9Xb1siVV24NiAckBcWp2ePt0lUzyuuVBNer+i+vBY
ipoJXqLTR8Z+O7IyMwW6ZqokXcJ+mAuK5gC+iNJRkgNyUHg2pwWZkKnMGKx4U2parnhwSj+Faz2G
5k1rnz6rjhaCEMEqS+6h+oJq7BLJqz6qXnZKjYemJevQCaNcqVcXVV/Ce41wUsXTUl1ZmGuuPBZ1
evd4Xn2h+mp16ZLsRVrrRy0/VKJ68/T103eOxZ9+/lgwRDnbRhzn9xdfqUrcm3Hs7mN82qdiTtdd
1uzD+S9rdvrpnb5aNxV7SeRZtFtV5PHw8u6ON1p9c3pq4w+/dDysLjjeoJ2xz0QkBEFVwYVTFfjb
Nql+2UwEn0l19Yd2Pd3nxc1UF/5Ug9NPlM9lqj0QpntKxEqyFZN/KZh/qpeL9y5Of3UJqvL4tS6K
kaug1eny6uh0TVVsWPEDna45ffyr9y5/piriotjjNSRk36XE2xqVWNuR2qQiWdklQEtFXLOiMqk+
vTg9spMwP3/nTwEQS1ixuvx4WF0f4msiwTRr/qqI6orq5VTM8VdEax9r89vvXVTst8VU151+qSrv
9F4homBVQs3/q/yj7zcj0oO8rcgrGmXz+HA3T7J1+oMLQ3xagfvG4T+76J1k49cFfZlXvzw+RPN/
/+sVzYNU1GARhNuPCUpAHS7ymaoqVfX9qxLWM24re6No1b6BbNGWJYNEeVWkIH1Zh9vF90+hT7ux
LZt8ReOY12SQhA13yYcW+l0b/PXtHRvzr685u4HZ2yZAqSpJ4+A1PWsCGSDL32uEizJOjaCRiKWq
aAjptmmTkGWTo/WxFUTmF9AVySJj85055XO1AqwuFvnvZ7Qyv+kKv20FuoINEFJSSVNTLTA0pI99
bAXLuFEsSGVs9Qd9zCdrBFuj+17XBtqNYquSaaumAeTPlEix+9gGsizf0AUg7UccCaiI9OnGg0wO
4vWNwJhHU12TEfoyVCHo97ERbOVGU8FxqcCIJdKtxKTxuXoC2EmRZ3lVV2BS0MB32OgiwGSkaArj
62MrgF++0bl5wzAtjRebnM/P1QrUWQWbcl0rSLSCyFA1BAb22OE/toKlIEohK7KNJjGzJ+JRn60V
mBpFiv21rQBZNJOCCnhRdImLEWHZNzKQdsMEzs4ArAQ9PllfYNK+ekQoNzQBqyDqiyrCcNbFMmnq
N0ClhbqRpYOaqkjJPlcrALq41lYgaVvRSfMGGI5uCmpOF42AqgutYJIfziqq6qykn21AIPPw3Yx7
Lf5nMQ9/GKA/m42/tRUgjNMVUzERhJJMtGwERu7jtGDbNxZrJT1Fob8cu8rn6goMB+XaAaFaNxqG
kqIDaGaaYVG8aAXrRrUkFlFTsTXWUzFtfK5WQGFUPlbqir6gYQ4YCNcy/8usg6JzfewLjJUbFiKd
xHg+M1kwP1srsFDadGAezT9vBVW/0dkmob+O3Vj1hvNWsM0bNhBIByIeKNCjQvPpc/UFnqB1tGH+
eStocExiFsM1JcmWrnN00Qoq202bblBZVDh0PqHpqBp/c1P929mRNUJnZoRo0xA4IVXc5ccRYVpI
gwl0OvB4sd2UPt2IYB+oXW066jcqOCnuUwblyK7pYqU07BvGAT3huJGqWulzjQhF0q4eEawRrA7Y
zoopZL0Z+Bd9wbgxAYjJmM4wv5ifcI2AM9Y+dtAr5gXthrkPu4hlUNBdXZqOln5jqjQAG2828Uc/
1CfrCzAxXe1hwR4QC6TO6GfNqZ71x3lBbKzpJZaiflYDWqiuX9sKGlhJ7GPQktge1dO+GBEKLhYF
YwHTkWnoM84LrN7XtoKK1aRQDARs0PFAA8ei87EvsJG6gZ4HLCdTZ9VMn81eUA0e0LVWEyuhprCL
kvC6sWsyLyxoS2IzhXGJwVBtpj6fvYCDTJAZXWU7ClcT2GREt+1fjghhQWNKYaVKbFvoNJ9vH8FG
4mrfq8xNKqaGj13osFdW0ccRwZ5Sxe+gsduy2XR9QleTyki9ui8gG4vf9ehSPPK3f2wEPE2kBZmY
1zJ7Kq3yRH2uhZLggHWt6SgMaDbNKobA0ePGvuSsFXRCEXjoJR3frJgYjq3+qcJSrJRXTgsqvlXW
h+O8+FNojp7AEBA+XpM14rjV+rs94W801I9AJ0KW67cqxBnMk19FQn93wftu+ufPv0f2BB+oiGCe
XSginsffPkVA/3O206qijx8+fI9GVr/z/evfb/Dnnz77rfe7en+zFczjWfzqH6oPDt+rOZhtCJT+
73r2MtvMPoYemZbZxJ9q8u9/ndXzw9P/LwUnq4tyxd7r6nLjoAy35wVXAbLrC17Ntsksea+ieIzH
qNO1JbuzNaw08YWs9tFpe3XZ4TqMZ2/hx1pD/crG5vqSt9v5axq8Zul7YaJJiBSwTF9beH2+nu1n
8fy9JFEy+hpsIq8u+Xsw/Uv47QtEy9nm5VzNHFa1P9ALG7R68HbeC3ELMzVeW//mPIwX51UWlMKs
BNeW3KLFg+C9nKp7q5W1cW3B7beZf9YBUeAVfsCry12vA7iWzkfkMex1ddHbt2B2MYsccw2uLjnc
n3eLo/vx2mK7P89NR0//1QVTQPa6Orw/rqpfHG2da4tGCzZIfmpmCEz/QN/oz4Lt2ezx3bV3bZ37
s/jwk0bR0V92fdFJMnv1s2Sepmd9Wth7f6JJglc/WMzOM6mOTq6rqx6wFiRhetazRSLFH5jwUI1I
xH8Unc1NxBOEpXl9zRNoqeLLov9IxWGwvZhD8HeKrK1rKz2Yv8SzC+vpe3jz+qLz2fm6xX5LZY97
fcH7L63ZJkr84HxZp3yRQ/Inyu/M42R+NlMRjpb/UOH9eRG8ni1jFP4nVvTBfP/lKYxX720gZliK
FnkLVzcKBDj+FxeueFbK88GJd+mP/UB9troc+0f30LX1H/rBeYsfU3uuLna1xiI539V8D4ZeXXQ8
RwLj/clVjxLPzh9o6dv5dpsc1vnsYpugsBn+A4vDf9Pf+5CW+092e/dh9puOKELxf8DgPv7Azx3x
e6T/2sc6pvXnSTI/MynwyokcwOvLLs53lfh/hFfx2nJ/R+t45aN8nMcbVrb3+oku/j08cm2FHwN2
NhfdW9WruPS1RU9mrDvbRXo+NL/nS15dOGyYX35Z+WOo4Oryg+Q13AJvOGvzo9P16rIRjKJhzktG
ouf9jWMm/s9D/leeph8J8j/7n94T33/1tXPnmrjidT2fxf/5PwAAAP//</cx:binary>
              </cx:geoCache>
            </cx:geography>
          </cx:layoutPr>
        </cx:series>
      </cx:plotAreaRegion>
    </cx:plotArea>
  </cx:chart>
  <cx:clrMapOvr bg1="lt1" tx1="dk1" bg2="lt2" tx2="dk2" accent1="accent1" accent2="accent2" accent3="accent3" accent4="accent4" accent5="accent5" accent6="accent6" hlink="hlink" folHlink="folHlink"/>
  <cx:fmtOvrs>
    <cx:fmtOvr idx="0">
      <cx:spPr>
        <a:solidFill>
          <a:schemeClr val="accent1">
            <a:lumMod val="40000"/>
            <a:lumOff val="60000"/>
          </a:schemeClr>
        </a:solidFill>
      </cx:spPr>
    </cx:fmtOvr>
    <cx:fmtOvr idx="1">
      <cx:spPr>
        <a:solidFill>
          <a:schemeClr val="accent5">
            <a:lumMod val="50000"/>
          </a:schemeClr>
        </a:solidFill>
      </cx:spPr>
    </cx:fmtOvr>
    <cx:fmtOvr idx="2">
      <cx:spPr>
        <a:solidFill>
          <a:schemeClr val="accent1"/>
        </a:solidFill>
      </cx:spPr>
    </cx:fmtOvr>
  </cx:fmtOvrs>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8E2607-C4A4-4F2A-AB32-58FDFBF098AC}" type="datetimeFigureOut">
              <a:rPr lang="en-US" smtClean="0"/>
              <a:t>6/24/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3160074-8563-4F84-946D-F1435DF22C42}" type="slidenum">
              <a:rPr lang="en-US" smtClean="0"/>
              <a:t>‹#›</a:t>
            </a:fld>
            <a:endParaRPr lang="en-US"/>
          </a:p>
        </p:txBody>
      </p:sp>
    </p:spTree>
    <p:extLst>
      <p:ext uri="{BB962C8B-B14F-4D97-AF65-F5344CB8AC3E}">
        <p14:creationId xmlns:p14="http://schemas.microsoft.com/office/powerpoint/2010/main" val="1944798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C862774-30A7-4074-9334-2BC3E0F73AF4}" type="slidenum">
              <a:rPr lang="en-US" smtClean="0"/>
              <a:t>1</a:t>
            </a:fld>
            <a:endParaRPr lang="en-US"/>
          </a:p>
        </p:txBody>
      </p:sp>
    </p:spTree>
    <p:extLst>
      <p:ext uri="{BB962C8B-B14F-4D97-AF65-F5344CB8AC3E}">
        <p14:creationId xmlns:p14="http://schemas.microsoft.com/office/powerpoint/2010/main" val="21160849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800"/>
              </a:spcAft>
              <a:buFont typeface="Arial" panose="020B0604020202020204" pitchFamily="34" charset="0"/>
              <a:buNone/>
            </a:pPr>
            <a:endParaRPr lang="en-US" sz="1800" dirty="0">
              <a:effectLst/>
              <a:latin typeface="Calibri" panose="020F0502020204030204" pitchFamily="34" charset="0"/>
              <a:ea typeface="Calibri" panose="020F0502020204030204" pitchFamily="34" charset="0"/>
              <a:cs typeface="Symbol" panose="05050102010706020507" pitchFamily="18" charset="2"/>
            </a:endParaRPr>
          </a:p>
        </p:txBody>
      </p:sp>
      <p:sp>
        <p:nvSpPr>
          <p:cNvPr id="4" name="Slide Number Placeholder 3"/>
          <p:cNvSpPr>
            <a:spLocks noGrp="1"/>
          </p:cNvSpPr>
          <p:nvPr>
            <p:ph type="sldNum" sz="quarter" idx="5"/>
          </p:nvPr>
        </p:nvSpPr>
        <p:spPr/>
        <p:txBody>
          <a:bodyPr/>
          <a:lstStyle/>
          <a:p>
            <a:fld id="{E979EC68-01D6-4AB6-BA55-BD26AF987F6C}" type="slidenum">
              <a:rPr lang="en-US" smtClean="0"/>
              <a:t>10</a:t>
            </a:fld>
            <a:endParaRPr lang="en-US"/>
          </a:p>
        </p:txBody>
      </p:sp>
    </p:spTree>
    <p:extLst>
      <p:ext uri="{BB962C8B-B14F-4D97-AF65-F5344CB8AC3E}">
        <p14:creationId xmlns:p14="http://schemas.microsoft.com/office/powerpoint/2010/main" val="35099819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A767541-8FD6-403D-AB8C-E0947074054E}" type="slidenum">
              <a:rPr lang="en-US" smtClean="0"/>
              <a:t>11</a:t>
            </a:fld>
            <a:endParaRPr lang="en-US"/>
          </a:p>
        </p:txBody>
      </p:sp>
    </p:spTree>
    <p:extLst>
      <p:ext uri="{BB962C8B-B14F-4D97-AF65-F5344CB8AC3E}">
        <p14:creationId xmlns:p14="http://schemas.microsoft.com/office/powerpoint/2010/main" val="5391918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A767541-8FD6-403D-AB8C-E0947074054E}" type="slidenum">
              <a:rPr lang="en-US" smtClean="0"/>
              <a:t>15</a:t>
            </a:fld>
            <a:endParaRPr lang="en-US"/>
          </a:p>
        </p:txBody>
      </p:sp>
    </p:spTree>
    <p:extLst>
      <p:ext uri="{BB962C8B-B14F-4D97-AF65-F5344CB8AC3E}">
        <p14:creationId xmlns:p14="http://schemas.microsoft.com/office/powerpoint/2010/main" val="5391918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4/2020 4:41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39856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cs typeface="Calibri"/>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3BB1387-7C02-472D-B9ED-B00C95D3EFDF}"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58315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3160074-8563-4F84-946D-F1435DF22C42}" type="slidenum">
              <a:rPr lang="en-US" smtClean="0"/>
              <a:t>4</a:t>
            </a:fld>
            <a:endParaRPr lang="en-US"/>
          </a:p>
        </p:txBody>
      </p:sp>
    </p:spTree>
    <p:extLst>
      <p:ext uri="{BB962C8B-B14F-4D97-AF65-F5344CB8AC3E}">
        <p14:creationId xmlns:p14="http://schemas.microsoft.com/office/powerpoint/2010/main" val="35595035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05293"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MICROSOFT CONFIDENTIAL - © Copyright Microsoft Corporation. All rights reserved.</a:t>
            </a:r>
          </a:p>
        </p:txBody>
      </p:sp>
      <p:sp>
        <p:nvSpPr>
          <p:cNvPr id="5" name="Slide Number Placeholder 4"/>
          <p:cNvSpPr>
            <a:spLocks noGrp="1"/>
          </p:cNvSpPr>
          <p:nvPr>
            <p:ph type="sldNum" sz="quarter" idx="11"/>
          </p:nvPr>
        </p:nvSpPr>
        <p:spPr/>
        <p:txBody>
          <a:bodyPr/>
          <a:lstStyle/>
          <a:p>
            <a:pPr marL="0" marR="0" lvl="0" indent="0" algn="r" defTabSz="90653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0653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77128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Airband Initiative focuses on expanding broadband to bring digital transformation to four key areas: </a:t>
            </a:r>
          </a:p>
          <a:p>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Healthcare</a:t>
            </a:r>
          </a:p>
          <a:p>
            <a:pPr lvl="0"/>
            <a:r>
              <a:rPr lang="en-US" sz="1200" kern="1200" dirty="0">
                <a:solidFill>
                  <a:schemeClr val="tx1"/>
                </a:solidFill>
                <a:effectLst/>
                <a:latin typeface="+mn-lt"/>
                <a:ea typeface="+mn-ea"/>
                <a:cs typeface="+mn-cs"/>
              </a:rPr>
              <a:t>Agriculture</a:t>
            </a:r>
          </a:p>
          <a:p>
            <a:pPr lvl="0"/>
            <a:r>
              <a:rPr lang="en-US" sz="1200" kern="1200" dirty="0">
                <a:solidFill>
                  <a:schemeClr val="tx1"/>
                </a:solidFill>
                <a:effectLst/>
                <a:latin typeface="+mn-lt"/>
                <a:ea typeface="+mn-ea"/>
                <a:cs typeface="+mn-cs"/>
              </a:rPr>
              <a:t>Education </a:t>
            </a:r>
          </a:p>
          <a:p>
            <a:pPr lvl="0"/>
            <a:r>
              <a:rPr lang="en-US" sz="1200" kern="1200" dirty="0">
                <a:solidFill>
                  <a:schemeClr val="tx1"/>
                </a:solidFill>
                <a:effectLst/>
                <a:latin typeface="+mn-lt"/>
                <a:ea typeface="+mn-ea"/>
                <a:cs typeface="+mn-cs"/>
              </a:rPr>
              <a:t>Small busines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Broadband can enable telehealth services, help expand revenue and reduce costs in agriculture, facilitate virtual learning, and help small businesses reach more customers. These digital transformation efforts can help level the playing field for millions of people. </a:t>
            </a:r>
            <a:endParaRPr lang="en-US" dirty="0"/>
          </a:p>
        </p:txBody>
      </p:sp>
      <p:sp>
        <p:nvSpPr>
          <p:cNvPr id="4" name="Slide Number Placeholder 3"/>
          <p:cNvSpPr>
            <a:spLocks noGrp="1"/>
          </p:cNvSpPr>
          <p:nvPr>
            <p:ph type="sldNum" sz="quarter" idx="5"/>
          </p:nvPr>
        </p:nvSpPr>
        <p:spPr/>
        <p:txBody>
          <a:bodyPr/>
          <a:lstStyle/>
          <a:p>
            <a:fld id="{F3160074-8563-4F84-946D-F1435DF22C42}" type="slidenum">
              <a:rPr lang="en-US" smtClean="0"/>
              <a:t>6</a:t>
            </a:fld>
            <a:endParaRPr lang="en-US"/>
          </a:p>
        </p:txBody>
      </p:sp>
    </p:spTree>
    <p:extLst>
      <p:ext uri="{BB962C8B-B14F-4D97-AF65-F5344CB8AC3E}">
        <p14:creationId xmlns:p14="http://schemas.microsoft.com/office/powerpoint/2010/main" val="27480027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68EA6-09DB-409E-82E9-8FEBB5D7AC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87109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3160074-8563-4F84-946D-F1435DF22C42}" type="slidenum">
              <a:rPr lang="en-US" smtClean="0"/>
              <a:t>8</a:t>
            </a:fld>
            <a:endParaRPr lang="en-US"/>
          </a:p>
        </p:txBody>
      </p:sp>
    </p:spTree>
    <p:extLst>
      <p:ext uri="{BB962C8B-B14F-4D97-AF65-F5344CB8AC3E}">
        <p14:creationId xmlns:p14="http://schemas.microsoft.com/office/powerpoint/2010/main" val="42707675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3160074-8563-4F84-946D-F1435DF22C42}" type="slidenum">
              <a:rPr lang="en-US" smtClean="0"/>
              <a:t>9</a:t>
            </a:fld>
            <a:endParaRPr lang="en-US"/>
          </a:p>
        </p:txBody>
      </p:sp>
    </p:spTree>
    <p:extLst>
      <p:ext uri="{BB962C8B-B14F-4D97-AF65-F5344CB8AC3E}">
        <p14:creationId xmlns:p14="http://schemas.microsoft.com/office/powerpoint/2010/main" val="42707675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Master" Target="../slideMasters/slideMaster7.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7.xml"/><Relationship Id="rId6" Type="http://schemas.openxmlformats.org/officeDocument/2006/relationships/image" Target="../media/image25.png"/><Relationship Id="rId5" Type="http://schemas.openxmlformats.org/officeDocument/2006/relationships/image" Target="../media/image31.png"/><Relationship Id="rId4" Type="http://schemas.openxmlformats.org/officeDocument/2006/relationships/image" Target="../media/image27.png"/></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4.emf"/><Relationship Id="rId4" Type="http://schemas.openxmlformats.org/officeDocument/2006/relationships/oleObject" Target="../embeddings/oleObject2.bin"/></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eg"/><Relationship Id="rId1" Type="http://schemas.openxmlformats.org/officeDocument/2006/relationships/slideMaster" Target="../slideMasters/slideMaster2.xml"/><Relationship Id="rId5" Type="http://schemas.openxmlformats.org/officeDocument/2006/relationships/image" Target="../media/image9.jpeg"/><Relationship Id="rId4" Type="http://schemas.openxmlformats.org/officeDocument/2006/relationships/image" Target="../media/image8.jp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MS logo white - EMF" descr="Microsoft logo white text version">
            <a:extLst>
              <a:ext uri="{FF2B5EF4-FFF2-40B4-BE49-F238E27FC236}">
                <a16:creationId xmlns:a16="http://schemas.microsoft.com/office/drawing/2014/main" id="{F4DDC873-B78F-4A52-9091-6AB1225F43CE}"/>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200861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half-pag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740" y="1383680"/>
            <a:ext cx="4898137" cy="1239122"/>
          </a:xfrm>
        </p:spPr>
        <p:txBody>
          <a:bodyPr wrap="square">
            <a:spAutoFit/>
          </a:bodyPr>
          <a:lstStyle>
            <a:lvl1pPr marL="0" indent="0">
              <a:lnSpc>
                <a:spcPct val="110000"/>
              </a:lnSpc>
              <a:spcBef>
                <a:spcPts val="1200"/>
              </a:spcBef>
              <a:buNone/>
              <a:defRPr sz="1800">
                <a:solidFill>
                  <a:schemeClr val="tx1"/>
                </a:solidFill>
                <a:latin typeface="+mn-lt"/>
              </a:defRPr>
            </a:lvl1pPr>
            <a:lvl2pPr marL="228600" indent="0">
              <a:buNone/>
              <a:defRPr sz="1600">
                <a:solidFill>
                  <a:schemeClr val="tx1"/>
                </a:solidFill>
              </a:defRPr>
            </a:lvl2pPr>
            <a:lvl3pPr marL="457200" indent="0">
              <a:buNone/>
              <a:defRPr sz="1200">
                <a:solidFill>
                  <a:schemeClr val="tx1"/>
                </a:solidFill>
              </a:defRPr>
            </a:lvl3pPr>
            <a:lvl4pPr marL="685800" indent="0">
              <a:buNone/>
              <a:defRPr sz="1100">
                <a:solidFill>
                  <a:schemeClr val="tx1"/>
                </a:solidFill>
              </a:defRPr>
            </a:lvl4pPr>
            <a:lvl5pPr marL="914400" inden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6740" y="348545"/>
            <a:ext cx="11018520" cy="553998"/>
          </a:xfrm>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42908266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5497F3D2-4B1F-4B39-9F73-BA917D388B3B}"/>
              </a:ext>
            </a:extLst>
          </p:cNvPr>
          <p:cNvSpPr>
            <a:spLocks noGrp="1"/>
          </p:cNvSpPr>
          <p:nvPr>
            <p:ph type="body" sz="quarter" idx="11" hasCustomPrompt="1"/>
          </p:nvPr>
        </p:nvSpPr>
        <p:spPr>
          <a:xfrm>
            <a:off x="8128000" y="2017713"/>
            <a:ext cx="3481388" cy="307777"/>
          </a:xfrm>
        </p:spPr>
        <p:txBody>
          <a:bodyPr wrap="square">
            <a:spAutoFit/>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Add a caption</a:t>
            </a:r>
          </a:p>
        </p:txBody>
      </p:sp>
      <p:sp>
        <p:nvSpPr>
          <p:cNvPr id="3" name="Picture Placeholder 2" descr="This screen 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97280" anchor="ctr">
            <a:noAutofit/>
          </a:bodyPr>
          <a:lstStyle>
            <a:lvl1pPr marL="0" indent="0" algn="ctr">
              <a:buNone/>
              <a:defRPr sz="1400" b="1">
                <a:solidFill>
                  <a:srgbClr val="000000"/>
                </a:solidFill>
              </a:defRPr>
            </a:lvl1pPr>
          </a:lstStyle>
          <a:p>
            <a:r>
              <a:rPr lang="en-US"/>
              <a:t>Drag &amp; drop your screen shot here </a:t>
            </a:r>
            <a:br>
              <a:rPr lang="en-US"/>
            </a:br>
            <a:r>
              <a:rPr lang="en-US"/>
              <a:t>or click or tap icon below to insert </a:t>
            </a:r>
          </a:p>
        </p:txBody>
      </p:sp>
      <p:sp>
        <p:nvSpPr>
          <p:cNvPr id="2" name="Slide Number Placeholder 1">
            <a:extLst>
              <a:ext uri="{FF2B5EF4-FFF2-40B4-BE49-F238E27FC236}">
                <a16:creationId xmlns:a16="http://schemas.microsoft.com/office/drawing/2014/main" id="{E13A3064-683B-47C2-8AAA-86ED9DB88948}"/>
              </a:ext>
            </a:extLst>
          </p:cNvPr>
          <p:cNvSpPr>
            <a:spLocks noGrp="1"/>
          </p:cNvSpPr>
          <p:nvPr>
            <p:ph type="sldNum" sz="quarter" idx="13"/>
          </p:nvPr>
        </p:nvSpPr>
        <p:spPr/>
        <p:txBody>
          <a:bodyPr/>
          <a:lstStyle/>
          <a:p>
            <a:fld id="{88214BE8-3B67-4CC1-95F1-46B8F6DEEA9B}" type="slidenum">
              <a:rPr lang="en-IN" smtClean="0"/>
              <a:t>‹#›</a:t>
            </a:fld>
            <a:endParaRPr lang="en-IN"/>
          </a:p>
        </p:txBody>
      </p:sp>
    </p:spTree>
    <p:extLst>
      <p:ext uri="{BB962C8B-B14F-4D97-AF65-F5344CB8AC3E}">
        <p14:creationId xmlns:p14="http://schemas.microsoft.com/office/powerpoint/2010/main" val="10870263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6">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12">
          <p15:clr>
            <a:srgbClr val="5ACBF0"/>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1"/>
            <a:ext cx="3468956" cy="1107996"/>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356100" y="2447039"/>
            <a:ext cx="7251192" cy="369332"/>
          </a:xfrm>
        </p:spPr>
        <p:txBody>
          <a:bodyPr/>
          <a:lstStyle>
            <a:lvl1pPr marL="0" indent="0">
              <a:spcAft>
                <a:spcPts val="1200"/>
              </a:spcAft>
              <a:buNone/>
              <a:defRPr sz="2400"/>
            </a:lvl1pPr>
            <a:lvl2pPr marL="228600" indent="0">
              <a:buNone/>
              <a:defRPr/>
            </a:lvl2pPr>
          </a:lstStyle>
          <a:p>
            <a:pPr lvl="0"/>
            <a:r>
              <a:rPr lang="en-US"/>
              <a:t>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xmlns=""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xmlns="" val="1"/>
              </a:ext>
            </a:extLst>
          </p:cNvPr>
          <p:cNvCxnSpPr>
            <a:cxnSpLocks/>
          </p:cNvCxnSpPr>
          <p:nvPr userDrawn="1"/>
        </p:nvCxnSpPr>
        <p:spPr>
          <a:xfrm>
            <a:off x="4356100" y="2017713"/>
            <a:ext cx="72532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55E2AA7D-76F4-422F-9B00-012978F7070E}"/>
              </a:ext>
            </a:extLst>
          </p:cNvPr>
          <p:cNvSpPr>
            <a:spLocks noGrp="1"/>
          </p:cNvSpPr>
          <p:nvPr>
            <p:ph type="sldNum" sz="quarter" idx="11"/>
          </p:nvPr>
        </p:nvSpPr>
        <p:spPr/>
        <p:txBody>
          <a:bodyPr/>
          <a:lstStyle/>
          <a:p>
            <a:fld id="{88214BE8-3B67-4CC1-95F1-46B8F6DEEA9B}" type="slidenum">
              <a:rPr lang="en-IN" smtClean="0"/>
              <a:t>‹#›</a:t>
            </a:fld>
            <a:endParaRPr lang="en-IN"/>
          </a:p>
        </p:txBody>
      </p:sp>
    </p:spTree>
    <p:extLst>
      <p:ext uri="{BB962C8B-B14F-4D97-AF65-F5344CB8AC3E}">
        <p14:creationId xmlns:p14="http://schemas.microsoft.com/office/powerpoint/2010/main" val="16839747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5ACBF0"/>
          </p15:clr>
        </p15:guide>
        <p15:guide id="13" pos="2744">
          <p15:clr>
            <a:srgbClr val="5ACBF0"/>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2" orient="horz" pos="172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xmlns=""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bwMode="auto">
          <a:xfrm>
            <a:off x="588263" y="3179701"/>
            <a:ext cx="3182621" cy="498598"/>
          </a:xfrm>
          <a:noFill/>
        </p:spPr>
        <p:txBody>
          <a:bodyPr vert="horz" wrap="square" lIns="0" tIns="0" rIns="0" bIns="0" rtlCol="0" anchor="ctr" anchorCtr="0">
            <a:spAutoFit/>
          </a:bodyPr>
          <a:lstStyle>
            <a:lvl1pPr>
              <a:defRPr lang="en-US" dirty="0">
                <a:solidFill>
                  <a:srgbClr val="FFFFFF"/>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lstStyle>
            <a:lvl1pPr marL="0" indent="0">
              <a:spcAft>
                <a:spcPts val="1200"/>
              </a:spcAft>
              <a:buNone/>
              <a:defRPr sz="2800"/>
            </a:lvl1pPr>
            <a:lvl2pPr marL="228600" indent="0">
              <a:buNone/>
              <a:defRPr/>
            </a:lvl2pPr>
          </a:lstStyle>
          <a:p>
            <a:pPr lvl="0"/>
            <a:r>
              <a:rPr lang="en-US"/>
              <a:t>Edit Master text styles</a:t>
            </a:r>
          </a:p>
        </p:txBody>
      </p:sp>
      <p:sp>
        <p:nvSpPr>
          <p:cNvPr id="2" name="Slide Number Placeholder 1">
            <a:extLst>
              <a:ext uri="{FF2B5EF4-FFF2-40B4-BE49-F238E27FC236}">
                <a16:creationId xmlns:a16="http://schemas.microsoft.com/office/drawing/2014/main" id="{50585F57-CCCA-4384-8BD0-25DF82D2A981}"/>
              </a:ext>
            </a:extLst>
          </p:cNvPr>
          <p:cNvSpPr>
            <a:spLocks noGrp="1"/>
          </p:cNvSpPr>
          <p:nvPr>
            <p:ph type="sldNum" sz="quarter" idx="11"/>
          </p:nvPr>
        </p:nvSpPr>
        <p:spPr/>
        <p:txBody>
          <a:bodyPr/>
          <a:lstStyle/>
          <a:p>
            <a:fld id="{88214BE8-3B67-4CC1-95F1-46B8F6DEEA9B}" type="slidenum">
              <a:rPr lang="en-IN" smtClean="0"/>
              <a:t>‹#›</a:t>
            </a:fld>
            <a:endParaRPr lang="en-IN"/>
          </a:p>
        </p:txBody>
      </p:sp>
    </p:spTree>
    <p:extLst>
      <p:ext uri="{BB962C8B-B14F-4D97-AF65-F5344CB8AC3E}">
        <p14:creationId xmlns:p14="http://schemas.microsoft.com/office/powerpoint/2010/main" val="28781106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5ACBF0"/>
          </p15:clr>
        </p15:guide>
        <p15:guide id="14" pos="3155">
          <p15:clr>
            <a:srgbClr val="5ACBF0"/>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1FA0F84-F2FF-4407-BF3B-865F6671E357}"/>
              </a:ext>
            </a:extLst>
          </p:cNvPr>
          <p:cNvSpPr>
            <a:spLocks noGrp="1"/>
          </p:cNvSpPr>
          <p:nvPr>
            <p:ph type="title" hasCustomPrompt="1"/>
          </p:nvPr>
        </p:nvSpPr>
        <p:spPr>
          <a:xfrm>
            <a:off x="588263" y="3179701"/>
            <a:ext cx="3182621" cy="498598"/>
          </a:xfrm>
          <a:noFill/>
        </p:spPr>
        <p:txBody>
          <a:bodyPr vert="horz" wrap="square" lIns="0" tIns="0" rIns="0" bIns="0" rtlCol="0" anchor="ctr" anchorCtr="0">
            <a:spAutoFit/>
          </a:bodyPr>
          <a:lstStyle>
            <a:lvl1pPr>
              <a:defRPr lang="en-US" dirty="0">
                <a:solidFill>
                  <a:schemeClr val="tx1"/>
                </a:solidFill>
              </a:defRPr>
            </a:lvl1pPr>
          </a:lstStyle>
          <a:p>
            <a:pPr lvl="0">
              <a:lnSpc>
                <a:spcPct val="90000"/>
              </a:lnSpc>
            </a:pPr>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08563" y="3213557"/>
            <a:ext cx="6599409" cy="430887"/>
          </a:xfrm>
        </p:spPr>
        <p:txBody>
          <a:bodyPr anchor="ctr" anchorCtr="0">
            <a:spAutoFit/>
          </a:bodyPr>
          <a:lstStyle>
            <a:lvl1pPr marL="0" indent="0">
              <a:spcAft>
                <a:spcPts val="1200"/>
              </a:spcAft>
              <a:buNone/>
              <a:defRPr sz="2800"/>
            </a:lvl1pPr>
            <a:lvl2pPr marL="228600" indent="0">
              <a:buNone/>
              <a:defRPr/>
            </a:lvl2pPr>
          </a:lstStyle>
          <a:p>
            <a:pPr lvl="0"/>
            <a:r>
              <a:rPr lang="en-US"/>
              <a:t>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xmlns=""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C34F6837-072A-4AB6-98B6-1D4BDC917F6B}"/>
              </a:ext>
            </a:extLst>
          </p:cNvPr>
          <p:cNvSpPr>
            <a:spLocks noGrp="1"/>
          </p:cNvSpPr>
          <p:nvPr>
            <p:ph type="sldNum" sz="quarter" idx="11"/>
          </p:nvPr>
        </p:nvSpPr>
        <p:spPr/>
        <p:txBody>
          <a:bodyPr/>
          <a:lstStyle/>
          <a:p>
            <a:fld id="{88214BE8-3B67-4CC1-95F1-46B8F6DEEA9B}" type="slidenum">
              <a:rPr lang="en-IN" smtClean="0"/>
              <a:t>‹#›</a:t>
            </a:fld>
            <a:endParaRPr lang="en-IN"/>
          </a:p>
        </p:txBody>
      </p:sp>
    </p:spTree>
    <p:extLst>
      <p:ext uri="{BB962C8B-B14F-4D97-AF65-F5344CB8AC3E}">
        <p14:creationId xmlns:p14="http://schemas.microsoft.com/office/powerpoint/2010/main" val="9107795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9" orient="horz" pos="2160">
          <p15:clr>
            <a:srgbClr val="FDE53C"/>
          </p15:clr>
        </p15:guide>
        <p15:guide id="30" pos="237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76008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732202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30E5D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86301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922686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05ECE51-F314-4EE9-9030-1432052D16EA}"/>
              </a:ext>
            </a:extLst>
          </p:cNvPr>
          <p:cNvSpPr>
            <a:spLocks noGrp="1"/>
          </p:cNvSpPr>
          <p:nvPr>
            <p:ph type="sldNum" sz="quarter" idx="10"/>
          </p:nvPr>
        </p:nvSpPr>
        <p:spPr/>
        <p:txBody>
          <a:bodyPr/>
          <a:lstStyle/>
          <a:p>
            <a:fld id="{88214BE8-3B67-4CC1-95F1-46B8F6DEEA9B}" type="slidenum">
              <a:rPr lang="en-IN" smtClean="0"/>
              <a:t>‹#›</a:t>
            </a:fld>
            <a:endParaRPr lang="en-IN"/>
          </a:p>
        </p:txBody>
      </p:sp>
    </p:spTree>
    <p:extLst>
      <p:ext uri="{BB962C8B-B14F-4D97-AF65-F5344CB8AC3E}">
        <p14:creationId xmlns:p14="http://schemas.microsoft.com/office/powerpoint/2010/main" val="42292586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2E3D4A6-CEEF-4AC1-B3A1-E1E43912BB60}"/>
              </a:ext>
            </a:extLst>
          </p:cNvPr>
          <p:cNvSpPr>
            <a:spLocks noGrp="1"/>
          </p:cNvSpPr>
          <p:nvPr>
            <p:ph type="sldNum" sz="quarter" idx="10"/>
          </p:nvPr>
        </p:nvSpPr>
        <p:spPr/>
        <p:txBody>
          <a:bodyPr/>
          <a:lstStyle/>
          <a:p>
            <a:fld id="{88214BE8-3B67-4CC1-95F1-46B8F6DEEA9B}" type="slidenum">
              <a:rPr lang="en-IN" smtClean="0"/>
              <a:t>‹#›</a:t>
            </a:fld>
            <a:endParaRPr lang="en-IN"/>
          </a:p>
        </p:txBody>
      </p:sp>
    </p:spTree>
    <p:extLst>
      <p:ext uri="{BB962C8B-B14F-4D97-AF65-F5344CB8AC3E}">
        <p14:creationId xmlns:p14="http://schemas.microsoft.com/office/powerpoint/2010/main" val="33523584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accent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454156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897156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868104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0057603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EDD435B-0247-458F-AC82-C8CBB647E8C9}"/>
              </a:ext>
            </a:extLst>
          </p:cNvPr>
          <p:cNvPicPr>
            <a:picLocks noChangeAspect="1"/>
          </p:cNvPicPr>
          <p:nvPr userDrawn="1"/>
        </p:nvPicPr>
        <p:blipFill>
          <a:blip r:embed="rId2"/>
          <a:stretch>
            <a:fillRect/>
          </a:stretch>
        </p:blipFill>
        <p:spPr>
          <a:xfrm>
            <a:off x="0" y="-67515"/>
            <a:ext cx="12192000" cy="6925814"/>
          </a:xfrm>
          <a:prstGeom prst="rect">
            <a:avLst/>
          </a:prstGeom>
        </p:spPr>
      </p:pic>
      <p:sp>
        <p:nvSpPr>
          <p:cNvPr id="5" name="Text Placeholder 4"/>
          <p:cNvSpPr>
            <a:spLocks noGrp="1"/>
          </p:cNvSpPr>
          <p:nvPr>
            <p:ph type="body" sz="quarter" idx="12" hasCustomPrompt="1"/>
          </p:nvPr>
        </p:nvSpPr>
        <p:spPr>
          <a:xfrm>
            <a:off x="271104" y="4029186"/>
            <a:ext cx="6273418" cy="1794661"/>
          </a:xfrm>
          <a:noFill/>
        </p:spPr>
        <p:txBody>
          <a:bodyPr lIns="146304" tIns="109728" rIns="146304" bIns="109728">
            <a:noAutofit/>
          </a:bodyPr>
          <a:lstStyle>
            <a:lvl1pPr marL="0" indent="0">
              <a:spcBef>
                <a:spcPts val="0"/>
              </a:spcBef>
              <a:buNone/>
              <a:defRPr sz="3137" spc="0" baseline="0">
                <a:gradFill>
                  <a:gsLst>
                    <a:gs pos="0">
                      <a:schemeClr val="bg1"/>
                    </a:gs>
                    <a:gs pos="100000">
                      <a:schemeClr val="bg1"/>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2" y="1896530"/>
            <a:ext cx="8067760" cy="1801436"/>
          </a:xfrm>
          <a:noFill/>
        </p:spPr>
        <p:txBody>
          <a:bodyPr lIns="146304" tIns="91440" rIns="146304" bIns="91440" anchor="t" anchorCtr="0"/>
          <a:lstStyle>
            <a:lvl1pPr>
              <a:defRPr sz="5294" spc="-98" baseline="0">
                <a:gradFill>
                  <a:gsLst>
                    <a:gs pos="0">
                      <a:schemeClr val="bg1"/>
                    </a:gs>
                    <a:gs pos="100000">
                      <a:schemeClr val="bg1"/>
                    </a:gs>
                  </a:gsLst>
                  <a:lin ang="5400000" scaled="1"/>
                </a:gradFill>
              </a:defRPr>
            </a:lvl1pPr>
          </a:lstStyle>
          <a:p>
            <a:r>
              <a:rPr lang="en-US"/>
              <a:t>Presentation title</a:t>
            </a:r>
            <a:br>
              <a:rPr lang="en-US"/>
            </a:br>
            <a:r>
              <a:rPr lang="en-US"/>
              <a:t>goes here</a:t>
            </a:r>
          </a:p>
        </p:txBody>
      </p:sp>
      <p:grpSp>
        <p:nvGrpSpPr>
          <p:cNvPr id="7" name="Group 6"/>
          <p:cNvGrpSpPr>
            <a:grpSpLocks noChangeAspect="1"/>
          </p:cNvGrpSpPr>
          <p:nvPr userDrawn="1"/>
        </p:nvGrpSpPr>
        <p:grpSpPr bwMode="black">
          <a:xfrm>
            <a:off x="449596" y="446358"/>
            <a:ext cx="1443635" cy="309975"/>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69752936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6891" y="322566"/>
            <a:ext cx="10430108" cy="325911"/>
          </a:xfrm>
        </p:spPr>
        <p:txBody>
          <a:bodyPr wrap="square" lIns="0" tIns="0" rIns="0" bIns="0" anchor="ctr">
            <a:spAutoFit/>
          </a:bodyPr>
          <a:lstStyle>
            <a:lvl1pPr>
              <a:defRPr sz="2353"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grpSp>
        <p:nvGrpSpPr>
          <p:cNvPr id="4" name="Group 3"/>
          <p:cNvGrpSpPr>
            <a:grpSpLocks noChangeAspect="1"/>
          </p:cNvGrpSpPr>
          <p:nvPr userDrawn="1"/>
        </p:nvGrpSpPr>
        <p:grpSpPr>
          <a:xfrm>
            <a:off x="11023167"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6" name="Slide Number Placeholder 2"/>
          <p:cNvSpPr>
            <a:spLocks noGrp="1"/>
          </p:cNvSpPr>
          <p:nvPr userDrawn="1">
            <p:ph type="sldNum" sz="quarter" idx="4"/>
          </p:nvPr>
        </p:nvSpPr>
        <p:spPr>
          <a:xfrm>
            <a:off x="11383601" y="6490630"/>
            <a:ext cx="363299" cy="108637"/>
          </a:xfrm>
          <a:prstGeom prst="rect">
            <a:avLst/>
          </a:prstGeom>
        </p:spPr>
        <p:txBody>
          <a:bodyPr vert="horz" wrap="square" lIns="0" tIns="0" rIns="0" bIns="0" rtlCol="0" anchor="ctr">
            <a:spAutoFit/>
          </a:bodyPr>
          <a:lstStyle>
            <a:lvl1pPr algn="r">
              <a:defRPr lang="en-US" sz="784"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defTabSz="914367">
              <a:lnSpc>
                <a:spcPct val="90000"/>
              </a:lnSpc>
              <a:spcBef>
                <a:spcPct val="0"/>
              </a:spcBef>
            </a:pPr>
            <a:fld id="{ED077441-DF17-4513-BACB-525ED94CFAE4}" type="slidenum">
              <a:rPr lang="en-US" smtClean="0"/>
              <a:pPr defTabSz="914367">
                <a:lnSpc>
                  <a:spcPct val="90000"/>
                </a:lnSpc>
                <a:spcBef>
                  <a:spcPct val="0"/>
                </a:spcBef>
              </a:pPr>
              <a:t>‹#›</a:t>
            </a:fld>
            <a:endParaRPr lang="en-US"/>
          </a:p>
        </p:txBody>
      </p:sp>
      <p:sp>
        <p:nvSpPr>
          <p:cNvPr id="11" name="TextBox 10"/>
          <p:cNvSpPr txBox="1"/>
          <p:nvPr userDrawn="1"/>
        </p:nvSpPr>
        <p:spPr>
          <a:xfrm>
            <a:off x="416890" y="6566897"/>
            <a:ext cx="2823017" cy="108637"/>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lgn="l" defTabSz="914367" rtl="0" eaLnBrk="1" fontAlgn="base" latinLnBrk="0" hangingPunct="1">
              <a:lnSpc>
                <a:spcPct val="90000"/>
              </a:lnSpc>
              <a:spcBef>
                <a:spcPct val="0"/>
              </a:spcBef>
              <a:buNone/>
            </a:pP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Copyright Microsoft Corporation. All rights reserved. </a:t>
            </a:r>
          </a:p>
        </p:txBody>
      </p:sp>
      <p:cxnSp>
        <p:nvCxnSpPr>
          <p:cNvPr id="12" name="Straight Connector 11"/>
          <p:cNvCxnSpPr>
            <a:cxnSpLocks/>
          </p:cNvCxnSpPr>
          <p:nvPr userDrawn="1"/>
        </p:nvCxnSpPr>
        <p:spPr>
          <a:xfrm>
            <a:off x="440530" y="739373"/>
            <a:ext cx="233873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cxnSpLocks/>
          </p:cNvCxnSpPr>
          <p:nvPr userDrawn="1"/>
        </p:nvCxnSpPr>
        <p:spPr>
          <a:xfrm>
            <a:off x="2958547" y="739373"/>
            <a:ext cx="8788353" cy="0"/>
          </a:xfrm>
          <a:prstGeom prst="line">
            <a:avLst/>
          </a:prstGeom>
          <a:ln w="127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7608017"/>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con library">
    <p:spTree>
      <p:nvGrpSpPr>
        <p:cNvPr id="1" name=""/>
        <p:cNvGrpSpPr/>
        <p:nvPr/>
      </p:nvGrpSpPr>
      <p:grpSpPr>
        <a:xfrm>
          <a:off x="0" y="0"/>
          <a:ext cx="0" cy="0"/>
          <a:chOff x="0" y="0"/>
          <a:chExt cx="0" cy="0"/>
        </a:xfrm>
      </p:grpSpPr>
      <p:grpSp>
        <p:nvGrpSpPr>
          <p:cNvPr id="4" name="Group 3"/>
          <p:cNvGrpSpPr>
            <a:grpSpLocks noChangeAspect="1"/>
          </p:cNvGrpSpPr>
          <p:nvPr userDrawn="1"/>
        </p:nvGrpSpPr>
        <p:grpSpPr>
          <a:xfrm>
            <a:off x="11023167" y="412549"/>
            <a:ext cx="719065" cy="153377"/>
            <a:chOff x="4846638" y="3441700"/>
            <a:chExt cx="5910262" cy="1260475"/>
          </a:xfrm>
        </p:grpSpPr>
        <p:sp>
          <p:nvSpPr>
            <p:cNvPr id="5" name="Freeform 27"/>
            <p:cNvSpPr>
              <a:spLocks noEditPoints="1"/>
            </p:cNvSpPr>
            <p:nvPr/>
          </p:nvSpPr>
          <p:spPr bwMode="auto">
            <a:xfrm>
              <a:off x="6484938" y="3636963"/>
              <a:ext cx="4271962" cy="823913"/>
            </a:xfrm>
            <a:custGeom>
              <a:avLst/>
              <a:gdLst>
                <a:gd name="T0" fmla="*/ 218 w 1139"/>
                <a:gd name="T1" fmla="*/ 217 h 220"/>
                <a:gd name="T2" fmla="*/ 170 w 1139"/>
                <a:gd name="T3" fmla="*/ 15 h 220"/>
                <a:gd name="T4" fmla="*/ 0 w 1139"/>
                <a:gd name="T5" fmla="*/ 15 h 220"/>
                <a:gd name="T6" fmla="*/ 33 w 1139"/>
                <a:gd name="T7" fmla="*/ 62 h 220"/>
                <a:gd name="T8" fmla="*/ 121 w 1139"/>
                <a:gd name="T9" fmla="*/ 217 h 220"/>
                <a:gd name="T10" fmla="*/ 268 w 1139"/>
                <a:gd name="T11" fmla="*/ 11 h 220"/>
                <a:gd name="T12" fmla="*/ 254 w 1139"/>
                <a:gd name="T13" fmla="*/ 44 h 220"/>
                <a:gd name="T14" fmla="*/ 289 w 1139"/>
                <a:gd name="T15" fmla="*/ 31 h 220"/>
                <a:gd name="T16" fmla="*/ 285 w 1139"/>
                <a:gd name="T17" fmla="*/ 72 h 220"/>
                <a:gd name="T18" fmla="*/ 285 w 1139"/>
                <a:gd name="T19" fmla="*/ 217 h 220"/>
                <a:gd name="T20" fmla="*/ 345 w 1139"/>
                <a:gd name="T21" fmla="*/ 79 h 220"/>
                <a:gd name="T22" fmla="*/ 318 w 1139"/>
                <a:gd name="T23" fmla="*/ 185 h 220"/>
                <a:gd name="T24" fmla="*/ 421 w 1139"/>
                <a:gd name="T25" fmla="*/ 211 h 220"/>
                <a:gd name="T26" fmla="*/ 420 w 1139"/>
                <a:gd name="T27" fmla="*/ 180 h 220"/>
                <a:gd name="T28" fmla="*/ 356 w 1139"/>
                <a:gd name="T29" fmla="*/ 180 h 220"/>
                <a:gd name="T30" fmla="*/ 388 w 1139"/>
                <a:gd name="T31" fmla="*/ 97 h 220"/>
                <a:gd name="T32" fmla="*/ 422 w 1139"/>
                <a:gd name="T33" fmla="*/ 76 h 220"/>
                <a:gd name="T34" fmla="*/ 386 w 1139"/>
                <a:gd name="T35" fmla="*/ 69 h 220"/>
                <a:gd name="T36" fmla="*/ 447 w 1139"/>
                <a:gd name="T37" fmla="*/ 72 h 220"/>
                <a:gd name="T38" fmla="*/ 481 w 1139"/>
                <a:gd name="T39" fmla="*/ 143 h 220"/>
                <a:gd name="T40" fmla="*/ 522 w 1139"/>
                <a:gd name="T41" fmla="*/ 102 h 220"/>
                <a:gd name="T42" fmla="*/ 531 w 1139"/>
                <a:gd name="T43" fmla="*/ 72 h 220"/>
                <a:gd name="T44" fmla="*/ 517 w 1139"/>
                <a:gd name="T45" fmla="*/ 70 h 220"/>
                <a:gd name="T46" fmla="*/ 481 w 1139"/>
                <a:gd name="T47" fmla="*/ 97 h 220"/>
                <a:gd name="T48" fmla="*/ 534 w 1139"/>
                <a:gd name="T49" fmla="*/ 146 h 220"/>
                <a:gd name="T50" fmla="*/ 662 w 1139"/>
                <a:gd name="T51" fmla="*/ 199 h 220"/>
                <a:gd name="T52" fmla="*/ 610 w 1139"/>
                <a:gd name="T53" fmla="*/ 69 h 220"/>
                <a:gd name="T54" fmla="*/ 569 w 1139"/>
                <a:gd name="T55" fmla="*/ 145 h 220"/>
                <a:gd name="T56" fmla="*/ 636 w 1139"/>
                <a:gd name="T57" fmla="*/ 109 h 220"/>
                <a:gd name="T58" fmla="*/ 609 w 1139"/>
                <a:gd name="T59" fmla="*/ 192 h 220"/>
                <a:gd name="T60" fmla="*/ 698 w 1139"/>
                <a:gd name="T61" fmla="*/ 113 h 220"/>
                <a:gd name="T62" fmla="*/ 733 w 1139"/>
                <a:gd name="T63" fmla="*/ 156 h 220"/>
                <a:gd name="T64" fmla="*/ 760 w 1139"/>
                <a:gd name="T65" fmla="*/ 179 h 220"/>
                <a:gd name="T66" fmla="*/ 700 w 1139"/>
                <a:gd name="T67" fmla="*/ 180 h 220"/>
                <a:gd name="T68" fmla="*/ 699 w 1139"/>
                <a:gd name="T69" fmla="*/ 212 h 220"/>
                <a:gd name="T70" fmla="*/ 779 w 1139"/>
                <a:gd name="T71" fmla="*/ 208 h 220"/>
                <a:gd name="T72" fmla="*/ 757 w 1139"/>
                <a:gd name="T73" fmla="*/ 132 h 220"/>
                <a:gd name="T74" fmla="*/ 738 w 1139"/>
                <a:gd name="T75" fmla="*/ 100 h 220"/>
                <a:gd name="T76" fmla="*/ 785 w 1139"/>
                <a:gd name="T77" fmla="*/ 105 h 220"/>
                <a:gd name="T78" fmla="*/ 786 w 1139"/>
                <a:gd name="T79" fmla="*/ 75 h 220"/>
                <a:gd name="T80" fmla="*/ 886 w 1139"/>
                <a:gd name="T81" fmla="*/ 69 h 220"/>
                <a:gd name="T82" fmla="*/ 829 w 1139"/>
                <a:gd name="T83" fmla="*/ 200 h 220"/>
                <a:gd name="T84" fmla="*/ 958 w 1139"/>
                <a:gd name="T85" fmla="*/ 143 h 220"/>
                <a:gd name="T86" fmla="*/ 884 w 1139"/>
                <a:gd name="T87" fmla="*/ 192 h 220"/>
                <a:gd name="T88" fmla="*/ 855 w 1139"/>
                <a:gd name="T89" fmla="*/ 109 h 220"/>
                <a:gd name="T90" fmla="*/ 922 w 1139"/>
                <a:gd name="T91" fmla="*/ 144 h 220"/>
                <a:gd name="T92" fmla="*/ 1104 w 1139"/>
                <a:gd name="T93" fmla="*/ 100 h 220"/>
                <a:gd name="T94" fmla="*/ 1124 w 1139"/>
                <a:gd name="T95" fmla="*/ 192 h 220"/>
                <a:gd name="T96" fmla="*/ 1139 w 1139"/>
                <a:gd name="T97" fmla="*/ 187 h 220"/>
                <a:gd name="T98" fmla="*/ 1128 w 1139"/>
                <a:gd name="T99" fmla="*/ 219 h 220"/>
                <a:gd name="T100" fmla="*/ 1070 w 1139"/>
                <a:gd name="T101" fmla="*/ 100 h 220"/>
                <a:gd name="T102" fmla="*/ 985 w 1139"/>
                <a:gd name="T103" fmla="*/ 217 h 220"/>
                <a:gd name="T104" fmla="*/ 961 w 1139"/>
                <a:gd name="T105" fmla="*/ 72 h 220"/>
                <a:gd name="T106" fmla="*/ 991 w 1139"/>
                <a:gd name="T107" fmla="*/ 25 h 220"/>
                <a:gd name="T108" fmla="*/ 1056 w 1139"/>
                <a:gd name="T109" fmla="*/ 3 h 220"/>
                <a:gd name="T110" fmla="*/ 1056 w 1139"/>
                <a:gd name="T111" fmla="*/ 32 h 220"/>
                <a:gd name="T112" fmla="*/ 1019 w 1139"/>
                <a:gd name="T113" fmla="*/ 54 h 220"/>
                <a:gd name="T114" fmla="*/ 1070 w 1139"/>
                <a:gd name="T115" fmla="*/ 40 h 220"/>
                <a:gd name="T116" fmla="*/ 1104 w 1139"/>
                <a:gd name="T117" fmla="*/ 29 h 220"/>
                <a:gd name="T118" fmla="*/ 1139 w 1139"/>
                <a:gd name="T119"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9" h="220">
                  <a:moveTo>
                    <a:pt x="184" y="62"/>
                  </a:moveTo>
                  <a:cubicBezTo>
                    <a:pt x="184" y="217"/>
                    <a:pt x="184" y="217"/>
                    <a:pt x="184" y="217"/>
                  </a:cubicBezTo>
                  <a:cubicBezTo>
                    <a:pt x="218" y="217"/>
                    <a:pt x="218" y="217"/>
                    <a:pt x="218" y="217"/>
                  </a:cubicBezTo>
                  <a:cubicBezTo>
                    <a:pt x="218" y="15"/>
                    <a:pt x="218" y="15"/>
                    <a:pt x="218" y="15"/>
                  </a:cubicBezTo>
                  <a:cubicBezTo>
                    <a:pt x="218" y="15"/>
                    <a:pt x="218" y="15"/>
                    <a:pt x="218" y="15"/>
                  </a:cubicBezTo>
                  <a:cubicBezTo>
                    <a:pt x="170" y="15"/>
                    <a:pt x="170" y="15"/>
                    <a:pt x="170" y="15"/>
                  </a:cubicBezTo>
                  <a:cubicBezTo>
                    <a:pt x="109" y="165"/>
                    <a:pt x="109" y="165"/>
                    <a:pt x="109" y="165"/>
                  </a:cubicBezTo>
                  <a:cubicBezTo>
                    <a:pt x="50" y="15"/>
                    <a:pt x="50" y="15"/>
                    <a:pt x="50" y="15"/>
                  </a:cubicBezTo>
                  <a:cubicBezTo>
                    <a:pt x="0" y="15"/>
                    <a:pt x="0" y="15"/>
                    <a:pt x="0" y="15"/>
                  </a:cubicBezTo>
                  <a:cubicBezTo>
                    <a:pt x="0" y="217"/>
                    <a:pt x="0" y="217"/>
                    <a:pt x="0" y="217"/>
                  </a:cubicBezTo>
                  <a:cubicBezTo>
                    <a:pt x="33" y="217"/>
                    <a:pt x="33" y="217"/>
                    <a:pt x="33" y="217"/>
                  </a:cubicBezTo>
                  <a:cubicBezTo>
                    <a:pt x="33" y="62"/>
                    <a:pt x="33" y="62"/>
                    <a:pt x="33" y="62"/>
                  </a:cubicBezTo>
                  <a:cubicBezTo>
                    <a:pt x="34" y="62"/>
                    <a:pt x="34" y="62"/>
                    <a:pt x="34" y="62"/>
                  </a:cubicBezTo>
                  <a:cubicBezTo>
                    <a:pt x="96" y="217"/>
                    <a:pt x="96" y="217"/>
                    <a:pt x="96" y="217"/>
                  </a:cubicBezTo>
                  <a:cubicBezTo>
                    <a:pt x="121" y="217"/>
                    <a:pt x="121" y="217"/>
                    <a:pt x="121" y="217"/>
                  </a:cubicBezTo>
                  <a:cubicBezTo>
                    <a:pt x="183" y="62"/>
                    <a:pt x="183" y="62"/>
                    <a:pt x="183" y="62"/>
                  </a:cubicBezTo>
                  <a:lnTo>
                    <a:pt x="184" y="62"/>
                  </a:lnTo>
                  <a:close/>
                  <a:moveTo>
                    <a:pt x="268" y="11"/>
                  </a:moveTo>
                  <a:cubicBezTo>
                    <a:pt x="263" y="11"/>
                    <a:pt x="258" y="13"/>
                    <a:pt x="254" y="16"/>
                  </a:cubicBezTo>
                  <a:cubicBezTo>
                    <a:pt x="250" y="20"/>
                    <a:pt x="248" y="25"/>
                    <a:pt x="248" y="31"/>
                  </a:cubicBezTo>
                  <a:cubicBezTo>
                    <a:pt x="248" y="36"/>
                    <a:pt x="250" y="41"/>
                    <a:pt x="254" y="44"/>
                  </a:cubicBezTo>
                  <a:cubicBezTo>
                    <a:pt x="258" y="48"/>
                    <a:pt x="263" y="50"/>
                    <a:pt x="268" y="50"/>
                  </a:cubicBezTo>
                  <a:cubicBezTo>
                    <a:pt x="274" y="50"/>
                    <a:pt x="279" y="48"/>
                    <a:pt x="283" y="44"/>
                  </a:cubicBezTo>
                  <a:cubicBezTo>
                    <a:pt x="287" y="41"/>
                    <a:pt x="289" y="36"/>
                    <a:pt x="289" y="31"/>
                  </a:cubicBezTo>
                  <a:cubicBezTo>
                    <a:pt x="289" y="25"/>
                    <a:pt x="287" y="20"/>
                    <a:pt x="283" y="17"/>
                  </a:cubicBezTo>
                  <a:cubicBezTo>
                    <a:pt x="279" y="13"/>
                    <a:pt x="274" y="11"/>
                    <a:pt x="268" y="11"/>
                  </a:cubicBezTo>
                  <a:close/>
                  <a:moveTo>
                    <a:pt x="285" y="72"/>
                  </a:moveTo>
                  <a:cubicBezTo>
                    <a:pt x="251" y="72"/>
                    <a:pt x="251" y="72"/>
                    <a:pt x="251" y="72"/>
                  </a:cubicBezTo>
                  <a:cubicBezTo>
                    <a:pt x="251" y="217"/>
                    <a:pt x="251" y="217"/>
                    <a:pt x="251" y="217"/>
                  </a:cubicBezTo>
                  <a:cubicBezTo>
                    <a:pt x="285" y="217"/>
                    <a:pt x="285" y="217"/>
                    <a:pt x="285" y="217"/>
                  </a:cubicBezTo>
                  <a:cubicBezTo>
                    <a:pt x="285" y="72"/>
                    <a:pt x="285" y="72"/>
                    <a:pt x="285" y="72"/>
                  </a:cubicBezTo>
                  <a:close/>
                  <a:moveTo>
                    <a:pt x="386" y="69"/>
                  </a:move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6"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ubicBezTo>
                    <a:pt x="399" y="69"/>
                    <a:pt x="393" y="69"/>
                    <a:pt x="386" y="69"/>
                  </a:cubicBezTo>
                  <a:close/>
                  <a:moveTo>
                    <a:pt x="481" y="97"/>
                  </a:move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ubicBezTo>
                    <a:pt x="517" y="70"/>
                    <a:pt x="517" y="70"/>
                    <a:pt x="517" y="70"/>
                  </a:cubicBezTo>
                  <a:cubicBezTo>
                    <a:pt x="509" y="70"/>
                    <a:pt x="501" y="72"/>
                    <a:pt x="495" y="78"/>
                  </a:cubicBezTo>
                  <a:cubicBezTo>
                    <a:pt x="489" y="83"/>
                    <a:pt x="485" y="89"/>
                    <a:pt x="482" y="97"/>
                  </a:cubicBezTo>
                  <a:lnTo>
                    <a:pt x="481" y="97"/>
                  </a:lnTo>
                  <a:close/>
                  <a:moveTo>
                    <a:pt x="610" y="69"/>
                  </a:moveTo>
                  <a:cubicBezTo>
                    <a:pt x="586" y="69"/>
                    <a:pt x="567" y="76"/>
                    <a:pt x="554" y="89"/>
                  </a:cubicBezTo>
                  <a:cubicBezTo>
                    <a:pt x="540" y="103"/>
                    <a:pt x="534" y="122"/>
                    <a:pt x="534" y="146"/>
                  </a:cubicBezTo>
                  <a:cubicBezTo>
                    <a:pt x="534" y="169"/>
                    <a:pt x="540" y="187"/>
                    <a:pt x="553" y="200"/>
                  </a:cubicBezTo>
                  <a:cubicBezTo>
                    <a:pt x="567" y="213"/>
                    <a:pt x="584" y="220"/>
                    <a:pt x="607" y="220"/>
                  </a:cubicBezTo>
                  <a:cubicBezTo>
                    <a:pt x="630" y="220"/>
                    <a:pt x="648" y="213"/>
                    <a:pt x="662" y="199"/>
                  </a:cubicBezTo>
                  <a:cubicBezTo>
                    <a:pt x="675" y="185"/>
                    <a:pt x="682" y="166"/>
                    <a:pt x="682" y="143"/>
                  </a:cubicBezTo>
                  <a:cubicBezTo>
                    <a:pt x="682" y="120"/>
                    <a:pt x="676" y="102"/>
                    <a:pt x="663" y="89"/>
                  </a:cubicBezTo>
                  <a:cubicBezTo>
                    <a:pt x="650" y="75"/>
                    <a:pt x="632" y="69"/>
                    <a:pt x="610" y="69"/>
                  </a:cubicBezTo>
                  <a:close/>
                  <a:moveTo>
                    <a:pt x="609" y="192"/>
                  </a:moveTo>
                  <a:cubicBezTo>
                    <a:pt x="596" y="192"/>
                    <a:pt x="586" y="188"/>
                    <a:pt x="579" y="180"/>
                  </a:cubicBezTo>
                  <a:cubicBezTo>
                    <a:pt x="572" y="172"/>
                    <a:pt x="569" y="160"/>
                    <a:pt x="569" y="145"/>
                  </a:cubicBezTo>
                  <a:cubicBezTo>
                    <a:pt x="569" y="130"/>
                    <a:pt x="572" y="118"/>
                    <a:pt x="579" y="109"/>
                  </a:cubicBezTo>
                  <a:cubicBezTo>
                    <a:pt x="586" y="101"/>
                    <a:pt x="596" y="97"/>
                    <a:pt x="608" y="97"/>
                  </a:cubicBezTo>
                  <a:cubicBezTo>
                    <a:pt x="620" y="97"/>
                    <a:pt x="630" y="101"/>
                    <a:pt x="636" y="109"/>
                  </a:cubicBezTo>
                  <a:cubicBezTo>
                    <a:pt x="643" y="117"/>
                    <a:pt x="647" y="129"/>
                    <a:pt x="647" y="144"/>
                  </a:cubicBezTo>
                  <a:cubicBezTo>
                    <a:pt x="647" y="160"/>
                    <a:pt x="644" y="172"/>
                    <a:pt x="637" y="180"/>
                  </a:cubicBezTo>
                  <a:cubicBezTo>
                    <a:pt x="631" y="188"/>
                    <a:pt x="621" y="192"/>
                    <a:pt x="609" y="192"/>
                  </a:cubicBezTo>
                  <a:close/>
                  <a:moveTo>
                    <a:pt x="754" y="69"/>
                  </a:moveTo>
                  <a:cubicBezTo>
                    <a:pt x="737" y="69"/>
                    <a:pt x="724" y="73"/>
                    <a:pt x="714" y="81"/>
                  </a:cubicBezTo>
                  <a:cubicBezTo>
                    <a:pt x="703" y="89"/>
                    <a:pt x="698" y="100"/>
                    <a:pt x="698" y="113"/>
                  </a:cubicBezTo>
                  <a:cubicBezTo>
                    <a:pt x="698" y="120"/>
                    <a:pt x="699" y="126"/>
                    <a:pt x="702" y="131"/>
                  </a:cubicBezTo>
                  <a:cubicBezTo>
                    <a:pt x="704" y="136"/>
                    <a:pt x="707" y="141"/>
                    <a:pt x="712" y="144"/>
                  </a:cubicBezTo>
                  <a:cubicBezTo>
                    <a:pt x="716" y="148"/>
                    <a:pt x="723" y="152"/>
                    <a:pt x="733" y="156"/>
                  </a:cubicBezTo>
                  <a:cubicBezTo>
                    <a:pt x="741"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4" y="215"/>
                    <a:pt x="710" y="216"/>
                    <a:pt x="717" y="218"/>
                  </a:cubicBezTo>
                  <a:cubicBezTo>
                    <a:pt x="724" y="219"/>
                    <a:pt x="731" y="220"/>
                    <a:pt x="736" y="220"/>
                  </a:cubicBezTo>
                  <a:cubicBezTo>
                    <a:pt x="754" y="220"/>
                    <a:pt x="768" y="216"/>
                    <a:pt x="779" y="208"/>
                  </a:cubicBezTo>
                  <a:cubicBezTo>
                    <a:pt x="789" y="200"/>
                    <a:pt x="794" y="188"/>
                    <a:pt x="794" y="175"/>
                  </a:cubicBezTo>
                  <a:cubicBezTo>
                    <a:pt x="794" y="165"/>
                    <a:pt x="791" y="157"/>
                    <a:pt x="786" y="150"/>
                  </a:cubicBezTo>
                  <a:cubicBezTo>
                    <a:pt x="780" y="143"/>
                    <a:pt x="771" y="137"/>
                    <a:pt x="757" y="132"/>
                  </a:cubicBezTo>
                  <a:cubicBezTo>
                    <a:pt x="746" y="128"/>
                    <a:pt x="740" y="124"/>
                    <a:pt x="737" y="121"/>
                  </a:cubicBezTo>
                  <a:cubicBezTo>
                    <a:pt x="734" y="119"/>
                    <a:pt x="733" y="115"/>
                    <a:pt x="733" y="110"/>
                  </a:cubicBezTo>
                  <a:cubicBezTo>
                    <a:pt x="733" y="106"/>
                    <a:pt x="734" y="103"/>
                    <a:pt x="738" y="100"/>
                  </a:cubicBezTo>
                  <a:cubicBezTo>
                    <a:pt x="741" y="97"/>
                    <a:pt x="746" y="96"/>
                    <a:pt x="752" y="96"/>
                  </a:cubicBezTo>
                  <a:cubicBezTo>
                    <a:pt x="758" y="96"/>
                    <a:pt x="764" y="97"/>
                    <a:pt x="770" y="98"/>
                  </a:cubicBezTo>
                  <a:cubicBezTo>
                    <a:pt x="776" y="100"/>
                    <a:pt x="781" y="103"/>
                    <a:pt x="785" y="105"/>
                  </a:cubicBezTo>
                  <a:cubicBezTo>
                    <a:pt x="787" y="106"/>
                    <a:pt x="787" y="106"/>
                    <a:pt x="787" y="106"/>
                  </a:cubicBezTo>
                  <a:cubicBezTo>
                    <a:pt x="787" y="75"/>
                    <a:pt x="787" y="75"/>
                    <a:pt x="787" y="75"/>
                  </a:cubicBezTo>
                  <a:cubicBezTo>
                    <a:pt x="786" y="75"/>
                    <a:pt x="786" y="75"/>
                    <a:pt x="786" y="75"/>
                  </a:cubicBezTo>
                  <a:cubicBezTo>
                    <a:pt x="782" y="73"/>
                    <a:pt x="777" y="72"/>
                    <a:pt x="771" y="71"/>
                  </a:cubicBezTo>
                  <a:cubicBezTo>
                    <a:pt x="764" y="69"/>
                    <a:pt x="759" y="69"/>
                    <a:pt x="754" y="69"/>
                  </a:cubicBezTo>
                  <a:close/>
                  <a:moveTo>
                    <a:pt x="886" y="69"/>
                  </a:moveTo>
                  <a:cubicBezTo>
                    <a:pt x="862" y="69"/>
                    <a:pt x="843" y="76"/>
                    <a:pt x="829" y="89"/>
                  </a:cubicBezTo>
                  <a:cubicBezTo>
                    <a:pt x="816" y="103"/>
                    <a:pt x="809" y="122"/>
                    <a:pt x="809" y="146"/>
                  </a:cubicBezTo>
                  <a:cubicBezTo>
                    <a:pt x="809" y="169"/>
                    <a:pt x="816" y="187"/>
                    <a:pt x="829" y="200"/>
                  </a:cubicBezTo>
                  <a:cubicBezTo>
                    <a:pt x="842" y="213"/>
                    <a:pt x="860" y="220"/>
                    <a:pt x="882" y="220"/>
                  </a:cubicBezTo>
                  <a:cubicBezTo>
                    <a:pt x="905" y="220"/>
                    <a:pt x="924" y="213"/>
                    <a:pt x="937" y="199"/>
                  </a:cubicBezTo>
                  <a:cubicBezTo>
                    <a:pt x="951" y="185"/>
                    <a:pt x="958" y="166"/>
                    <a:pt x="958" y="143"/>
                  </a:cubicBezTo>
                  <a:cubicBezTo>
                    <a:pt x="958" y="120"/>
                    <a:pt x="951" y="102"/>
                    <a:pt x="938" y="89"/>
                  </a:cubicBezTo>
                  <a:cubicBezTo>
                    <a:pt x="926" y="75"/>
                    <a:pt x="908" y="69"/>
                    <a:pt x="886" y="69"/>
                  </a:cubicBezTo>
                  <a:close/>
                  <a:moveTo>
                    <a:pt x="884" y="192"/>
                  </a:moveTo>
                  <a:cubicBezTo>
                    <a:pt x="872" y="192"/>
                    <a:pt x="862" y="188"/>
                    <a:pt x="855" y="180"/>
                  </a:cubicBezTo>
                  <a:cubicBezTo>
                    <a:pt x="848" y="172"/>
                    <a:pt x="844" y="160"/>
                    <a:pt x="844" y="145"/>
                  </a:cubicBezTo>
                  <a:cubicBezTo>
                    <a:pt x="844" y="130"/>
                    <a:pt x="848" y="118"/>
                    <a:pt x="855" y="109"/>
                  </a:cubicBezTo>
                  <a:cubicBezTo>
                    <a:pt x="862" y="101"/>
                    <a:pt x="871" y="97"/>
                    <a:pt x="884" y="97"/>
                  </a:cubicBezTo>
                  <a:cubicBezTo>
                    <a:pt x="896" y="97"/>
                    <a:pt x="905" y="101"/>
                    <a:pt x="912" y="109"/>
                  </a:cubicBezTo>
                  <a:cubicBezTo>
                    <a:pt x="919" y="117"/>
                    <a:pt x="922" y="129"/>
                    <a:pt x="922" y="144"/>
                  </a:cubicBezTo>
                  <a:cubicBezTo>
                    <a:pt x="922" y="160"/>
                    <a:pt x="919" y="172"/>
                    <a:pt x="913" y="180"/>
                  </a:cubicBezTo>
                  <a:cubicBezTo>
                    <a:pt x="906" y="188"/>
                    <a:pt x="897" y="192"/>
                    <a:pt x="884" y="192"/>
                  </a:cubicBezTo>
                  <a:close/>
                  <a:moveTo>
                    <a:pt x="1104" y="100"/>
                  </a:moveTo>
                  <a:cubicBezTo>
                    <a:pt x="1104" y="168"/>
                    <a:pt x="1104" y="168"/>
                    <a:pt x="1104" y="168"/>
                  </a:cubicBezTo>
                  <a:cubicBezTo>
                    <a:pt x="1104" y="177"/>
                    <a:pt x="1106" y="183"/>
                    <a:pt x="1109" y="187"/>
                  </a:cubicBezTo>
                  <a:cubicBezTo>
                    <a:pt x="1112" y="190"/>
                    <a:pt x="1117" y="192"/>
                    <a:pt x="1124" y="192"/>
                  </a:cubicBezTo>
                  <a:cubicBezTo>
                    <a:pt x="1125" y="192"/>
                    <a:pt x="1128" y="192"/>
                    <a:pt x="1130" y="191"/>
                  </a:cubicBezTo>
                  <a:cubicBezTo>
                    <a:pt x="1133" y="190"/>
                    <a:pt x="1135" y="189"/>
                    <a:pt x="1137" y="188"/>
                  </a:cubicBezTo>
                  <a:cubicBezTo>
                    <a:pt x="1139" y="187"/>
                    <a:pt x="1139" y="187"/>
                    <a:pt x="1139" y="187"/>
                  </a:cubicBezTo>
                  <a:cubicBezTo>
                    <a:pt x="1139" y="215"/>
                    <a:pt x="1139" y="215"/>
                    <a:pt x="1139" y="215"/>
                  </a:cubicBezTo>
                  <a:cubicBezTo>
                    <a:pt x="1138" y="215"/>
                    <a:pt x="1138" y="215"/>
                    <a:pt x="1138" y="215"/>
                  </a:cubicBezTo>
                  <a:cubicBezTo>
                    <a:pt x="1136" y="216"/>
                    <a:pt x="1133" y="217"/>
                    <a:pt x="1128" y="219"/>
                  </a:cubicBezTo>
                  <a:cubicBezTo>
                    <a:pt x="1123" y="220"/>
                    <a:pt x="1118" y="220"/>
                    <a:pt x="1113" y="220"/>
                  </a:cubicBezTo>
                  <a:cubicBezTo>
                    <a:pt x="1085" y="220"/>
                    <a:pt x="1070" y="205"/>
                    <a:pt x="1070" y="174"/>
                  </a:cubicBezTo>
                  <a:cubicBezTo>
                    <a:pt x="1070" y="100"/>
                    <a:pt x="1070" y="100"/>
                    <a:pt x="1070" y="100"/>
                  </a:cubicBezTo>
                  <a:cubicBezTo>
                    <a:pt x="1019" y="100"/>
                    <a:pt x="1019" y="100"/>
                    <a:pt x="1019" y="100"/>
                  </a:cubicBezTo>
                  <a:cubicBezTo>
                    <a:pt x="1019" y="217"/>
                    <a:pt x="1019" y="217"/>
                    <a:pt x="1019" y="217"/>
                  </a:cubicBezTo>
                  <a:cubicBezTo>
                    <a:pt x="985" y="217"/>
                    <a:pt x="985" y="217"/>
                    <a:pt x="985" y="217"/>
                  </a:cubicBezTo>
                  <a:cubicBezTo>
                    <a:pt x="985" y="100"/>
                    <a:pt x="985" y="100"/>
                    <a:pt x="985" y="100"/>
                  </a:cubicBezTo>
                  <a:cubicBezTo>
                    <a:pt x="961" y="100"/>
                    <a:pt x="961" y="100"/>
                    <a:pt x="961" y="100"/>
                  </a:cubicBezTo>
                  <a:cubicBezTo>
                    <a:pt x="961" y="72"/>
                    <a:pt x="961" y="72"/>
                    <a:pt x="961" y="72"/>
                  </a:cubicBezTo>
                  <a:cubicBezTo>
                    <a:pt x="985" y="72"/>
                    <a:pt x="985" y="72"/>
                    <a:pt x="985" y="72"/>
                  </a:cubicBezTo>
                  <a:cubicBezTo>
                    <a:pt x="985" y="52"/>
                    <a:pt x="985" y="52"/>
                    <a:pt x="985" y="52"/>
                  </a:cubicBezTo>
                  <a:cubicBezTo>
                    <a:pt x="985" y="42"/>
                    <a:pt x="987" y="33"/>
                    <a:pt x="991" y="25"/>
                  </a:cubicBezTo>
                  <a:cubicBezTo>
                    <a:pt x="996" y="17"/>
                    <a:pt x="1002" y="11"/>
                    <a:pt x="1010" y="7"/>
                  </a:cubicBezTo>
                  <a:cubicBezTo>
                    <a:pt x="1018" y="3"/>
                    <a:pt x="1027" y="0"/>
                    <a:pt x="1037" y="0"/>
                  </a:cubicBezTo>
                  <a:cubicBezTo>
                    <a:pt x="1045" y="0"/>
                    <a:pt x="1052" y="1"/>
                    <a:pt x="1056" y="3"/>
                  </a:cubicBezTo>
                  <a:cubicBezTo>
                    <a:pt x="1057" y="3"/>
                    <a:pt x="1057" y="3"/>
                    <a:pt x="1057" y="3"/>
                  </a:cubicBezTo>
                  <a:cubicBezTo>
                    <a:pt x="1057" y="32"/>
                    <a:pt x="1057" y="32"/>
                    <a:pt x="1057" y="32"/>
                  </a:cubicBezTo>
                  <a:cubicBezTo>
                    <a:pt x="1056" y="32"/>
                    <a:pt x="1056" y="32"/>
                    <a:pt x="1056" y="32"/>
                  </a:cubicBezTo>
                  <a:cubicBezTo>
                    <a:pt x="1051" y="29"/>
                    <a:pt x="1045" y="28"/>
                    <a:pt x="1041" y="28"/>
                  </a:cubicBezTo>
                  <a:cubicBezTo>
                    <a:pt x="1034" y="28"/>
                    <a:pt x="1029" y="31"/>
                    <a:pt x="1025" y="35"/>
                  </a:cubicBezTo>
                  <a:cubicBezTo>
                    <a:pt x="1021" y="39"/>
                    <a:pt x="1019" y="46"/>
                    <a:pt x="1019" y="54"/>
                  </a:cubicBezTo>
                  <a:cubicBezTo>
                    <a:pt x="1019" y="72"/>
                    <a:pt x="1019" y="72"/>
                    <a:pt x="1019" y="72"/>
                  </a:cubicBezTo>
                  <a:cubicBezTo>
                    <a:pt x="1070" y="72"/>
                    <a:pt x="1070" y="72"/>
                    <a:pt x="1070" y="72"/>
                  </a:cubicBezTo>
                  <a:cubicBezTo>
                    <a:pt x="1070" y="40"/>
                    <a:pt x="1070" y="40"/>
                    <a:pt x="1070" y="40"/>
                  </a:cubicBezTo>
                  <a:cubicBezTo>
                    <a:pt x="1071" y="39"/>
                    <a:pt x="1071" y="39"/>
                    <a:pt x="1071" y="39"/>
                  </a:cubicBezTo>
                  <a:cubicBezTo>
                    <a:pt x="1103" y="30"/>
                    <a:pt x="1103" y="30"/>
                    <a:pt x="1103" y="30"/>
                  </a:cubicBezTo>
                  <a:cubicBezTo>
                    <a:pt x="1104" y="29"/>
                    <a:pt x="1104" y="29"/>
                    <a:pt x="1104" y="29"/>
                  </a:cubicBezTo>
                  <a:cubicBezTo>
                    <a:pt x="1104" y="72"/>
                    <a:pt x="1104" y="72"/>
                    <a:pt x="1104" y="72"/>
                  </a:cubicBezTo>
                  <a:cubicBezTo>
                    <a:pt x="1139" y="72"/>
                    <a:pt x="1139" y="72"/>
                    <a:pt x="1139" y="72"/>
                  </a:cubicBezTo>
                  <a:cubicBezTo>
                    <a:pt x="1139" y="100"/>
                    <a:pt x="1139" y="100"/>
                    <a:pt x="1139" y="100"/>
                  </a:cubicBezTo>
                  <a:lnTo>
                    <a:pt x="1104" y="10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 name="Rectangle 28"/>
            <p:cNvSpPr>
              <a:spLocks noChangeArrowheads="1"/>
            </p:cNvSpPr>
            <p:nvPr/>
          </p:nvSpPr>
          <p:spPr bwMode="auto">
            <a:xfrm>
              <a:off x="4846638" y="3441700"/>
              <a:ext cx="600075" cy="600075"/>
            </a:xfrm>
            <a:prstGeom prst="rect">
              <a:avLst/>
            </a:prstGeom>
            <a:solidFill>
              <a:srgbClr val="F250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 name="Rectangle 29"/>
            <p:cNvSpPr>
              <a:spLocks noChangeArrowheads="1"/>
            </p:cNvSpPr>
            <p:nvPr/>
          </p:nvSpPr>
          <p:spPr bwMode="auto">
            <a:xfrm>
              <a:off x="5510213" y="3441700"/>
              <a:ext cx="596900" cy="600075"/>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 name="Rectangle 30"/>
            <p:cNvSpPr>
              <a:spLocks noChangeArrowheads="1"/>
            </p:cNvSpPr>
            <p:nvPr/>
          </p:nvSpPr>
          <p:spPr bwMode="auto">
            <a:xfrm>
              <a:off x="4846638" y="4102100"/>
              <a:ext cx="600075" cy="600075"/>
            </a:xfrm>
            <a:prstGeom prst="rect">
              <a:avLst/>
            </a:prstGeom>
            <a:solidFill>
              <a:srgbClr val="00A4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 name="Rectangle 31"/>
            <p:cNvSpPr>
              <a:spLocks noChangeArrowheads="1"/>
            </p:cNvSpPr>
            <p:nvPr/>
          </p:nvSpPr>
          <p:spPr bwMode="auto">
            <a:xfrm>
              <a:off x="5510213" y="4102100"/>
              <a:ext cx="596900" cy="6000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10" name="Title 1">
            <a:extLst>
              <a:ext uri="{FF2B5EF4-FFF2-40B4-BE49-F238E27FC236}">
                <a16:creationId xmlns:a16="http://schemas.microsoft.com/office/drawing/2014/main" id="{F91D4925-CEBC-48F0-9721-73B08E59082C}"/>
              </a:ext>
            </a:extLst>
          </p:cNvPr>
          <p:cNvSpPr>
            <a:spLocks noGrp="1"/>
          </p:cNvSpPr>
          <p:nvPr>
            <p:ph type="title" hasCustomPrompt="1"/>
          </p:nvPr>
        </p:nvSpPr>
        <p:spPr>
          <a:xfrm>
            <a:off x="416891" y="322566"/>
            <a:ext cx="10430108" cy="325911"/>
          </a:xfrm>
        </p:spPr>
        <p:txBody>
          <a:bodyPr wrap="square" lIns="0" tIns="0" rIns="0" bIns="0" anchor="ctr">
            <a:spAutoFit/>
          </a:bodyPr>
          <a:lstStyle>
            <a:lvl1pPr>
              <a:defRPr sz="2353" spc="0">
                <a:gradFill>
                  <a:gsLst>
                    <a:gs pos="0">
                      <a:schemeClr val="tx1">
                        <a:lumMod val="60000"/>
                        <a:lumOff val="40000"/>
                      </a:schemeClr>
                    </a:gs>
                    <a:gs pos="100000">
                      <a:schemeClr val="tx1">
                        <a:lumMod val="60000"/>
                        <a:lumOff val="40000"/>
                      </a:schemeClr>
                    </a:gs>
                  </a:gsLst>
                  <a:lin ang="5400000" scaled="0"/>
                </a:gradFill>
                <a:latin typeface="Segoe UI Semibold" panose="020B0702040204020203" pitchFamily="34" charset="0"/>
                <a:cs typeface="Segoe UI Semibold" panose="020B0702040204020203" pitchFamily="34" charset="0"/>
              </a:defRPr>
            </a:lvl1pPr>
          </a:lstStyle>
          <a:p>
            <a:r>
              <a:rPr lang="en-US"/>
              <a:t>Section title</a:t>
            </a:r>
          </a:p>
        </p:txBody>
      </p:sp>
      <p:cxnSp>
        <p:nvCxnSpPr>
          <p:cNvPr id="11" name="Straight Connector 10">
            <a:extLst>
              <a:ext uri="{FF2B5EF4-FFF2-40B4-BE49-F238E27FC236}">
                <a16:creationId xmlns:a16="http://schemas.microsoft.com/office/drawing/2014/main" id="{C2D12832-9DD4-4D1B-A867-994F451599B0}"/>
              </a:ext>
            </a:extLst>
          </p:cNvPr>
          <p:cNvCxnSpPr>
            <a:cxnSpLocks/>
          </p:cNvCxnSpPr>
          <p:nvPr userDrawn="1"/>
        </p:nvCxnSpPr>
        <p:spPr>
          <a:xfrm>
            <a:off x="440530" y="739373"/>
            <a:ext cx="233873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3A33F98-8A45-45A1-8A6D-8DD6D42BBDEA}"/>
              </a:ext>
            </a:extLst>
          </p:cNvPr>
          <p:cNvCxnSpPr>
            <a:cxnSpLocks/>
          </p:cNvCxnSpPr>
          <p:nvPr userDrawn="1"/>
        </p:nvCxnSpPr>
        <p:spPr>
          <a:xfrm>
            <a:off x="2958547" y="739373"/>
            <a:ext cx="8788353" cy="0"/>
          </a:xfrm>
          <a:prstGeom prst="line">
            <a:avLst/>
          </a:prstGeom>
          <a:ln w="12700">
            <a:solidFill>
              <a:schemeClr val="tx1">
                <a:lumMod val="20000"/>
                <a:lumOff val="8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8905588"/>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1"/>
          <p:cNvSpPr txBox="1"/>
          <p:nvPr userDrawn="1"/>
        </p:nvSpPr>
        <p:spPr>
          <a:xfrm>
            <a:off x="440529" y="6326530"/>
            <a:ext cx="2823017" cy="108637"/>
          </a:xfrm>
          <a:prstGeom prst="rect">
            <a:avLst/>
          </a:prstGeom>
        </p:spPr>
        <p:txBody>
          <a:bodyPr vert="horz" wrap="square" lIns="0" tIns="0" rIns="0" bIns="0" rtlCol="0" anchor="ctr">
            <a:spAutoFit/>
          </a:bodyPr>
          <a:lstStyle>
            <a:lvl1pPr algn="l" defTabSz="932742" eaLnBrk="1" latinLnBrk="0" hangingPunct="1">
              <a:lnSpc>
                <a:spcPct val="90000"/>
              </a:lnSpc>
              <a:spcBef>
                <a:spcPct val="0"/>
              </a:spcBef>
              <a:buNone/>
              <a:defRPr lang="en-US" sz="1000" b="0" cap="none" spc="0" baseline="0" dirty="0" smtClean="0">
                <a:ln w="3175">
                  <a:noFill/>
                </a:ln>
                <a:gradFill>
                  <a:gsLst>
                    <a:gs pos="0">
                      <a:schemeClr val="tx1">
                        <a:lumMod val="60000"/>
                        <a:lumOff val="40000"/>
                      </a:schemeClr>
                    </a:gs>
                    <a:gs pos="100000">
                      <a:schemeClr val="tx1">
                        <a:lumMod val="60000"/>
                        <a:lumOff val="40000"/>
                      </a:schemeClr>
                    </a:gs>
                  </a:gsLst>
                  <a:lin ang="5400000" scaled="0"/>
                </a:gradFill>
                <a:effectLst/>
                <a:cs typeface="Segoe UI" pitchFamily="34" charset="0"/>
              </a:defRPr>
            </a:lvl1pPr>
          </a:lstStyle>
          <a:p>
            <a:pPr lvl="0" algn="l" defTabSz="914367" rtl="0" eaLnBrk="1" fontAlgn="base" latinLnBrk="0" hangingPunct="1">
              <a:lnSpc>
                <a:spcPct val="90000"/>
              </a:lnSpc>
              <a:spcBef>
                <a:spcPct val="0"/>
              </a:spcBef>
              <a:buNone/>
            </a:pPr>
            <a:r>
              <a:rPr lang="en-US" sz="784" b="0" kern="1200" cap="none" spc="0" baseline="0">
                <a:ln w="3175">
                  <a:noFill/>
                </a:ln>
                <a:gradFill>
                  <a:gsLst>
                    <a:gs pos="0">
                      <a:schemeClr val="tx1">
                        <a:lumMod val="60000"/>
                        <a:lumOff val="40000"/>
                      </a:schemeClr>
                    </a:gs>
                    <a:gs pos="100000">
                      <a:schemeClr val="tx1">
                        <a:lumMod val="60000"/>
                        <a:lumOff val="40000"/>
                      </a:schemeClr>
                    </a:gs>
                  </a:gsLst>
                  <a:lin ang="5400000" scaled="0"/>
                </a:gradFill>
                <a:effectLst/>
                <a:latin typeface="+mn-lt"/>
                <a:ea typeface="+mn-ea"/>
                <a:cs typeface="Segoe UI Semibold" panose="020B0702040204020203" pitchFamily="34" charset="0"/>
              </a:rPr>
              <a:t>© Copyright Microsoft Corporation. All rights reserved. </a:t>
            </a:r>
          </a:p>
        </p:txBody>
      </p:sp>
    </p:spTree>
    <p:extLst>
      <p:ext uri="{BB962C8B-B14F-4D97-AF65-F5344CB8AC3E}">
        <p14:creationId xmlns:p14="http://schemas.microsoft.com/office/powerpoint/2010/main" val="386584091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819DE7-0CCE-404B-B9AF-74DBF6ED4C53}"/>
              </a:ext>
            </a:extLst>
          </p:cNvPr>
          <p:cNvPicPr>
            <a:picLocks noChangeAspect="1"/>
          </p:cNvPicPr>
          <p:nvPr userDrawn="1"/>
        </p:nvPicPr>
        <p:blipFill>
          <a:blip r:embed="rId2"/>
          <a:stretch>
            <a:fillRect/>
          </a:stretch>
        </p:blipFill>
        <p:spPr>
          <a:xfrm>
            <a:off x="0" y="-67515"/>
            <a:ext cx="12192000" cy="6925814"/>
          </a:xfrm>
          <a:prstGeom prst="rect">
            <a:avLst/>
          </a:prstGeom>
        </p:spPr>
      </p:pic>
      <p:grpSp>
        <p:nvGrpSpPr>
          <p:cNvPr id="74" name="Group 73"/>
          <p:cNvGrpSpPr>
            <a:grpSpLocks noChangeAspect="1"/>
          </p:cNvGrpSpPr>
          <p:nvPr userDrawn="1"/>
        </p:nvGrpSpPr>
        <p:grpSpPr bwMode="black">
          <a:xfrm>
            <a:off x="449596" y="446358"/>
            <a:ext cx="1443635" cy="309975"/>
            <a:chOff x="457200" y="1643393"/>
            <a:chExt cx="4492753" cy="964540"/>
          </a:xfrm>
        </p:grpSpPr>
        <p:pic>
          <p:nvPicPr>
            <p:cNvPr id="143" name="Picture 142"/>
            <p:cNvPicPr>
              <a:picLocks noChangeAspect="1"/>
            </p:cNvPicPr>
            <p:nvPr/>
          </p:nvPicPr>
          <p:blipFill>
            <a:blip r:embed="rId3"/>
            <a:stretch>
              <a:fillRect/>
            </a:stretch>
          </p:blipFill>
          <p:spPr bwMode="black">
            <a:xfrm>
              <a:off x="457200" y="1643393"/>
              <a:ext cx="964540" cy="964540"/>
            </a:xfrm>
            <a:prstGeom prst="rect">
              <a:avLst/>
            </a:prstGeom>
          </p:spPr>
        </p:pic>
        <p:sp>
          <p:nvSpPr>
            <p:cNvPr id="145"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957905669"/>
      </p:ext>
    </p:extLst>
  </p:cSld>
  <p:clrMapOvr>
    <a:overrideClrMapping bg1="dk1" tx1="lt1" bg2="dk2" tx2="lt2" accent1="accent1" accent2="accent2" accent3="accent3" accent4="accent4" accent5="accent5" accent6="accent6" hlink="hlink" folHlink="folHlink"/>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24012" y="1393359"/>
            <a:ext cx="5517617" cy="4751388"/>
          </a:xfrm>
          <a:prstGeom prst="rect">
            <a:avLst/>
          </a:prstGeom>
        </p:spPr>
        <p:txBody>
          <a:bodyPr lIns="0" tIns="0" rIns="0" bIns="0">
            <a:noAutofit/>
          </a:bodyPr>
          <a:lstStyle>
            <a:lvl1pPr>
              <a:defRPr sz="2400">
                <a:solidFill>
                  <a:schemeClr val="accent2">
                    <a:alpha val="99000"/>
                  </a:schemeClr>
                </a:solidFill>
                <a:latin typeface="+mn-lt"/>
              </a:defRPr>
            </a:lvl1pPr>
            <a:lvl2pPr marL="233318" indent="-233318">
              <a:buFont typeface="Arial" pitchFamily="34" charset="0"/>
              <a:buChar char="•"/>
              <a:defRPr sz="2000">
                <a:solidFill>
                  <a:schemeClr val="tx2">
                    <a:alpha val="99000"/>
                  </a:schemeClr>
                </a:solidFill>
                <a:latin typeface="+mn-lt"/>
              </a:defRPr>
            </a:lvl2pPr>
            <a:lvl3pPr marL="466636" indent="-233318">
              <a:buFont typeface="Arial" pitchFamily="34" charset="0"/>
              <a:buChar char="•"/>
              <a:defRPr sz="1800">
                <a:solidFill>
                  <a:schemeClr val="tx2">
                    <a:alpha val="99000"/>
                  </a:schemeClr>
                </a:solidFill>
                <a:latin typeface="+mn-lt"/>
              </a:defRPr>
            </a:lvl3pPr>
            <a:lvl4pPr marL="680908" indent="-214272">
              <a:buFont typeface="Arial" pitchFamily="34" charset="0"/>
              <a:buChar char="•"/>
              <a:defRPr sz="1600">
                <a:solidFill>
                  <a:schemeClr val="tx2">
                    <a:alpha val="99000"/>
                  </a:schemeClr>
                </a:solidFill>
                <a:latin typeface="+mn-lt"/>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0" name="Content Placeholder 2"/>
          <p:cNvSpPr>
            <a:spLocks noGrp="1"/>
          </p:cNvSpPr>
          <p:nvPr>
            <p:ph idx="10"/>
          </p:nvPr>
        </p:nvSpPr>
        <p:spPr>
          <a:xfrm>
            <a:off x="6158772" y="1393359"/>
            <a:ext cx="5602905" cy="4751388"/>
          </a:xfrm>
          <a:prstGeom prst="rect">
            <a:avLst/>
          </a:prstGeom>
        </p:spPr>
        <p:txBody>
          <a:bodyPr lIns="0" tIns="0" rIns="0" bIns="0">
            <a:noAutofit/>
          </a:bodyPr>
          <a:lstStyle>
            <a:lvl1pPr>
              <a:defRPr sz="2400">
                <a:solidFill>
                  <a:schemeClr val="accent2">
                    <a:alpha val="99000"/>
                  </a:schemeClr>
                </a:solidFill>
                <a:latin typeface="+mn-lt"/>
              </a:defRPr>
            </a:lvl1pPr>
            <a:lvl2pPr marL="233318" indent="-233318">
              <a:buFont typeface="Arial" pitchFamily="34" charset="0"/>
              <a:buChar char="•"/>
              <a:defRPr sz="2000">
                <a:solidFill>
                  <a:schemeClr val="accent4">
                    <a:alpha val="99000"/>
                  </a:schemeClr>
                </a:solidFill>
                <a:latin typeface="+mn-lt"/>
              </a:defRPr>
            </a:lvl2pPr>
            <a:lvl3pPr marL="466636" indent="-233318">
              <a:buFont typeface="Arial" pitchFamily="34" charset="0"/>
              <a:buChar char="•"/>
              <a:defRPr sz="1800">
                <a:solidFill>
                  <a:schemeClr val="tx2">
                    <a:alpha val="99000"/>
                  </a:schemeClr>
                </a:solidFill>
                <a:latin typeface="+mn-lt"/>
              </a:defRPr>
            </a:lvl3pPr>
            <a:lvl4pPr marL="680908" indent="-214272">
              <a:buFont typeface="Arial" pitchFamily="34" charset="0"/>
              <a:buChar char="•"/>
              <a:defRPr sz="1600">
                <a:solidFill>
                  <a:schemeClr val="tx2">
                    <a:alpha val="99000"/>
                  </a:schemeClr>
                </a:solidFill>
                <a:latin typeface="+mn-lt"/>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3" name="Title Placeholder 1"/>
          <p:cNvSpPr>
            <a:spLocks noGrp="1"/>
          </p:cNvSpPr>
          <p:nvPr>
            <p:ph type="title"/>
          </p:nvPr>
        </p:nvSpPr>
        <p:spPr>
          <a:xfrm>
            <a:off x="524012" y="228601"/>
            <a:ext cx="11237664" cy="6093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217661783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24012" y="1393359"/>
            <a:ext cx="11398042" cy="4751388"/>
          </a:xfrm>
          <a:prstGeom prst="rect">
            <a:avLst/>
          </a:prstGeom>
        </p:spPr>
        <p:txBody>
          <a:bodyPr lIns="0" tIns="0" rIns="0" bIns="0">
            <a:noAutofit/>
          </a:bodyPr>
          <a:lstStyle>
            <a:lvl1pPr>
              <a:defRPr sz="2400">
                <a:solidFill>
                  <a:schemeClr val="accent2">
                    <a:alpha val="99000"/>
                  </a:schemeClr>
                </a:solidFill>
                <a:latin typeface="+mn-lt"/>
              </a:defRPr>
            </a:lvl1pPr>
            <a:lvl2pPr marL="233318" indent="-233318">
              <a:buFont typeface="Arial" pitchFamily="34" charset="0"/>
              <a:buChar char="•"/>
              <a:defRPr sz="2000">
                <a:solidFill>
                  <a:schemeClr val="tx2">
                    <a:alpha val="99000"/>
                  </a:schemeClr>
                </a:solidFill>
                <a:latin typeface="+mn-lt"/>
              </a:defRPr>
            </a:lvl2pPr>
            <a:lvl3pPr marL="466636" indent="-233318">
              <a:buFont typeface="Arial" pitchFamily="34" charset="0"/>
              <a:buChar char="•"/>
              <a:defRPr sz="1800">
                <a:solidFill>
                  <a:schemeClr val="tx2">
                    <a:alpha val="99000"/>
                  </a:schemeClr>
                </a:solidFill>
                <a:latin typeface="+mn-lt"/>
              </a:defRPr>
            </a:lvl3pPr>
            <a:lvl4pPr marL="680908" indent="-214272">
              <a:buFont typeface="Arial" pitchFamily="34" charset="0"/>
              <a:buChar char="•"/>
              <a:defRPr sz="1600">
                <a:solidFill>
                  <a:schemeClr val="tx2">
                    <a:alpha val="99000"/>
                  </a:schemeClr>
                </a:solidFill>
                <a:latin typeface="+mn-lt"/>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Placeholder 1"/>
          <p:cNvSpPr>
            <a:spLocks noGrp="1"/>
          </p:cNvSpPr>
          <p:nvPr>
            <p:ph type="title"/>
          </p:nvPr>
        </p:nvSpPr>
        <p:spPr>
          <a:xfrm>
            <a:off x="524012" y="228601"/>
            <a:ext cx="11237664" cy="609398"/>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34758193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accent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47909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_2">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D2F1BEDA-3EDC-FC4B-B865-4302583FFF20}"/>
              </a:ext>
            </a:extLst>
          </p:cNvPr>
          <p:cNvSpPr>
            <a:spLocks noGrp="1"/>
          </p:cNvSpPr>
          <p:nvPr>
            <p:ph type="body" sz="quarter" idx="16" hasCustomPrompt="1"/>
          </p:nvPr>
        </p:nvSpPr>
        <p:spPr>
          <a:xfrm>
            <a:off x="6230819" y="3487529"/>
            <a:ext cx="4644892" cy="281651"/>
          </a:xfrm>
        </p:spPr>
        <p:txBody>
          <a:bodyPr anchor="t"/>
          <a:lstStyle>
            <a:lvl1pPr>
              <a:defRPr sz="2133" b="0" i="0">
                <a:latin typeface="Arial" panose="020B0604020202020204" pitchFamily="34" charset="0"/>
                <a:cs typeface="Arial" panose="020B0604020202020204" pitchFamily="34" charset="0"/>
              </a:defRPr>
            </a:lvl1pPr>
          </a:lstStyle>
          <a:p>
            <a:pPr lvl="0"/>
            <a:r>
              <a:rPr lang="en-US"/>
              <a:t>Presenter Name and Title</a:t>
            </a:r>
          </a:p>
        </p:txBody>
      </p:sp>
      <p:sp>
        <p:nvSpPr>
          <p:cNvPr id="17" name="Text Placeholder 2">
            <a:extLst>
              <a:ext uri="{FF2B5EF4-FFF2-40B4-BE49-F238E27FC236}">
                <a16:creationId xmlns:a16="http://schemas.microsoft.com/office/drawing/2014/main" id="{A09E5C48-DCD0-1D44-BBBF-EBC1697F1445}"/>
              </a:ext>
            </a:extLst>
          </p:cNvPr>
          <p:cNvSpPr>
            <a:spLocks noGrp="1"/>
          </p:cNvSpPr>
          <p:nvPr>
            <p:ph type="body" sz="quarter" idx="17" hasCustomPrompt="1"/>
          </p:nvPr>
        </p:nvSpPr>
        <p:spPr>
          <a:xfrm>
            <a:off x="6230820" y="2043607"/>
            <a:ext cx="5297123" cy="1247796"/>
          </a:xfrm>
        </p:spPr>
        <p:txBody>
          <a:bodyPr anchor="b"/>
          <a:lstStyle>
            <a:lvl1pPr>
              <a:defRPr sz="4267" b="1" i="0">
                <a:latin typeface="Arial Narrow" panose="020B0604020202020204" pitchFamily="34" charset="0"/>
                <a:cs typeface="Arial Narrow" panose="020B0604020202020204" pitchFamily="34" charset="0"/>
              </a:defRPr>
            </a:lvl1pPr>
          </a:lstStyle>
          <a:p>
            <a:pPr lvl="0"/>
            <a:r>
              <a:rPr lang="en-US"/>
              <a:t>PRESENTATION SUBHEAD</a:t>
            </a:r>
          </a:p>
        </p:txBody>
      </p:sp>
      <p:sp>
        <p:nvSpPr>
          <p:cNvPr id="25" name="Rectangle 24"/>
          <p:cNvSpPr/>
          <p:nvPr userDrawn="1"/>
        </p:nvSpPr>
        <p:spPr>
          <a:xfrm rot="10800000" flipH="1">
            <a:off x="748354" y="740229"/>
            <a:ext cx="10692535" cy="5399531"/>
          </a:xfrm>
          <a:custGeom>
            <a:avLst/>
            <a:gdLst>
              <a:gd name="connsiteX0" fmla="*/ 0 w 8017329"/>
              <a:gd name="connsiteY0" fmla="*/ 0 h 4033157"/>
              <a:gd name="connsiteX1" fmla="*/ 8017329 w 8017329"/>
              <a:gd name="connsiteY1" fmla="*/ 0 h 4033157"/>
              <a:gd name="connsiteX2" fmla="*/ 8017329 w 8017329"/>
              <a:gd name="connsiteY2" fmla="*/ 4033157 h 4033157"/>
              <a:gd name="connsiteX3" fmla="*/ 0 w 8017329"/>
              <a:gd name="connsiteY3" fmla="*/ 4033157 h 4033157"/>
              <a:gd name="connsiteX4" fmla="*/ 0 w 8017329"/>
              <a:gd name="connsiteY4" fmla="*/ 0 h 4033157"/>
              <a:gd name="connsiteX0" fmla="*/ 0 w 8017329"/>
              <a:gd name="connsiteY0" fmla="*/ 1 h 4033158"/>
              <a:gd name="connsiteX1" fmla="*/ 3061607 w 8017329"/>
              <a:gd name="connsiteY1" fmla="*/ 0 h 4033158"/>
              <a:gd name="connsiteX2" fmla="*/ 8017329 w 8017329"/>
              <a:gd name="connsiteY2" fmla="*/ 1 h 4033158"/>
              <a:gd name="connsiteX3" fmla="*/ 8017329 w 8017329"/>
              <a:gd name="connsiteY3" fmla="*/ 4033158 h 4033158"/>
              <a:gd name="connsiteX4" fmla="*/ 0 w 8017329"/>
              <a:gd name="connsiteY4" fmla="*/ 4033158 h 4033158"/>
              <a:gd name="connsiteX5" fmla="*/ 0 w 8017329"/>
              <a:gd name="connsiteY5" fmla="*/ 1 h 4033158"/>
              <a:gd name="connsiteX0" fmla="*/ 0 w 8017329"/>
              <a:gd name="connsiteY0" fmla="*/ 1 h 4033158"/>
              <a:gd name="connsiteX1" fmla="*/ 1918607 w 8017329"/>
              <a:gd name="connsiteY1" fmla="*/ 0 h 4033158"/>
              <a:gd name="connsiteX2" fmla="*/ 3061607 w 8017329"/>
              <a:gd name="connsiteY2" fmla="*/ 0 h 4033158"/>
              <a:gd name="connsiteX3" fmla="*/ 8017329 w 8017329"/>
              <a:gd name="connsiteY3" fmla="*/ 1 h 4033158"/>
              <a:gd name="connsiteX4" fmla="*/ 8017329 w 8017329"/>
              <a:gd name="connsiteY4" fmla="*/ 4033158 h 4033158"/>
              <a:gd name="connsiteX5" fmla="*/ 0 w 8017329"/>
              <a:gd name="connsiteY5" fmla="*/ 4033158 h 4033158"/>
              <a:gd name="connsiteX6" fmla="*/ 0 w 8017329"/>
              <a:gd name="connsiteY6" fmla="*/ 1 h 4033158"/>
              <a:gd name="connsiteX0" fmla="*/ 3061607 w 8017329"/>
              <a:gd name="connsiteY0" fmla="*/ 0 h 4033158"/>
              <a:gd name="connsiteX1" fmla="*/ 8017329 w 8017329"/>
              <a:gd name="connsiteY1" fmla="*/ 1 h 4033158"/>
              <a:gd name="connsiteX2" fmla="*/ 8017329 w 8017329"/>
              <a:gd name="connsiteY2" fmla="*/ 4033158 h 4033158"/>
              <a:gd name="connsiteX3" fmla="*/ 0 w 8017329"/>
              <a:gd name="connsiteY3" fmla="*/ 4033158 h 4033158"/>
              <a:gd name="connsiteX4" fmla="*/ 0 w 8017329"/>
              <a:gd name="connsiteY4" fmla="*/ 1 h 4033158"/>
              <a:gd name="connsiteX5" fmla="*/ 2010047 w 8017329"/>
              <a:gd name="connsiteY5" fmla="*/ 91440 h 4033158"/>
              <a:gd name="connsiteX0" fmla="*/ 3141617 w 8097339"/>
              <a:gd name="connsiteY0" fmla="*/ 324939 h 4358097"/>
              <a:gd name="connsiteX1" fmla="*/ 8097339 w 8097339"/>
              <a:gd name="connsiteY1" fmla="*/ 324940 h 4358097"/>
              <a:gd name="connsiteX2" fmla="*/ 8097339 w 8097339"/>
              <a:gd name="connsiteY2" fmla="*/ 4358097 h 4358097"/>
              <a:gd name="connsiteX3" fmla="*/ 80010 w 8097339"/>
              <a:gd name="connsiteY3" fmla="*/ 4358097 h 4358097"/>
              <a:gd name="connsiteX4" fmla="*/ 80010 w 8097339"/>
              <a:gd name="connsiteY4" fmla="*/ 324940 h 4358097"/>
              <a:gd name="connsiteX5" fmla="*/ 0 w 8097339"/>
              <a:gd name="connsiteY5" fmla="*/ 0 h 4358097"/>
              <a:gd name="connsiteX0" fmla="*/ 3141617 w 8097339"/>
              <a:gd name="connsiteY0" fmla="*/ 324939 h 4358097"/>
              <a:gd name="connsiteX1" fmla="*/ 8097339 w 8097339"/>
              <a:gd name="connsiteY1" fmla="*/ 324940 h 4358097"/>
              <a:gd name="connsiteX2" fmla="*/ 8097339 w 8097339"/>
              <a:gd name="connsiteY2" fmla="*/ 4358097 h 4358097"/>
              <a:gd name="connsiteX3" fmla="*/ 80010 w 8097339"/>
              <a:gd name="connsiteY3" fmla="*/ 4358097 h 4358097"/>
              <a:gd name="connsiteX4" fmla="*/ 80010 w 8097339"/>
              <a:gd name="connsiteY4" fmla="*/ 324940 h 4358097"/>
              <a:gd name="connsiteX5" fmla="*/ 0 w 8097339"/>
              <a:gd name="connsiteY5" fmla="*/ 0 h 4358097"/>
              <a:gd name="connsiteX0" fmla="*/ 3141617 w 8097339"/>
              <a:gd name="connsiteY0" fmla="*/ 324939 h 4358097"/>
              <a:gd name="connsiteX1" fmla="*/ 8097339 w 8097339"/>
              <a:gd name="connsiteY1" fmla="*/ 324940 h 4358097"/>
              <a:gd name="connsiteX2" fmla="*/ 8097339 w 8097339"/>
              <a:gd name="connsiteY2" fmla="*/ 4358097 h 4358097"/>
              <a:gd name="connsiteX3" fmla="*/ 80010 w 8097339"/>
              <a:gd name="connsiteY3" fmla="*/ 4358097 h 4358097"/>
              <a:gd name="connsiteX4" fmla="*/ 80010 w 8097339"/>
              <a:gd name="connsiteY4" fmla="*/ 324940 h 4358097"/>
              <a:gd name="connsiteX5" fmla="*/ 0 w 8097339"/>
              <a:gd name="connsiteY5" fmla="*/ 0 h 4358097"/>
              <a:gd name="connsiteX0" fmla="*/ 3061607 w 8017329"/>
              <a:gd name="connsiteY0" fmla="*/ 0 h 4033158"/>
              <a:gd name="connsiteX1" fmla="*/ 8017329 w 8017329"/>
              <a:gd name="connsiteY1" fmla="*/ 1 h 4033158"/>
              <a:gd name="connsiteX2" fmla="*/ 8017329 w 8017329"/>
              <a:gd name="connsiteY2" fmla="*/ 4033158 h 4033158"/>
              <a:gd name="connsiteX3" fmla="*/ 0 w 8017329"/>
              <a:gd name="connsiteY3" fmla="*/ 4033158 h 4033158"/>
              <a:gd name="connsiteX4" fmla="*/ 0 w 8017329"/>
              <a:gd name="connsiteY4" fmla="*/ 1 h 4033158"/>
              <a:gd name="connsiteX0" fmla="*/ 2571749 w 8017329"/>
              <a:gd name="connsiteY0" fmla="*/ 0 h 4033158"/>
              <a:gd name="connsiteX1" fmla="*/ 8017329 w 8017329"/>
              <a:gd name="connsiteY1" fmla="*/ 1 h 4033158"/>
              <a:gd name="connsiteX2" fmla="*/ 8017329 w 8017329"/>
              <a:gd name="connsiteY2" fmla="*/ 4033158 h 4033158"/>
              <a:gd name="connsiteX3" fmla="*/ 0 w 8017329"/>
              <a:gd name="connsiteY3" fmla="*/ 4033158 h 4033158"/>
              <a:gd name="connsiteX4" fmla="*/ 0 w 8017329"/>
              <a:gd name="connsiteY4" fmla="*/ 1 h 4033158"/>
              <a:gd name="connsiteX0" fmla="*/ 2239240 w 8017329"/>
              <a:gd name="connsiteY0" fmla="*/ 0 h 4033158"/>
              <a:gd name="connsiteX1" fmla="*/ 8017329 w 8017329"/>
              <a:gd name="connsiteY1" fmla="*/ 1 h 4033158"/>
              <a:gd name="connsiteX2" fmla="*/ 8017329 w 8017329"/>
              <a:gd name="connsiteY2" fmla="*/ 4033158 h 4033158"/>
              <a:gd name="connsiteX3" fmla="*/ 0 w 8017329"/>
              <a:gd name="connsiteY3" fmla="*/ 4033158 h 4033158"/>
              <a:gd name="connsiteX4" fmla="*/ 0 w 8017329"/>
              <a:gd name="connsiteY4" fmla="*/ 1 h 4033158"/>
              <a:gd name="connsiteX0" fmla="*/ 2239240 w 8017329"/>
              <a:gd name="connsiteY0" fmla="*/ 0 h 4033158"/>
              <a:gd name="connsiteX1" fmla="*/ 8017329 w 8017329"/>
              <a:gd name="connsiteY1" fmla="*/ 1 h 4033158"/>
              <a:gd name="connsiteX2" fmla="*/ 8017329 w 8017329"/>
              <a:gd name="connsiteY2" fmla="*/ 4033158 h 4033158"/>
              <a:gd name="connsiteX3" fmla="*/ 0 w 8017329"/>
              <a:gd name="connsiteY3" fmla="*/ 4033158 h 4033158"/>
              <a:gd name="connsiteX4" fmla="*/ 0 w 8017329"/>
              <a:gd name="connsiteY4" fmla="*/ 308759 h 4033158"/>
              <a:gd name="connsiteX0" fmla="*/ 0 w 8019401"/>
              <a:gd name="connsiteY0" fmla="*/ 0 h 4033158"/>
              <a:gd name="connsiteX1" fmla="*/ 8019401 w 8019401"/>
              <a:gd name="connsiteY1" fmla="*/ 1 h 4033158"/>
              <a:gd name="connsiteX2" fmla="*/ 8019401 w 8019401"/>
              <a:gd name="connsiteY2" fmla="*/ 4033158 h 4033158"/>
              <a:gd name="connsiteX3" fmla="*/ 2072 w 8019401"/>
              <a:gd name="connsiteY3" fmla="*/ 4033158 h 4033158"/>
              <a:gd name="connsiteX4" fmla="*/ 2072 w 8019401"/>
              <a:gd name="connsiteY4" fmla="*/ 308759 h 4033158"/>
              <a:gd name="connsiteX0" fmla="*/ 0 w 8019401"/>
              <a:gd name="connsiteY0" fmla="*/ 0 h 4033158"/>
              <a:gd name="connsiteX1" fmla="*/ 8019401 w 8019401"/>
              <a:gd name="connsiteY1" fmla="*/ 1 h 4033158"/>
              <a:gd name="connsiteX2" fmla="*/ 8019401 w 8019401"/>
              <a:gd name="connsiteY2" fmla="*/ 4033158 h 4033158"/>
              <a:gd name="connsiteX3" fmla="*/ 2072 w 8019401"/>
              <a:gd name="connsiteY3" fmla="*/ 4033158 h 4033158"/>
              <a:gd name="connsiteX4" fmla="*/ 2072 w 8019401"/>
              <a:gd name="connsiteY4" fmla="*/ 33752 h 4033158"/>
              <a:gd name="connsiteX0" fmla="*/ 0 w 8019401"/>
              <a:gd name="connsiteY0" fmla="*/ 16490 h 4049648"/>
              <a:gd name="connsiteX1" fmla="*/ 8019401 w 8019401"/>
              <a:gd name="connsiteY1" fmla="*/ 16491 h 4049648"/>
              <a:gd name="connsiteX2" fmla="*/ 8019401 w 8019401"/>
              <a:gd name="connsiteY2" fmla="*/ 4049648 h 4049648"/>
              <a:gd name="connsiteX3" fmla="*/ 2072 w 8019401"/>
              <a:gd name="connsiteY3" fmla="*/ 4049648 h 4049648"/>
              <a:gd name="connsiteX4" fmla="*/ 2072 w 8019401"/>
              <a:gd name="connsiteY4" fmla="*/ 0 h 4049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19401" h="4049648">
                <a:moveTo>
                  <a:pt x="0" y="16490"/>
                </a:moveTo>
                <a:lnTo>
                  <a:pt x="8019401" y="16491"/>
                </a:lnTo>
                <a:lnTo>
                  <a:pt x="8019401" y="4049648"/>
                </a:lnTo>
                <a:lnTo>
                  <a:pt x="2072" y="4049648"/>
                </a:lnTo>
                <a:lnTo>
                  <a:pt x="2072" y="0"/>
                </a:lnTo>
              </a:path>
            </a:pathLst>
          </a:custGeom>
          <a:noFill/>
          <a:ln w="63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3" name="Rectangle 32">
            <a:extLst>
              <a:ext uri="{FF2B5EF4-FFF2-40B4-BE49-F238E27FC236}">
                <a16:creationId xmlns:a16="http://schemas.microsoft.com/office/drawing/2014/main" id="{9AED2B20-9A26-F446-9A90-ADB2F07F7859}"/>
              </a:ext>
            </a:extLst>
          </p:cNvPr>
          <p:cNvSpPr/>
          <p:nvPr userDrawn="1"/>
        </p:nvSpPr>
        <p:spPr>
          <a:xfrm>
            <a:off x="0" y="4893780"/>
            <a:ext cx="12192000" cy="667229"/>
          </a:xfrm>
          <a:prstGeom prst="rect">
            <a:avLst/>
          </a:prstGeom>
          <a:solidFill>
            <a:schemeClr val="accent4"/>
          </a:solidFill>
          <a:ln w="12700" cap="flat" cmpd="sng" algn="ctr">
            <a:no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CBC9BB"/>
              </a:solidFill>
              <a:effectLst/>
              <a:uLnTx/>
              <a:uFillTx/>
              <a:latin typeface="Calibri"/>
              <a:ea typeface="+mn-ea"/>
              <a:cs typeface="+mn-cs"/>
            </a:endParaRPr>
          </a:p>
        </p:txBody>
      </p:sp>
      <p:sp>
        <p:nvSpPr>
          <p:cNvPr id="34" name="Rectangle 33">
            <a:extLst>
              <a:ext uri="{FF2B5EF4-FFF2-40B4-BE49-F238E27FC236}">
                <a16:creationId xmlns:a16="http://schemas.microsoft.com/office/drawing/2014/main" id="{A6F67AA0-05FB-494A-8599-08CF763B67C6}"/>
              </a:ext>
            </a:extLst>
          </p:cNvPr>
          <p:cNvSpPr/>
          <p:nvPr userDrawn="1"/>
        </p:nvSpPr>
        <p:spPr>
          <a:xfrm>
            <a:off x="0" y="5979816"/>
            <a:ext cx="12192000" cy="878187"/>
          </a:xfrm>
          <a:prstGeom prst="rect">
            <a:avLst/>
          </a:prstGeom>
          <a:solidFill>
            <a:schemeClr val="accent3"/>
          </a:solidFill>
          <a:ln w="12700" cap="flat" cmpd="sng" algn="ctr">
            <a:no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CBC9BB"/>
              </a:solidFill>
              <a:effectLst/>
              <a:uLnTx/>
              <a:uFillTx/>
              <a:latin typeface="Calibri"/>
              <a:ea typeface="+mn-ea"/>
              <a:cs typeface="+mn-cs"/>
            </a:endParaRPr>
          </a:p>
        </p:txBody>
      </p:sp>
      <p:pic>
        <p:nvPicPr>
          <p:cNvPr id="39" name="Picture 38">
            <a:extLst>
              <a:ext uri="{FF2B5EF4-FFF2-40B4-BE49-F238E27FC236}">
                <a16:creationId xmlns:a16="http://schemas.microsoft.com/office/drawing/2014/main" id="{80F3212C-1C42-4B41-A06D-5FD1F55783B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879382" y="6333847"/>
            <a:ext cx="2770556" cy="293848"/>
          </a:xfrm>
          <a:prstGeom prst="rect">
            <a:avLst/>
          </a:prstGeom>
        </p:spPr>
      </p:pic>
      <p:sp>
        <p:nvSpPr>
          <p:cNvPr id="15" name="Rectangle 14">
            <a:extLst>
              <a:ext uri="{FF2B5EF4-FFF2-40B4-BE49-F238E27FC236}">
                <a16:creationId xmlns:a16="http://schemas.microsoft.com/office/drawing/2014/main" id="{0862E505-3636-A644-9222-5C28312DBE44}"/>
              </a:ext>
            </a:extLst>
          </p:cNvPr>
          <p:cNvSpPr/>
          <p:nvPr userDrawn="1"/>
        </p:nvSpPr>
        <p:spPr>
          <a:xfrm>
            <a:off x="0" y="0"/>
            <a:ext cx="12192000" cy="1801688"/>
          </a:xfrm>
          <a:prstGeom prst="rect">
            <a:avLst/>
          </a:prstGeom>
          <a:solidFill>
            <a:schemeClr val="bg2"/>
          </a:solidFill>
          <a:ln w="12700" cap="flat" cmpd="sng" algn="ctr">
            <a:no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CBC9BB"/>
              </a:solidFill>
              <a:effectLst/>
              <a:uLnTx/>
              <a:uFillTx/>
              <a:latin typeface="Calibri"/>
              <a:ea typeface="+mn-ea"/>
              <a:cs typeface="+mn-cs"/>
            </a:endParaRPr>
          </a:p>
        </p:txBody>
      </p:sp>
      <p:pic>
        <p:nvPicPr>
          <p:cNvPr id="38" name="Picture 37">
            <a:extLst>
              <a:ext uri="{FF2B5EF4-FFF2-40B4-BE49-F238E27FC236}">
                <a16:creationId xmlns:a16="http://schemas.microsoft.com/office/drawing/2014/main" id="{ACD6FEE1-A5D5-224F-A15A-C8B9194EC1F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2098" y="1071369"/>
            <a:ext cx="5133351" cy="4237999"/>
          </a:xfrm>
          <a:prstGeom prst="rect">
            <a:avLst/>
          </a:prstGeom>
        </p:spPr>
      </p:pic>
      <p:sp>
        <p:nvSpPr>
          <p:cNvPr id="40" name="Picture Placeholder 17">
            <a:extLst>
              <a:ext uri="{FF2B5EF4-FFF2-40B4-BE49-F238E27FC236}">
                <a16:creationId xmlns:a16="http://schemas.microsoft.com/office/drawing/2014/main" id="{308F0447-50FC-DC48-A840-DAACDCDB32E1}"/>
              </a:ext>
            </a:extLst>
          </p:cNvPr>
          <p:cNvSpPr>
            <a:spLocks noGrp="1" noChangeAspect="1"/>
          </p:cNvSpPr>
          <p:nvPr userDrawn="1">
            <p:ph type="pic" sz="quarter" idx="15"/>
          </p:nvPr>
        </p:nvSpPr>
        <p:spPr>
          <a:xfrm>
            <a:off x="1674372" y="1760604"/>
            <a:ext cx="2660725" cy="2862941"/>
          </a:xfrm>
          <a:prstGeom prst="ellipse">
            <a:avLst/>
          </a:prstGeom>
          <a:noFill/>
        </p:spPr>
        <p:txBody>
          <a:bodyPr anchor="ctr"/>
          <a:lstStyle>
            <a:lvl1pPr marL="0" indent="0" algn="ctr">
              <a:buNone/>
              <a:defRPr sz="2667">
                <a:latin typeface="DIN Alternate" panose="020B0500000000000000" pitchFamily="34" charset="77"/>
              </a:defRPr>
            </a:lvl1pPr>
          </a:lstStyle>
          <a:p>
            <a:endParaRPr lang="en-US"/>
          </a:p>
        </p:txBody>
      </p:sp>
      <p:sp>
        <p:nvSpPr>
          <p:cNvPr id="24" name="Rectangle 23">
            <a:extLst>
              <a:ext uri="{FF2B5EF4-FFF2-40B4-BE49-F238E27FC236}">
                <a16:creationId xmlns:a16="http://schemas.microsoft.com/office/drawing/2014/main" id="{B29B063D-DDDE-934F-826A-D145BBD56E1E}"/>
              </a:ext>
            </a:extLst>
          </p:cNvPr>
          <p:cNvSpPr/>
          <p:nvPr userDrawn="1"/>
        </p:nvSpPr>
        <p:spPr>
          <a:xfrm>
            <a:off x="0" y="5561012"/>
            <a:ext cx="12192000" cy="437593"/>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CBC9BB"/>
              </a:solidFill>
              <a:effectLst/>
              <a:uLnTx/>
              <a:uFillTx/>
              <a:latin typeface="Calibri"/>
              <a:ea typeface="+mn-ea"/>
              <a:cs typeface="+mn-cs"/>
            </a:endParaRPr>
          </a:p>
        </p:txBody>
      </p:sp>
      <p:sp>
        <p:nvSpPr>
          <p:cNvPr id="18" name="Text Placeholder 2">
            <a:extLst>
              <a:ext uri="{FF2B5EF4-FFF2-40B4-BE49-F238E27FC236}">
                <a16:creationId xmlns:a16="http://schemas.microsoft.com/office/drawing/2014/main" id="{172621C4-F762-074E-AF5C-0B85B7E2826F}"/>
              </a:ext>
            </a:extLst>
          </p:cNvPr>
          <p:cNvSpPr>
            <a:spLocks noGrp="1"/>
          </p:cNvSpPr>
          <p:nvPr>
            <p:ph type="body" sz="quarter" idx="18" hasCustomPrompt="1"/>
          </p:nvPr>
        </p:nvSpPr>
        <p:spPr>
          <a:xfrm>
            <a:off x="6230821" y="4305373"/>
            <a:ext cx="3489529" cy="281651"/>
          </a:xfrm>
        </p:spPr>
        <p:txBody>
          <a:bodyPr anchor="b"/>
          <a:lstStyle>
            <a:lvl1pPr>
              <a:defRPr sz="1867" b="0" i="0">
                <a:latin typeface="Arial" panose="020B0604020202020204" pitchFamily="34" charset="0"/>
                <a:cs typeface="Arial" panose="020B0604020202020204" pitchFamily="34" charset="0"/>
              </a:defRPr>
            </a:lvl1pPr>
          </a:lstStyle>
          <a:p>
            <a:pPr lvl="0"/>
            <a:r>
              <a:rPr lang="en-US"/>
              <a:t>00.00.00</a:t>
            </a:r>
          </a:p>
        </p:txBody>
      </p:sp>
    </p:spTree>
    <p:extLst>
      <p:ext uri="{BB962C8B-B14F-4D97-AF65-F5344CB8AC3E}">
        <p14:creationId xmlns:p14="http://schemas.microsoft.com/office/powerpoint/2010/main" val="2176012339"/>
      </p:ext>
    </p:extLst>
  </p:cSld>
  <p:clrMapOvr>
    <a:masterClrMapping/>
  </p:clrMapOvr>
  <p:extLst>
    <p:ext uri="{DCECCB84-F9BA-43D5-87BE-67443E8EF086}">
      <p15:sldGuideLst xmlns:p15="http://schemas.microsoft.com/office/powerpoint/2012/main">
        <p15:guide id="1" orient="horz" pos="150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Divider_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9ECBD1-37A3-0040-A8D8-9A8C933C9060}"/>
              </a:ext>
            </a:extLst>
          </p:cNvPr>
          <p:cNvSpPr/>
          <p:nvPr userDrawn="1"/>
        </p:nvSpPr>
        <p:spPr>
          <a:xfrm>
            <a:off x="3" y="0"/>
            <a:ext cx="12191999" cy="6858000"/>
          </a:xfrm>
          <a:prstGeom prst="rect">
            <a:avLst/>
          </a:prstGeom>
          <a:solidFill>
            <a:srgbClr val="E47E2E"/>
          </a:solidFill>
          <a:ln w="12700" cap="flat" cmpd="sng" algn="ctr">
            <a:no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CBC9BB"/>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06E552D0-2B74-6D40-A8C5-AAB489155C7E}"/>
              </a:ext>
            </a:extLst>
          </p:cNvPr>
          <p:cNvSpPr/>
          <p:nvPr userDrawn="1"/>
        </p:nvSpPr>
        <p:spPr>
          <a:xfrm>
            <a:off x="2" y="0"/>
            <a:ext cx="299545" cy="6858000"/>
          </a:xfrm>
          <a:prstGeom prst="rect">
            <a:avLst/>
          </a:prstGeom>
          <a:solidFill>
            <a:srgbClr val="E6A62B"/>
          </a:solidFill>
          <a:ln w="12700" cap="flat" cmpd="sng" algn="ctr">
            <a:no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CBC9BB"/>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EC3B4299-2CB7-3B46-90E4-7C7E13203893}"/>
              </a:ext>
            </a:extLst>
          </p:cNvPr>
          <p:cNvSpPr/>
          <p:nvPr userDrawn="1"/>
        </p:nvSpPr>
        <p:spPr>
          <a:xfrm>
            <a:off x="1517687" y="0"/>
            <a:ext cx="576128" cy="6858000"/>
          </a:xfrm>
          <a:prstGeom prst="rect">
            <a:avLst/>
          </a:prstGeom>
          <a:solidFill>
            <a:srgbClr val="94C2BB"/>
          </a:solidFill>
          <a:ln w="12700" cap="flat" cmpd="sng" algn="ctr">
            <a:no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CBC9BB"/>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EF74AB86-6844-C848-9233-54FC86375704}"/>
              </a:ext>
            </a:extLst>
          </p:cNvPr>
          <p:cNvSpPr/>
          <p:nvPr userDrawn="1"/>
        </p:nvSpPr>
        <p:spPr>
          <a:xfrm>
            <a:off x="299547" y="0"/>
            <a:ext cx="1221140" cy="6858000"/>
          </a:xfrm>
          <a:prstGeom prst="rect">
            <a:avLst/>
          </a:prstGeom>
          <a:solidFill>
            <a:srgbClr val="49B0AC"/>
          </a:solidFill>
          <a:ln w="12700" cap="flat" cmpd="sng" algn="ctr">
            <a:no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CBC9BB"/>
              </a:solidFill>
              <a:effectLst/>
              <a:uLnTx/>
              <a:uFillTx/>
              <a:latin typeface="Calibri"/>
              <a:ea typeface="+mn-ea"/>
              <a:cs typeface="+mn-cs"/>
            </a:endParaRPr>
          </a:p>
        </p:txBody>
      </p:sp>
      <p:pic>
        <p:nvPicPr>
          <p:cNvPr id="19" name="Picture 18">
            <a:extLst>
              <a:ext uri="{FF2B5EF4-FFF2-40B4-BE49-F238E27FC236}">
                <a16:creationId xmlns:a16="http://schemas.microsoft.com/office/drawing/2014/main" id="{CF7D8F5F-6429-AF47-A885-F38CB2D42D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9713" y="2128346"/>
            <a:ext cx="3157331" cy="2606633"/>
          </a:xfrm>
          <a:prstGeom prst="rect">
            <a:avLst/>
          </a:prstGeom>
        </p:spPr>
      </p:pic>
      <p:sp>
        <p:nvSpPr>
          <p:cNvPr id="20" name="Picture Placeholder 17">
            <a:extLst>
              <a:ext uri="{FF2B5EF4-FFF2-40B4-BE49-F238E27FC236}">
                <a16:creationId xmlns:a16="http://schemas.microsoft.com/office/drawing/2014/main" id="{3FBB305F-0358-6843-B554-BB412F4E1714}"/>
              </a:ext>
            </a:extLst>
          </p:cNvPr>
          <p:cNvSpPr txBox="1">
            <a:spLocks noChangeAspect="1"/>
          </p:cNvSpPr>
          <p:nvPr userDrawn="1"/>
        </p:nvSpPr>
        <p:spPr>
          <a:xfrm>
            <a:off x="1272657" y="2552132"/>
            <a:ext cx="1632001" cy="1763973"/>
          </a:xfrm>
          <a:prstGeom prst="ellipse">
            <a:avLst/>
          </a:prstGeom>
          <a:noFill/>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2000" b="0" i="0" kern="1200">
                <a:solidFill>
                  <a:schemeClr val="tx1"/>
                </a:solidFill>
                <a:latin typeface="DIN Alternate" panose="020B0500000000000000" pitchFamily="34" charset="77"/>
                <a:ea typeface="Arial Regular" charset="0"/>
                <a:cs typeface="Arial Regular"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Regular" charset="0"/>
                <a:ea typeface="Arial Regular" charset="0"/>
                <a:cs typeface="Arial Regular"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Regular" charset="0"/>
                <a:ea typeface="Arial Regular" charset="0"/>
                <a:cs typeface="Arial Regular"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Regular" charset="0"/>
                <a:ea typeface="Arial Regular" charset="0"/>
                <a:cs typeface="Arial Regular"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219140" rtl="0" eaLnBrk="1" fontAlgn="auto" latinLnBrk="0" hangingPunct="1">
              <a:lnSpc>
                <a:spcPct val="90000"/>
              </a:lnSpc>
              <a:spcBef>
                <a:spcPts val="1333"/>
              </a:spcBef>
              <a:spcAft>
                <a:spcPts val="0"/>
              </a:spcAft>
              <a:buClrTx/>
              <a:buSzTx/>
              <a:buFont typeface="Arial" panose="020B0604020202020204" pitchFamily="34" charset="0"/>
              <a:buNone/>
              <a:tabLst/>
              <a:defRPr/>
            </a:pPr>
            <a:endParaRPr kumimoji="0" lang="en-US" sz="2667" b="0" i="0" u="none" strike="noStrike" kern="1200" cap="none" spc="0" normalizeH="0" baseline="0" noProof="0">
              <a:ln>
                <a:noFill/>
              </a:ln>
              <a:solidFill>
                <a:srgbClr val="38373A"/>
              </a:solidFill>
              <a:effectLst/>
              <a:uLnTx/>
              <a:uFillTx/>
              <a:latin typeface="DIN Alternate" panose="020B0500000000000000" pitchFamily="34" charset="77"/>
            </a:endParaRPr>
          </a:p>
        </p:txBody>
      </p:sp>
      <p:sp>
        <p:nvSpPr>
          <p:cNvPr id="15" name="Text Placeholder 3">
            <a:extLst>
              <a:ext uri="{FF2B5EF4-FFF2-40B4-BE49-F238E27FC236}">
                <a16:creationId xmlns:a16="http://schemas.microsoft.com/office/drawing/2014/main" id="{D5541E49-04CC-6448-976F-3747F8D8B0ED}"/>
              </a:ext>
            </a:extLst>
          </p:cNvPr>
          <p:cNvSpPr>
            <a:spLocks noGrp="1"/>
          </p:cNvSpPr>
          <p:nvPr userDrawn="1">
            <p:ph type="body" sz="quarter" idx="11" hasCustomPrompt="1"/>
          </p:nvPr>
        </p:nvSpPr>
        <p:spPr>
          <a:xfrm>
            <a:off x="4389897" y="3028477"/>
            <a:ext cx="6542755" cy="1618696"/>
          </a:xfrm>
        </p:spPr>
        <p:txBody>
          <a:bodyPr anchor="t"/>
          <a:lstStyle>
            <a:lvl1pPr>
              <a:defRPr sz="5333" b="1" i="0">
                <a:latin typeface="Arial Narrow" panose="020B0604020202020204" pitchFamily="34" charset="0"/>
                <a:cs typeface="Arial Narrow" panose="020B0604020202020204" pitchFamily="34" charset="0"/>
              </a:defRPr>
            </a:lvl1pPr>
          </a:lstStyle>
          <a:p>
            <a:pPr lvl="0"/>
            <a:r>
              <a:rPr lang="en-US"/>
              <a:t>SECTION DIVIDER TITLE</a:t>
            </a:r>
          </a:p>
        </p:txBody>
      </p:sp>
      <p:sp>
        <p:nvSpPr>
          <p:cNvPr id="21" name="Text Placeholder 3">
            <a:extLst>
              <a:ext uri="{FF2B5EF4-FFF2-40B4-BE49-F238E27FC236}">
                <a16:creationId xmlns:a16="http://schemas.microsoft.com/office/drawing/2014/main" id="{F03EEBEB-4C26-B14F-B8A1-6D215A30F455}"/>
              </a:ext>
            </a:extLst>
          </p:cNvPr>
          <p:cNvSpPr>
            <a:spLocks noGrp="1"/>
          </p:cNvSpPr>
          <p:nvPr userDrawn="1">
            <p:ph type="body" sz="quarter" idx="10" hasCustomPrompt="1"/>
          </p:nvPr>
        </p:nvSpPr>
        <p:spPr>
          <a:xfrm>
            <a:off x="4389897" y="1975711"/>
            <a:ext cx="6542755" cy="960967"/>
          </a:xfrm>
        </p:spPr>
        <p:txBody>
          <a:bodyPr anchor="b"/>
          <a:lstStyle>
            <a:lvl1pPr>
              <a:defRPr sz="2667" b="0" i="0">
                <a:latin typeface="Arial Regular"/>
              </a:defRPr>
            </a:lvl1pPr>
          </a:lstStyle>
          <a:p>
            <a:pPr lvl="0"/>
            <a:r>
              <a:rPr lang="en-US"/>
              <a:t>Section subhead</a:t>
            </a:r>
          </a:p>
        </p:txBody>
      </p:sp>
      <p:sp>
        <p:nvSpPr>
          <p:cNvPr id="10" name="Date Placeholder 2">
            <a:extLst>
              <a:ext uri="{FF2B5EF4-FFF2-40B4-BE49-F238E27FC236}">
                <a16:creationId xmlns:a16="http://schemas.microsoft.com/office/drawing/2014/main" id="{B0E2232B-7C06-49E3-972D-8ABE8B0DCDA6}"/>
              </a:ext>
            </a:extLst>
          </p:cNvPr>
          <p:cNvSpPr txBox="1">
            <a:spLocks/>
          </p:cNvSpPr>
          <p:nvPr userDrawn="1"/>
        </p:nvSpPr>
        <p:spPr>
          <a:xfrm>
            <a:off x="209551" y="6538913"/>
            <a:ext cx="3000375" cy="366712"/>
          </a:xfrm>
          <a:prstGeom prst="rect">
            <a:avLst/>
          </a:prstGeom>
        </p:spPr>
        <p:txBody>
          <a:bodyPr vert="horz" lIns="0" tIns="45720" rIns="0" bIns="45720" rtlCol="0" anchor="b"/>
          <a:lstStyle>
            <a:defPPr>
              <a:defRPr lang="en-US"/>
            </a:defPPr>
            <a:lvl1pPr marL="0" marR="0" indent="0" algn="l" defTabSz="609585" rtl="0" eaLnBrk="1" fontAlgn="auto" latinLnBrk="0" hangingPunct="1">
              <a:lnSpc>
                <a:spcPct val="100000"/>
              </a:lnSpc>
              <a:spcBef>
                <a:spcPts val="0"/>
              </a:spcBef>
              <a:spcAft>
                <a:spcPts val="0"/>
              </a:spcAft>
              <a:buClrTx/>
              <a:buSzTx/>
              <a:buFontTx/>
              <a:buNone/>
              <a:tabLst/>
              <a:defRPr sz="1067"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7"/>
              <a:t>© 2020 Land O’Lakes, Inc.</a:t>
            </a:r>
          </a:p>
        </p:txBody>
      </p:sp>
    </p:spTree>
    <p:extLst>
      <p:ext uri="{BB962C8B-B14F-4D97-AF65-F5344CB8AC3E}">
        <p14:creationId xmlns:p14="http://schemas.microsoft.com/office/powerpoint/2010/main" val="424966379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Divider_2">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95C6EDA-F092-E446-AB96-C5C9A3C5478F}"/>
              </a:ext>
            </a:extLst>
          </p:cNvPr>
          <p:cNvGrpSpPr/>
          <p:nvPr userDrawn="1"/>
        </p:nvGrpSpPr>
        <p:grpSpPr>
          <a:xfrm>
            <a:off x="2" y="0"/>
            <a:ext cx="12191999" cy="6858000"/>
            <a:chOff x="0" y="0"/>
            <a:chExt cx="12191999" cy="6858000"/>
          </a:xfrm>
        </p:grpSpPr>
        <p:sp>
          <p:nvSpPr>
            <p:cNvPr id="13" name="Rectangle 12">
              <a:extLst>
                <a:ext uri="{FF2B5EF4-FFF2-40B4-BE49-F238E27FC236}">
                  <a16:creationId xmlns:a16="http://schemas.microsoft.com/office/drawing/2014/main" id="{0B52B536-45B2-F849-B213-18EF0101BE7E}"/>
                </a:ext>
              </a:extLst>
            </p:cNvPr>
            <p:cNvSpPr/>
            <p:nvPr userDrawn="1"/>
          </p:nvSpPr>
          <p:spPr>
            <a:xfrm>
              <a:off x="0" y="0"/>
              <a:ext cx="12191999" cy="6858000"/>
            </a:xfrm>
            <a:prstGeom prst="rect">
              <a:avLst/>
            </a:prstGeom>
            <a:solidFill>
              <a:srgbClr val="49B0AC"/>
            </a:solidFill>
            <a:ln w="12700" cap="flat" cmpd="sng" algn="ctr">
              <a:no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CBC9BB"/>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AE57E97B-A3DC-8744-859F-32EAF586A420}"/>
                </a:ext>
              </a:extLst>
            </p:cNvPr>
            <p:cNvSpPr/>
            <p:nvPr userDrawn="1"/>
          </p:nvSpPr>
          <p:spPr>
            <a:xfrm>
              <a:off x="0" y="0"/>
              <a:ext cx="299545" cy="6858000"/>
            </a:xfrm>
            <a:prstGeom prst="rect">
              <a:avLst/>
            </a:prstGeom>
            <a:solidFill>
              <a:srgbClr val="204F56"/>
            </a:solidFill>
            <a:ln w="12700" cap="flat" cmpd="sng" algn="ctr">
              <a:no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CBC9BB"/>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9AA20481-249A-6948-B656-8CE1A0B52C20}"/>
                </a:ext>
              </a:extLst>
            </p:cNvPr>
            <p:cNvSpPr/>
            <p:nvPr userDrawn="1"/>
          </p:nvSpPr>
          <p:spPr>
            <a:xfrm>
              <a:off x="1517686" y="0"/>
              <a:ext cx="576128" cy="6858000"/>
            </a:xfrm>
            <a:prstGeom prst="rect">
              <a:avLst/>
            </a:prstGeom>
            <a:solidFill>
              <a:srgbClr val="94C2BB"/>
            </a:solidFill>
            <a:ln w="12700" cap="flat" cmpd="sng" algn="ctr">
              <a:no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CBC9BB"/>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B32C8274-E52E-9345-993C-1BE61EF523E0}"/>
                </a:ext>
              </a:extLst>
            </p:cNvPr>
            <p:cNvSpPr/>
            <p:nvPr userDrawn="1"/>
          </p:nvSpPr>
          <p:spPr>
            <a:xfrm>
              <a:off x="299545" y="0"/>
              <a:ext cx="1221140" cy="6858000"/>
            </a:xfrm>
            <a:prstGeom prst="rect">
              <a:avLst/>
            </a:prstGeom>
            <a:solidFill>
              <a:srgbClr val="E47E2E"/>
            </a:solidFill>
            <a:ln w="12700" cap="flat" cmpd="sng" algn="ctr">
              <a:no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CBC9BB"/>
                </a:solidFill>
                <a:effectLst/>
                <a:uLnTx/>
                <a:uFillTx/>
                <a:latin typeface="Calibri"/>
                <a:ea typeface="+mn-ea"/>
                <a:cs typeface="+mn-cs"/>
              </a:endParaRPr>
            </a:p>
          </p:txBody>
        </p:sp>
        <p:pic>
          <p:nvPicPr>
            <p:cNvPr id="19" name="Picture 18">
              <a:extLst>
                <a:ext uri="{FF2B5EF4-FFF2-40B4-BE49-F238E27FC236}">
                  <a16:creationId xmlns:a16="http://schemas.microsoft.com/office/drawing/2014/main" id="{11A85045-06F9-1B43-B9E6-B157065FE6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9713" y="2128344"/>
              <a:ext cx="3157331" cy="2606633"/>
            </a:xfrm>
            <a:prstGeom prst="rect">
              <a:avLst/>
            </a:prstGeom>
          </p:spPr>
        </p:pic>
        <p:sp>
          <p:nvSpPr>
            <p:cNvPr id="20" name="Picture Placeholder 17">
              <a:extLst>
                <a:ext uri="{FF2B5EF4-FFF2-40B4-BE49-F238E27FC236}">
                  <a16:creationId xmlns:a16="http://schemas.microsoft.com/office/drawing/2014/main" id="{5A779997-2823-3D48-BF0B-E596D55E9978}"/>
                </a:ext>
              </a:extLst>
            </p:cNvPr>
            <p:cNvSpPr txBox="1">
              <a:spLocks noChangeAspect="1"/>
            </p:cNvSpPr>
            <p:nvPr userDrawn="1"/>
          </p:nvSpPr>
          <p:spPr>
            <a:xfrm>
              <a:off x="1272654" y="2552131"/>
              <a:ext cx="1632001" cy="1763973"/>
            </a:xfrm>
            <a:prstGeom prst="ellipse">
              <a:avLst/>
            </a:prstGeom>
            <a:noFill/>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2000" b="0" i="0" kern="1200">
                  <a:solidFill>
                    <a:schemeClr val="tx1"/>
                  </a:solidFill>
                  <a:latin typeface="DIN Alternate" panose="020B0500000000000000" pitchFamily="34" charset="77"/>
                  <a:ea typeface="Arial Regular" charset="0"/>
                  <a:cs typeface="Arial Regular"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Regular" charset="0"/>
                  <a:ea typeface="Arial Regular" charset="0"/>
                  <a:cs typeface="Arial Regular"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Regular" charset="0"/>
                  <a:ea typeface="Arial Regular" charset="0"/>
                  <a:cs typeface="Arial Regular"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Regular" charset="0"/>
                  <a:ea typeface="Arial Regular" charset="0"/>
                  <a:cs typeface="Arial Regular"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219140" rtl="0" eaLnBrk="1" fontAlgn="auto" latinLnBrk="0" hangingPunct="1">
                <a:lnSpc>
                  <a:spcPct val="90000"/>
                </a:lnSpc>
                <a:spcBef>
                  <a:spcPts val="1333"/>
                </a:spcBef>
                <a:spcAft>
                  <a:spcPts val="0"/>
                </a:spcAft>
                <a:buClrTx/>
                <a:buSzTx/>
                <a:buFont typeface="Arial" panose="020B0604020202020204" pitchFamily="34" charset="0"/>
                <a:buNone/>
                <a:tabLst/>
                <a:defRPr/>
              </a:pPr>
              <a:endParaRPr kumimoji="0" lang="en-US" sz="2667" b="0" i="0" u="none" strike="noStrike" kern="1200" cap="none" spc="0" normalizeH="0" baseline="0" noProof="0">
                <a:ln>
                  <a:noFill/>
                </a:ln>
                <a:solidFill>
                  <a:srgbClr val="38373A"/>
                </a:solidFill>
                <a:effectLst/>
                <a:uLnTx/>
                <a:uFillTx/>
                <a:latin typeface="DIN Alternate" panose="020B0500000000000000" pitchFamily="34" charset="77"/>
              </a:endParaRPr>
            </a:p>
          </p:txBody>
        </p:sp>
      </p:grpSp>
      <p:sp>
        <p:nvSpPr>
          <p:cNvPr id="12" name="Text Placeholder 3">
            <a:extLst>
              <a:ext uri="{FF2B5EF4-FFF2-40B4-BE49-F238E27FC236}">
                <a16:creationId xmlns:a16="http://schemas.microsoft.com/office/drawing/2014/main" id="{FFA3864D-3CCC-8C42-A95E-4FE125B4C4BB}"/>
              </a:ext>
            </a:extLst>
          </p:cNvPr>
          <p:cNvSpPr>
            <a:spLocks noGrp="1"/>
          </p:cNvSpPr>
          <p:nvPr>
            <p:ph type="body" sz="quarter" idx="11" hasCustomPrompt="1"/>
          </p:nvPr>
        </p:nvSpPr>
        <p:spPr>
          <a:xfrm>
            <a:off x="4389897" y="3028477"/>
            <a:ext cx="6542755" cy="1618696"/>
          </a:xfrm>
        </p:spPr>
        <p:txBody>
          <a:bodyPr anchor="t"/>
          <a:lstStyle>
            <a:lvl1pPr>
              <a:defRPr sz="5333" b="1" i="0">
                <a:solidFill>
                  <a:srgbClr val="FFFFFF"/>
                </a:solidFill>
                <a:latin typeface="Arial Narrow" panose="020B0604020202020204" pitchFamily="34" charset="0"/>
                <a:cs typeface="Arial Narrow" panose="020B0604020202020204" pitchFamily="34" charset="0"/>
              </a:defRPr>
            </a:lvl1pPr>
          </a:lstStyle>
          <a:p>
            <a:pPr lvl="0"/>
            <a:r>
              <a:rPr lang="en-US"/>
              <a:t>SECTION DIVIDER TITLE</a:t>
            </a:r>
          </a:p>
        </p:txBody>
      </p:sp>
      <p:sp>
        <p:nvSpPr>
          <p:cNvPr id="14" name="Text Placeholder 3">
            <a:extLst>
              <a:ext uri="{FF2B5EF4-FFF2-40B4-BE49-F238E27FC236}">
                <a16:creationId xmlns:a16="http://schemas.microsoft.com/office/drawing/2014/main" id="{EAD0A957-DD2D-474A-A626-BAED81C47AFF}"/>
              </a:ext>
            </a:extLst>
          </p:cNvPr>
          <p:cNvSpPr>
            <a:spLocks noGrp="1"/>
          </p:cNvSpPr>
          <p:nvPr>
            <p:ph type="body" sz="quarter" idx="10" hasCustomPrompt="1"/>
          </p:nvPr>
        </p:nvSpPr>
        <p:spPr>
          <a:xfrm>
            <a:off x="4389897" y="1975711"/>
            <a:ext cx="6542755" cy="960967"/>
          </a:xfrm>
        </p:spPr>
        <p:txBody>
          <a:bodyPr anchor="b"/>
          <a:lstStyle>
            <a:lvl1pPr>
              <a:defRPr sz="2667" b="0" i="0">
                <a:solidFill>
                  <a:srgbClr val="FFFFFF"/>
                </a:solidFill>
                <a:latin typeface="Arial Regular"/>
              </a:defRPr>
            </a:lvl1pPr>
          </a:lstStyle>
          <a:p>
            <a:pPr lvl="0"/>
            <a:r>
              <a:rPr lang="en-US"/>
              <a:t>Section subhead</a:t>
            </a:r>
          </a:p>
        </p:txBody>
      </p:sp>
      <p:sp>
        <p:nvSpPr>
          <p:cNvPr id="11" name="Date Placeholder 2">
            <a:extLst>
              <a:ext uri="{FF2B5EF4-FFF2-40B4-BE49-F238E27FC236}">
                <a16:creationId xmlns:a16="http://schemas.microsoft.com/office/drawing/2014/main" id="{8BA600F6-D5CC-427E-B84D-9E4DA7CE94D7}"/>
              </a:ext>
            </a:extLst>
          </p:cNvPr>
          <p:cNvSpPr txBox="1">
            <a:spLocks/>
          </p:cNvSpPr>
          <p:nvPr userDrawn="1"/>
        </p:nvSpPr>
        <p:spPr>
          <a:xfrm>
            <a:off x="209551" y="6538913"/>
            <a:ext cx="3000375" cy="366712"/>
          </a:xfrm>
          <a:prstGeom prst="rect">
            <a:avLst/>
          </a:prstGeom>
        </p:spPr>
        <p:txBody>
          <a:bodyPr vert="horz" lIns="0" tIns="45720" rIns="0" bIns="45720" rtlCol="0" anchor="b"/>
          <a:lstStyle>
            <a:defPPr>
              <a:defRPr lang="en-US"/>
            </a:defPPr>
            <a:lvl1pPr marL="0" marR="0" indent="0" algn="l" defTabSz="609585" rtl="0" eaLnBrk="1" fontAlgn="auto" latinLnBrk="0" hangingPunct="1">
              <a:lnSpc>
                <a:spcPct val="100000"/>
              </a:lnSpc>
              <a:spcBef>
                <a:spcPts val="0"/>
              </a:spcBef>
              <a:spcAft>
                <a:spcPts val="0"/>
              </a:spcAft>
              <a:buClrTx/>
              <a:buSzTx/>
              <a:buFontTx/>
              <a:buNone/>
              <a:tabLst/>
              <a:defRPr sz="1067"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7"/>
              <a:t>© 2020 Land O’Lakes, Inc.</a:t>
            </a:r>
          </a:p>
        </p:txBody>
      </p:sp>
    </p:spTree>
    <p:extLst>
      <p:ext uri="{BB962C8B-B14F-4D97-AF65-F5344CB8AC3E}">
        <p14:creationId xmlns:p14="http://schemas.microsoft.com/office/powerpoint/2010/main" val="233675521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Divider_3">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64EEFB7-4D6D-6A47-9304-BB5F11457F5C}"/>
              </a:ext>
            </a:extLst>
          </p:cNvPr>
          <p:cNvSpPr/>
          <p:nvPr userDrawn="1"/>
        </p:nvSpPr>
        <p:spPr>
          <a:xfrm>
            <a:off x="1" y="0"/>
            <a:ext cx="12192000" cy="6858000"/>
          </a:xfrm>
          <a:prstGeom prst="rect">
            <a:avLst/>
          </a:prstGeom>
          <a:solidFill>
            <a:schemeClr val="accent3"/>
          </a:solidFill>
          <a:ln w="12700" cap="flat" cmpd="sng" algn="ctr">
            <a:no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CBC9BB"/>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06D4EBFE-5D35-6C49-AAEA-256ED794EABC}"/>
              </a:ext>
            </a:extLst>
          </p:cNvPr>
          <p:cNvSpPr/>
          <p:nvPr userDrawn="1"/>
        </p:nvSpPr>
        <p:spPr>
          <a:xfrm>
            <a:off x="4" y="0"/>
            <a:ext cx="299545" cy="6858000"/>
          </a:xfrm>
          <a:prstGeom prst="rect">
            <a:avLst/>
          </a:prstGeom>
          <a:solidFill>
            <a:srgbClr val="E87722"/>
          </a:solidFill>
          <a:ln w="12700" cap="flat" cmpd="sng" algn="ctr">
            <a:no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CBC9BB"/>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045804FE-5E83-E74D-A622-0AB63D770458}"/>
              </a:ext>
            </a:extLst>
          </p:cNvPr>
          <p:cNvSpPr/>
          <p:nvPr userDrawn="1"/>
        </p:nvSpPr>
        <p:spPr>
          <a:xfrm>
            <a:off x="1517688" y="0"/>
            <a:ext cx="576128" cy="6858000"/>
          </a:xfrm>
          <a:prstGeom prst="rect">
            <a:avLst/>
          </a:prstGeom>
          <a:solidFill>
            <a:srgbClr val="97C0BB"/>
          </a:solidFill>
          <a:ln w="12700" cap="flat" cmpd="sng" algn="ctr">
            <a:no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CBC9BB"/>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6039FE02-9D4F-BA46-8F3C-33AF1FC7104B}"/>
              </a:ext>
            </a:extLst>
          </p:cNvPr>
          <p:cNvSpPr/>
          <p:nvPr userDrawn="1"/>
        </p:nvSpPr>
        <p:spPr>
          <a:xfrm>
            <a:off x="299547" y="0"/>
            <a:ext cx="1221140" cy="6858000"/>
          </a:xfrm>
          <a:prstGeom prst="rect">
            <a:avLst/>
          </a:prstGeom>
          <a:solidFill>
            <a:schemeClr val="accent4"/>
          </a:solidFill>
          <a:ln w="12700" cap="flat" cmpd="sng" algn="ctr">
            <a:no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CBC9BB"/>
              </a:solidFill>
              <a:effectLst/>
              <a:uLnTx/>
              <a:uFillTx/>
              <a:latin typeface="Calibri"/>
              <a:ea typeface="+mn-ea"/>
              <a:cs typeface="+mn-cs"/>
            </a:endParaRPr>
          </a:p>
        </p:txBody>
      </p:sp>
      <p:pic>
        <p:nvPicPr>
          <p:cNvPr id="19" name="Picture 18">
            <a:extLst>
              <a:ext uri="{FF2B5EF4-FFF2-40B4-BE49-F238E27FC236}">
                <a16:creationId xmlns:a16="http://schemas.microsoft.com/office/drawing/2014/main" id="{B6AA63AD-6696-CF46-8932-D17C137D92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9716" y="2128346"/>
            <a:ext cx="3157331" cy="2606633"/>
          </a:xfrm>
          <a:prstGeom prst="rect">
            <a:avLst/>
          </a:prstGeom>
        </p:spPr>
      </p:pic>
      <p:sp>
        <p:nvSpPr>
          <p:cNvPr id="20" name="Picture Placeholder 17">
            <a:extLst>
              <a:ext uri="{FF2B5EF4-FFF2-40B4-BE49-F238E27FC236}">
                <a16:creationId xmlns:a16="http://schemas.microsoft.com/office/drawing/2014/main" id="{42CD7F4B-867A-8748-8FA2-CC71718FDFC0}"/>
              </a:ext>
            </a:extLst>
          </p:cNvPr>
          <p:cNvSpPr txBox="1">
            <a:spLocks noChangeAspect="1"/>
          </p:cNvSpPr>
          <p:nvPr userDrawn="1"/>
        </p:nvSpPr>
        <p:spPr>
          <a:xfrm>
            <a:off x="1272658" y="2552132"/>
            <a:ext cx="1632001" cy="1763973"/>
          </a:xfrm>
          <a:prstGeom prst="ellipse">
            <a:avLst/>
          </a:prstGeom>
          <a:noFill/>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2000" b="0" i="0" kern="1200">
                <a:solidFill>
                  <a:schemeClr val="tx1"/>
                </a:solidFill>
                <a:latin typeface="DIN Alternate" panose="020B0500000000000000" pitchFamily="34" charset="77"/>
                <a:ea typeface="Arial Regular" charset="0"/>
                <a:cs typeface="Arial Regular"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Regular" charset="0"/>
                <a:ea typeface="Arial Regular" charset="0"/>
                <a:cs typeface="Arial Regular"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Regular" charset="0"/>
                <a:ea typeface="Arial Regular" charset="0"/>
                <a:cs typeface="Arial Regular"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Regular" charset="0"/>
                <a:ea typeface="Arial Regular" charset="0"/>
                <a:cs typeface="Arial Regular"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1"/>
                </a:solidFill>
                <a:latin typeface="Arial Regular" charset="0"/>
                <a:ea typeface="Arial Regular" charset="0"/>
                <a:cs typeface="Arial Regular"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1219140" rtl="0" eaLnBrk="1" fontAlgn="auto" latinLnBrk="0" hangingPunct="1">
              <a:lnSpc>
                <a:spcPct val="90000"/>
              </a:lnSpc>
              <a:spcBef>
                <a:spcPts val="1333"/>
              </a:spcBef>
              <a:spcAft>
                <a:spcPts val="0"/>
              </a:spcAft>
              <a:buClrTx/>
              <a:buSzTx/>
              <a:buFont typeface="Arial" panose="020B0604020202020204" pitchFamily="34" charset="0"/>
              <a:buNone/>
              <a:tabLst/>
              <a:defRPr/>
            </a:pPr>
            <a:endParaRPr kumimoji="0" lang="en-US" sz="2667" b="0" i="0" u="none" strike="noStrike" kern="1200" cap="none" spc="0" normalizeH="0" baseline="0" noProof="0">
              <a:ln>
                <a:noFill/>
              </a:ln>
              <a:solidFill>
                <a:srgbClr val="38373A"/>
              </a:solidFill>
              <a:effectLst/>
              <a:uLnTx/>
              <a:uFillTx/>
              <a:latin typeface="DIN Alternate" panose="020B0500000000000000" pitchFamily="34" charset="77"/>
            </a:endParaRPr>
          </a:p>
        </p:txBody>
      </p:sp>
      <p:sp>
        <p:nvSpPr>
          <p:cNvPr id="14" name="Text Placeholder 3">
            <a:extLst>
              <a:ext uri="{FF2B5EF4-FFF2-40B4-BE49-F238E27FC236}">
                <a16:creationId xmlns:a16="http://schemas.microsoft.com/office/drawing/2014/main" id="{7576951B-D59C-F84F-BBC9-67B0605D10B3}"/>
              </a:ext>
            </a:extLst>
          </p:cNvPr>
          <p:cNvSpPr>
            <a:spLocks noGrp="1"/>
          </p:cNvSpPr>
          <p:nvPr>
            <p:ph type="body" sz="quarter" idx="11" hasCustomPrompt="1"/>
          </p:nvPr>
        </p:nvSpPr>
        <p:spPr>
          <a:xfrm>
            <a:off x="4389897" y="3028477"/>
            <a:ext cx="6542755" cy="1618696"/>
          </a:xfrm>
        </p:spPr>
        <p:txBody>
          <a:bodyPr anchor="t"/>
          <a:lstStyle>
            <a:lvl1pPr>
              <a:defRPr sz="5333" b="1" i="0">
                <a:latin typeface="Arial Narrow" panose="020B0604020202020204" pitchFamily="34" charset="0"/>
                <a:cs typeface="Arial Narrow" panose="020B0604020202020204" pitchFamily="34" charset="0"/>
              </a:defRPr>
            </a:lvl1pPr>
          </a:lstStyle>
          <a:p>
            <a:pPr lvl="0"/>
            <a:r>
              <a:rPr lang="en-US"/>
              <a:t>SECTION DIVIDER TITLE</a:t>
            </a:r>
          </a:p>
        </p:txBody>
      </p:sp>
      <p:sp>
        <p:nvSpPr>
          <p:cNvPr id="15" name="Text Placeholder 3">
            <a:extLst>
              <a:ext uri="{FF2B5EF4-FFF2-40B4-BE49-F238E27FC236}">
                <a16:creationId xmlns:a16="http://schemas.microsoft.com/office/drawing/2014/main" id="{DDD9B330-6C0C-9B42-A670-7C3C39FAA4A9}"/>
              </a:ext>
            </a:extLst>
          </p:cNvPr>
          <p:cNvSpPr>
            <a:spLocks noGrp="1"/>
          </p:cNvSpPr>
          <p:nvPr>
            <p:ph type="body" sz="quarter" idx="10" hasCustomPrompt="1"/>
          </p:nvPr>
        </p:nvSpPr>
        <p:spPr>
          <a:xfrm>
            <a:off x="4389897" y="1975711"/>
            <a:ext cx="6542755" cy="960967"/>
          </a:xfrm>
        </p:spPr>
        <p:txBody>
          <a:bodyPr anchor="b"/>
          <a:lstStyle>
            <a:lvl1pPr>
              <a:defRPr sz="2667" b="0" i="0">
                <a:latin typeface="Arial Regular"/>
              </a:defRPr>
            </a:lvl1pPr>
          </a:lstStyle>
          <a:p>
            <a:pPr lvl="0"/>
            <a:r>
              <a:rPr lang="en-US"/>
              <a:t>Section subhead</a:t>
            </a:r>
          </a:p>
        </p:txBody>
      </p:sp>
      <p:sp>
        <p:nvSpPr>
          <p:cNvPr id="10" name="Date Placeholder 2">
            <a:extLst>
              <a:ext uri="{FF2B5EF4-FFF2-40B4-BE49-F238E27FC236}">
                <a16:creationId xmlns:a16="http://schemas.microsoft.com/office/drawing/2014/main" id="{1562687D-AA0C-4BF0-8A15-9D6EA9D91F20}"/>
              </a:ext>
            </a:extLst>
          </p:cNvPr>
          <p:cNvSpPr txBox="1">
            <a:spLocks/>
          </p:cNvSpPr>
          <p:nvPr userDrawn="1"/>
        </p:nvSpPr>
        <p:spPr>
          <a:xfrm>
            <a:off x="209551" y="6538913"/>
            <a:ext cx="3000375" cy="366712"/>
          </a:xfrm>
          <a:prstGeom prst="rect">
            <a:avLst/>
          </a:prstGeom>
        </p:spPr>
        <p:txBody>
          <a:bodyPr vert="horz" lIns="0" tIns="45720" rIns="0" bIns="45720" rtlCol="0" anchor="b"/>
          <a:lstStyle>
            <a:defPPr>
              <a:defRPr lang="en-US"/>
            </a:defPPr>
            <a:lvl1pPr marL="0" marR="0" indent="0" algn="l" defTabSz="609585" rtl="0" eaLnBrk="1" fontAlgn="auto" latinLnBrk="0" hangingPunct="1">
              <a:lnSpc>
                <a:spcPct val="100000"/>
              </a:lnSpc>
              <a:spcBef>
                <a:spcPts val="0"/>
              </a:spcBef>
              <a:spcAft>
                <a:spcPts val="0"/>
              </a:spcAft>
              <a:buClrTx/>
              <a:buSzTx/>
              <a:buFontTx/>
              <a:buNone/>
              <a:tabLst/>
              <a:defRPr sz="1067"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7"/>
              <a:t>© 2020 Land O’Lakes, Inc.</a:t>
            </a:r>
          </a:p>
        </p:txBody>
      </p:sp>
    </p:spTree>
    <p:extLst>
      <p:ext uri="{BB962C8B-B14F-4D97-AF65-F5344CB8AC3E}">
        <p14:creationId xmlns:p14="http://schemas.microsoft.com/office/powerpoint/2010/main" val="2782497237"/>
      </p:ext>
    </p:extLst>
  </p:cSld>
  <p:clrMapOvr>
    <a:masterClrMapping/>
  </p:clrMapOvr>
  <p:extLst>
    <p:ext uri="{DCECCB84-F9BA-43D5-87BE-67443E8EF086}">
      <p15:sldGuideLst xmlns:p15="http://schemas.microsoft.com/office/powerpoint/2012/main">
        <p15:guide id="1" pos="208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tatement+Content+Stra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CF907A3-EB4A-5740-872C-E4F2D2BA0E2D}"/>
              </a:ext>
            </a:extLst>
          </p:cNvPr>
          <p:cNvSpPr/>
          <p:nvPr userDrawn="1"/>
        </p:nvSpPr>
        <p:spPr>
          <a:xfrm>
            <a:off x="0" y="4525820"/>
            <a:ext cx="12192000" cy="233218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F7FC7CD6-1711-9248-BE6E-D705556129C1}"/>
              </a:ext>
            </a:extLst>
          </p:cNvPr>
          <p:cNvSpPr/>
          <p:nvPr userDrawn="1"/>
        </p:nvSpPr>
        <p:spPr>
          <a:xfrm>
            <a:off x="0" y="2955639"/>
            <a:ext cx="12192000" cy="1570181"/>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3" name="Picture 2">
            <a:extLst>
              <a:ext uri="{FF2B5EF4-FFF2-40B4-BE49-F238E27FC236}">
                <a16:creationId xmlns:a16="http://schemas.microsoft.com/office/drawing/2014/main" id="{FA9E8B3B-88B8-4140-A91A-69AA940E3B81}"/>
              </a:ext>
            </a:extLst>
          </p:cNvPr>
          <p:cNvPicPr>
            <a:picLocks noChangeAspect="1"/>
          </p:cNvPicPr>
          <p:nvPr userDrawn="1"/>
        </p:nvPicPr>
        <p:blipFill rotWithShape="1">
          <a:blip r:embed="rId2"/>
          <a:srcRect t="24579" b="43808"/>
          <a:stretch/>
        </p:blipFill>
        <p:spPr>
          <a:xfrm>
            <a:off x="0" y="2955637"/>
            <a:ext cx="12192000" cy="3902363"/>
          </a:xfrm>
          <a:prstGeom prst="rect">
            <a:avLst/>
          </a:prstGeom>
        </p:spPr>
      </p:pic>
      <p:sp>
        <p:nvSpPr>
          <p:cNvPr id="4" name="Rectangle 3">
            <a:extLst>
              <a:ext uri="{FF2B5EF4-FFF2-40B4-BE49-F238E27FC236}">
                <a16:creationId xmlns:a16="http://schemas.microsoft.com/office/drawing/2014/main" id="{D5C778DC-742A-BE4D-A047-9F38B966877D}"/>
              </a:ext>
            </a:extLst>
          </p:cNvPr>
          <p:cNvSpPr/>
          <p:nvPr userDrawn="1"/>
        </p:nvSpPr>
        <p:spPr>
          <a:xfrm>
            <a:off x="0" y="4250268"/>
            <a:ext cx="12192000" cy="36021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2" name="Text Placeholder 2">
            <a:extLst>
              <a:ext uri="{FF2B5EF4-FFF2-40B4-BE49-F238E27FC236}">
                <a16:creationId xmlns:a16="http://schemas.microsoft.com/office/drawing/2014/main" id="{66C65588-12BC-0640-83BE-E03486B75EC0}"/>
              </a:ext>
            </a:extLst>
          </p:cNvPr>
          <p:cNvSpPr>
            <a:spLocks noGrp="1"/>
          </p:cNvSpPr>
          <p:nvPr>
            <p:ph type="body" sz="quarter" idx="10" hasCustomPrompt="1"/>
          </p:nvPr>
        </p:nvSpPr>
        <p:spPr>
          <a:xfrm>
            <a:off x="580571" y="403477"/>
            <a:ext cx="5009804" cy="2121467"/>
          </a:xfrm>
        </p:spPr>
        <p:txBody>
          <a:bodyPr anchor="t"/>
          <a:lstStyle>
            <a:lvl1pPr>
              <a:defRPr sz="3733" b="1" i="0">
                <a:latin typeface="Arial Bold"/>
              </a:defRPr>
            </a:lvl1pPr>
          </a:lstStyle>
          <a:p>
            <a:pPr lvl="0"/>
            <a:r>
              <a:rPr lang="en-US"/>
              <a:t>USE THIS SPACE</a:t>
            </a:r>
            <a:br>
              <a:rPr lang="en-US"/>
            </a:br>
            <a:r>
              <a:rPr lang="en-US"/>
              <a:t>FOR AN IMPACTFUL,</a:t>
            </a:r>
            <a:br>
              <a:rPr lang="en-US"/>
            </a:br>
            <a:r>
              <a:rPr lang="en-US"/>
              <a:t>BOLD STATEMENT</a:t>
            </a:r>
          </a:p>
        </p:txBody>
      </p:sp>
      <p:sp>
        <p:nvSpPr>
          <p:cNvPr id="14" name="Slide Number Placeholder 4">
            <a:extLst>
              <a:ext uri="{FF2B5EF4-FFF2-40B4-BE49-F238E27FC236}">
                <a16:creationId xmlns:a16="http://schemas.microsoft.com/office/drawing/2014/main" id="{004E5C41-2758-4548-9A52-164FCA43E3FD}"/>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chemeClr val="tx1"/>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5" name="Date Placeholder 5">
            <a:extLst>
              <a:ext uri="{FF2B5EF4-FFF2-40B4-BE49-F238E27FC236}">
                <a16:creationId xmlns:a16="http://schemas.microsoft.com/office/drawing/2014/main" id="{44B6BA51-322C-CD4C-B5DD-B85AF0D799FE}"/>
              </a:ext>
            </a:extLst>
          </p:cNvPr>
          <p:cNvSpPr>
            <a:spLocks noGrp="1"/>
          </p:cNvSpPr>
          <p:nvPr>
            <p:ph type="dt" sz="half" idx="2"/>
          </p:nvPr>
        </p:nvSpPr>
        <p:spPr>
          <a:xfrm>
            <a:off x="406402" y="6444338"/>
            <a:ext cx="3000831" cy="366183"/>
          </a:xfrm>
          <a:prstGeom prst="rect">
            <a:avLst/>
          </a:prstGeom>
        </p:spPr>
        <p:txBody>
          <a:bodyPr vert="horz" lIns="0" tIns="45720" rIns="0" bIns="45720" rtlCol="0" anchor="b"/>
          <a:lstStyle>
            <a:lvl1pPr marL="0" marR="0" indent="0" algn="l" defTabSz="609570" rtl="0" eaLnBrk="1" fontAlgn="auto" latinLnBrk="0" hangingPunct="1">
              <a:lnSpc>
                <a:spcPct val="100000"/>
              </a:lnSpc>
              <a:spcBef>
                <a:spcPts val="0"/>
              </a:spcBef>
              <a:spcAft>
                <a:spcPts val="0"/>
              </a:spcAft>
              <a:buClrTx/>
              <a:buSzTx/>
              <a:buFontTx/>
              <a:buNone/>
              <a:tabLst/>
              <a:defRPr sz="1067" b="0" i="0">
                <a:solidFill>
                  <a:schemeClr val="tx1"/>
                </a:solidFill>
                <a:latin typeface="Arial" panose="020B0604020202020204" pitchFamily="34" charset="0"/>
                <a:cs typeface="Arial" panose="020B0604020202020204" pitchFamily="34" charset="0"/>
              </a:defRPr>
            </a:lvl1pPr>
          </a:lstStyle>
          <a:p>
            <a:r>
              <a:rPr lang="en-US"/>
              <a:t>© 2018 Land O’Lakes, Inc.</a:t>
            </a:r>
          </a:p>
        </p:txBody>
      </p:sp>
      <p:sp>
        <p:nvSpPr>
          <p:cNvPr id="5" name="Text Placeholder 4">
            <a:extLst>
              <a:ext uri="{FF2B5EF4-FFF2-40B4-BE49-F238E27FC236}">
                <a16:creationId xmlns:a16="http://schemas.microsoft.com/office/drawing/2014/main" id="{088633B6-BF0C-A94A-9C96-A196FA21B568}"/>
              </a:ext>
            </a:extLst>
          </p:cNvPr>
          <p:cNvSpPr>
            <a:spLocks noGrp="1"/>
          </p:cNvSpPr>
          <p:nvPr>
            <p:ph type="body" sz="quarter" idx="12" hasCustomPrompt="1"/>
          </p:nvPr>
        </p:nvSpPr>
        <p:spPr>
          <a:xfrm>
            <a:off x="6537327" y="403491"/>
            <a:ext cx="5010149" cy="2336800"/>
          </a:xfrm>
        </p:spPr>
        <p:txBody>
          <a:bodyPr/>
          <a:lstStyle>
            <a:lvl1pPr marL="0" marR="0" indent="0" algn="l" defTabSz="1219140" rtl="0" eaLnBrk="1" fontAlgn="auto" latinLnBrk="0" hangingPunct="1">
              <a:lnSpc>
                <a:spcPct val="100000"/>
              </a:lnSpc>
              <a:spcBef>
                <a:spcPts val="1333"/>
              </a:spcBef>
              <a:spcAft>
                <a:spcPts val="0"/>
              </a:spcAft>
              <a:buClrTx/>
              <a:buSzTx/>
              <a:buFont typeface="Arial" panose="020B0604020202020204" pitchFamily="34" charset="0"/>
              <a:buNone/>
              <a:tabLst/>
              <a:defRPr/>
            </a:lvl1pPr>
          </a:lstStyle>
          <a:p>
            <a:pPr marL="0" marR="0" lvl="0" indent="0" algn="l" defTabSz="1219140" rtl="0" eaLnBrk="1" fontAlgn="auto" latinLnBrk="0" hangingPunct="1">
              <a:lnSpc>
                <a:spcPct val="100000"/>
              </a:lnSpc>
              <a:spcBef>
                <a:spcPts val="1333"/>
              </a:spcBef>
              <a:spcAft>
                <a:spcPts val="0"/>
              </a:spcAft>
              <a:buClrTx/>
              <a:buSzTx/>
              <a:buFont typeface="Arial" panose="020B0604020202020204" pitchFamily="34" charset="0"/>
              <a:buNone/>
              <a:tabLst/>
              <a:defRPr/>
            </a:pP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Lorem ipsum dolor sit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amet</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consectetur</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adipiscing</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elit</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sed</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do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eiusmod</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tempor</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incididunt</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ut</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labore</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et dolore magna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aliqua</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Ut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enim</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ad minim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veniam</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quis</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nostrud</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exercitation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ullamco</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laboris</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nisi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ut</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aliquip</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ex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ea</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commodo</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consequat</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Duis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aute</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irure</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dolor in </a:t>
            </a:r>
            <a:r>
              <a:rPr kumimoji="0" lang="en-US" sz="2133" b="0" i="0" u="none" strike="noStrike" kern="1200" cap="none" spc="0" normalizeH="0" baseline="0" noProof="0" err="1">
                <a:ln>
                  <a:noFill/>
                </a:ln>
                <a:solidFill>
                  <a:srgbClr val="38383B"/>
                </a:solidFill>
                <a:effectLst/>
                <a:uLnTx/>
                <a:uFillTx/>
                <a:latin typeface="Arial" panose="020B0604020202020204" pitchFamily="34" charset="0"/>
                <a:cs typeface="Arial" panose="020B0604020202020204" pitchFamily="34" charset="0"/>
              </a:rPr>
              <a:t>reprehenderit</a:t>
            </a:r>
            <a:r>
              <a:rPr kumimoji="0" lang="en-US" sz="2133" b="0" i="0" u="none" strike="noStrike" kern="1200" cap="none" spc="0" normalizeH="0" baseline="0" noProof="0">
                <a:ln>
                  <a:noFill/>
                </a:ln>
                <a:solidFill>
                  <a:srgbClr val="38383B"/>
                </a:solidFill>
                <a:effectLst/>
                <a:uLnTx/>
                <a:uFillTx/>
                <a:latin typeface="Arial" panose="020B0604020202020204" pitchFamily="34" charset="0"/>
                <a:cs typeface="Arial" panose="020B0604020202020204" pitchFamily="34" charset="0"/>
              </a:rPr>
              <a:t> in.</a:t>
            </a:r>
          </a:p>
        </p:txBody>
      </p:sp>
    </p:spTree>
    <p:extLst>
      <p:ext uri="{BB962C8B-B14F-4D97-AF65-F5344CB8AC3E}">
        <p14:creationId xmlns:p14="http://schemas.microsoft.com/office/powerpoint/2010/main" val="3821538746"/>
      </p:ext>
    </p:extLst>
  </p:cSld>
  <p:clrMapOvr>
    <a:masterClrMapping/>
  </p:clrMapOvr>
  <p:extLst>
    <p:ext uri="{DCECCB84-F9BA-43D5-87BE-67443E8EF086}">
      <p15:sldGuideLst xmlns:p15="http://schemas.microsoft.com/office/powerpoint/2012/main">
        <p15:guide id="1" orient="horz" pos="204">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ig Idea Photo Strat_1">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747C731-AEEA-D943-B8A1-42CC51D73094}"/>
              </a:ext>
            </a:extLst>
          </p:cNvPr>
          <p:cNvSpPr>
            <a:spLocks noGrp="1"/>
          </p:cNvSpPr>
          <p:nvPr>
            <p:ph type="pic" sz="quarter" idx="14" hasCustomPrompt="1"/>
          </p:nvPr>
        </p:nvSpPr>
        <p:spPr>
          <a:xfrm>
            <a:off x="0" y="-1"/>
            <a:ext cx="6096000" cy="6858001"/>
          </a:xfrm>
        </p:spPr>
        <p:txBody>
          <a:bodyPr lIns="548640" rIns="548640" anchor="ctr"/>
          <a:lstStyle>
            <a:lvl1pPr algn="ctr">
              <a:defRPr/>
            </a:lvl1pPr>
          </a:lstStyle>
          <a:p>
            <a:r>
              <a:rPr lang="en-US"/>
              <a:t>See usage guide for instructions on how to find and place images from Percolate.</a:t>
            </a:r>
          </a:p>
        </p:txBody>
      </p:sp>
      <p:sp>
        <p:nvSpPr>
          <p:cNvPr id="7" name="Rectangle 6">
            <a:extLst>
              <a:ext uri="{FF2B5EF4-FFF2-40B4-BE49-F238E27FC236}">
                <a16:creationId xmlns:a16="http://schemas.microsoft.com/office/drawing/2014/main" id="{C0F2F7AC-C1E6-664E-A2ED-5B2E9560E219}"/>
              </a:ext>
            </a:extLst>
          </p:cNvPr>
          <p:cNvSpPr/>
          <p:nvPr userDrawn="1"/>
        </p:nvSpPr>
        <p:spPr>
          <a:xfrm>
            <a:off x="6096000" y="2"/>
            <a:ext cx="6096000" cy="2272145"/>
          </a:xfrm>
          <a:prstGeom prst="rect">
            <a:avLst/>
          </a:prstGeom>
          <a:solidFill>
            <a:srgbClr val="D1CCB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2" name="Rectangle 11">
            <a:extLst>
              <a:ext uri="{FF2B5EF4-FFF2-40B4-BE49-F238E27FC236}">
                <a16:creationId xmlns:a16="http://schemas.microsoft.com/office/drawing/2014/main" id="{68FBC55E-3AFA-114D-9A6E-63B6568D88BC}"/>
              </a:ext>
            </a:extLst>
          </p:cNvPr>
          <p:cNvSpPr/>
          <p:nvPr userDrawn="1"/>
        </p:nvSpPr>
        <p:spPr>
          <a:xfrm>
            <a:off x="6096000" y="2272148"/>
            <a:ext cx="6096000" cy="227214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4" name="Rectangle 13">
            <a:extLst>
              <a:ext uri="{FF2B5EF4-FFF2-40B4-BE49-F238E27FC236}">
                <a16:creationId xmlns:a16="http://schemas.microsoft.com/office/drawing/2014/main" id="{7B06B108-EE93-B040-A140-668A7010F8DC}"/>
              </a:ext>
            </a:extLst>
          </p:cNvPr>
          <p:cNvSpPr/>
          <p:nvPr userDrawn="1"/>
        </p:nvSpPr>
        <p:spPr>
          <a:xfrm>
            <a:off x="6096000" y="4544292"/>
            <a:ext cx="6096000" cy="231370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TextBox 8">
            <a:extLst>
              <a:ext uri="{FF2B5EF4-FFF2-40B4-BE49-F238E27FC236}">
                <a16:creationId xmlns:a16="http://schemas.microsoft.com/office/drawing/2014/main" id="{F0CDD454-B4C1-BB4A-89EF-C511F65BF361}"/>
              </a:ext>
            </a:extLst>
          </p:cNvPr>
          <p:cNvSpPr txBox="1"/>
          <p:nvPr userDrawn="1"/>
        </p:nvSpPr>
        <p:spPr>
          <a:xfrm>
            <a:off x="267777" y="6581730"/>
            <a:ext cx="1266372" cy="143565"/>
          </a:xfrm>
          <a:prstGeom prst="rect">
            <a:avLst/>
          </a:prstGeom>
          <a:noFill/>
        </p:spPr>
        <p:txBody>
          <a:bodyPr wrap="none" lIns="0" tIns="0" rIns="0" bIns="0"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noFill/>
                </a:ln>
                <a:solidFill>
                  <a:srgbClr val="FFFFFF"/>
                </a:solidFill>
                <a:effectLst/>
                <a:uLnTx/>
                <a:uFillTx/>
                <a:latin typeface="Calibri Regular"/>
                <a:ea typeface="Campton Book" charset="0"/>
                <a:cs typeface="Arial" panose="020B0604020202020204" pitchFamily="34" charset="0"/>
                <a:sym typeface="Gill Sans" charset="0"/>
              </a:rPr>
              <a:t>© 2018 Land O’Lakes, Inc.</a:t>
            </a:r>
          </a:p>
        </p:txBody>
      </p:sp>
      <p:sp>
        <p:nvSpPr>
          <p:cNvPr id="16" name="Text Placeholder 4">
            <a:extLst>
              <a:ext uri="{FF2B5EF4-FFF2-40B4-BE49-F238E27FC236}">
                <a16:creationId xmlns:a16="http://schemas.microsoft.com/office/drawing/2014/main" id="{75FFBE4C-1C4C-6641-ADB2-A2846721156E}"/>
              </a:ext>
            </a:extLst>
          </p:cNvPr>
          <p:cNvSpPr>
            <a:spLocks noGrp="1"/>
          </p:cNvSpPr>
          <p:nvPr>
            <p:ph type="body" sz="quarter" idx="11" hasCustomPrompt="1"/>
          </p:nvPr>
        </p:nvSpPr>
        <p:spPr>
          <a:xfrm>
            <a:off x="6583259" y="459799"/>
            <a:ext cx="5121487" cy="1352551"/>
          </a:xfrm>
        </p:spPr>
        <p:txBody>
          <a:bodyPr anchor="ctr"/>
          <a:lstStyle>
            <a:lvl1pPr algn="ctr">
              <a:defRPr sz="8000" b="1" i="0">
                <a:solidFill>
                  <a:srgbClr val="FFFFFF"/>
                </a:solidFill>
                <a:latin typeface="Arial Narrow" panose="020B0604020202020204" pitchFamily="34" charset="0"/>
                <a:cs typeface="Arial Narrow" panose="020B0604020202020204" pitchFamily="34" charset="0"/>
              </a:defRPr>
            </a:lvl1pPr>
          </a:lstStyle>
          <a:p>
            <a:pPr lvl="0"/>
            <a:r>
              <a:rPr lang="en-US"/>
              <a:t>MAKE YOUR</a:t>
            </a:r>
          </a:p>
        </p:txBody>
      </p:sp>
      <p:sp>
        <p:nvSpPr>
          <p:cNvPr id="17" name="Text Placeholder 4">
            <a:extLst>
              <a:ext uri="{FF2B5EF4-FFF2-40B4-BE49-F238E27FC236}">
                <a16:creationId xmlns:a16="http://schemas.microsoft.com/office/drawing/2014/main" id="{DA73F6E7-6C05-D14E-8A75-694F88A2E3A1}"/>
              </a:ext>
            </a:extLst>
          </p:cNvPr>
          <p:cNvSpPr>
            <a:spLocks noGrp="1"/>
          </p:cNvSpPr>
          <p:nvPr>
            <p:ph type="body" sz="quarter" idx="12" hasCustomPrompt="1"/>
          </p:nvPr>
        </p:nvSpPr>
        <p:spPr>
          <a:xfrm>
            <a:off x="6583259" y="2731945"/>
            <a:ext cx="5121487" cy="1352551"/>
          </a:xfrm>
        </p:spPr>
        <p:txBody>
          <a:bodyPr anchor="ctr"/>
          <a:lstStyle>
            <a:lvl1pPr algn="ctr">
              <a:defRPr sz="8000" b="1" i="0">
                <a:solidFill>
                  <a:srgbClr val="FFFFFF"/>
                </a:solidFill>
                <a:latin typeface="Arial Narrow" panose="020B0604020202020204" pitchFamily="34" charset="0"/>
                <a:cs typeface="Arial Narrow" panose="020B0604020202020204" pitchFamily="34" charset="0"/>
              </a:defRPr>
            </a:lvl1pPr>
          </a:lstStyle>
          <a:p>
            <a:pPr lvl="0"/>
            <a:r>
              <a:rPr lang="en-US"/>
              <a:t>TEXT FIT IN</a:t>
            </a:r>
          </a:p>
        </p:txBody>
      </p:sp>
      <p:sp>
        <p:nvSpPr>
          <p:cNvPr id="18" name="Text Placeholder 4">
            <a:extLst>
              <a:ext uri="{FF2B5EF4-FFF2-40B4-BE49-F238E27FC236}">
                <a16:creationId xmlns:a16="http://schemas.microsoft.com/office/drawing/2014/main" id="{C448C545-B43C-DC45-AB55-3EBA0D5F1149}"/>
              </a:ext>
            </a:extLst>
          </p:cNvPr>
          <p:cNvSpPr>
            <a:spLocks noGrp="1"/>
          </p:cNvSpPr>
          <p:nvPr>
            <p:ph type="body" sz="quarter" idx="13" hasCustomPrompt="1"/>
          </p:nvPr>
        </p:nvSpPr>
        <p:spPr>
          <a:xfrm>
            <a:off x="6583259" y="5024874"/>
            <a:ext cx="5121487" cy="1352551"/>
          </a:xfrm>
        </p:spPr>
        <p:txBody>
          <a:bodyPr anchor="ctr"/>
          <a:lstStyle>
            <a:lvl1pPr algn="ctr">
              <a:defRPr sz="8000" b="1" i="0">
                <a:solidFill>
                  <a:srgbClr val="FFFFFF"/>
                </a:solidFill>
                <a:latin typeface="Arial Narrow" panose="020B0604020202020204" pitchFamily="34" charset="0"/>
                <a:cs typeface="Arial Narrow" panose="020B0604020202020204" pitchFamily="34" charset="0"/>
              </a:defRPr>
            </a:lvl1pPr>
          </a:lstStyle>
          <a:p>
            <a:pPr lvl="0"/>
            <a:r>
              <a:rPr lang="en-US"/>
              <a:t>THIS AREA</a:t>
            </a:r>
          </a:p>
        </p:txBody>
      </p:sp>
      <p:sp>
        <p:nvSpPr>
          <p:cNvPr id="13" name="Slide Number Placeholder 4">
            <a:extLst>
              <a:ext uri="{FF2B5EF4-FFF2-40B4-BE49-F238E27FC236}">
                <a16:creationId xmlns:a16="http://schemas.microsoft.com/office/drawing/2014/main" id="{F8DE6973-5E70-0F45-B625-E9B79C07BFFF}"/>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rgbClr val="FFFFFF"/>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9" name="Date Placeholder 5">
            <a:extLst>
              <a:ext uri="{FF2B5EF4-FFF2-40B4-BE49-F238E27FC236}">
                <a16:creationId xmlns:a16="http://schemas.microsoft.com/office/drawing/2014/main" id="{A28BD9A5-083E-0C4D-8566-EB86093FD2EF}"/>
              </a:ext>
            </a:extLst>
          </p:cNvPr>
          <p:cNvSpPr>
            <a:spLocks noGrp="1"/>
          </p:cNvSpPr>
          <p:nvPr>
            <p:ph type="dt" sz="half" idx="2"/>
          </p:nvPr>
        </p:nvSpPr>
        <p:spPr>
          <a:xfrm>
            <a:off x="406402" y="6444338"/>
            <a:ext cx="3000831" cy="366183"/>
          </a:xfrm>
          <a:prstGeom prst="rect">
            <a:avLst/>
          </a:prstGeom>
        </p:spPr>
        <p:txBody>
          <a:bodyPr vert="horz" lIns="0" tIns="45720" rIns="0" bIns="45720" rtlCol="0" anchor="b"/>
          <a:lstStyle>
            <a:lvl1pPr marL="0" marR="0" indent="0" algn="l" defTabSz="609570" rtl="0" eaLnBrk="1" fontAlgn="auto" latinLnBrk="0" hangingPunct="1">
              <a:lnSpc>
                <a:spcPct val="100000"/>
              </a:lnSpc>
              <a:spcBef>
                <a:spcPts val="0"/>
              </a:spcBef>
              <a:spcAft>
                <a:spcPts val="0"/>
              </a:spcAft>
              <a:buClrTx/>
              <a:buSzTx/>
              <a:buFontTx/>
              <a:buNone/>
              <a:tabLst/>
              <a:defRPr sz="1067" b="0" i="0">
                <a:solidFill>
                  <a:srgbClr val="FFFFFF"/>
                </a:solidFill>
                <a:latin typeface="Arial" panose="020B0604020202020204" pitchFamily="34" charset="0"/>
                <a:cs typeface="Arial" panose="020B0604020202020204" pitchFamily="34" charset="0"/>
              </a:defRPr>
            </a:lvl1pPr>
          </a:lstStyle>
          <a:p>
            <a:r>
              <a:rPr lang="en-US"/>
              <a:t>© 2018 Land O’Lakes, Inc.</a:t>
            </a:r>
          </a:p>
        </p:txBody>
      </p:sp>
    </p:spTree>
    <p:extLst>
      <p:ext uri="{BB962C8B-B14F-4D97-AF65-F5344CB8AC3E}">
        <p14:creationId xmlns:p14="http://schemas.microsoft.com/office/powerpoint/2010/main" val="151331318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ig Idea Photo Strat_2">
    <p:bg>
      <p:bgPr>
        <a:solidFill>
          <a:srgbClr val="FFFFFF"/>
        </a:solidFill>
        <a:effectLst/>
      </p:bgPr>
    </p:bg>
    <p:spTree>
      <p:nvGrpSpPr>
        <p:cNvPr id="1" name=""/>
        <p:cNvGrpSpPr/>
        <p:nvPr/>
      </p:nvGrpSpPr>
      <p:grpSpPr>
        <a:xfrm>
          <a:off x="0" y="0"/>
          <a:ext cx="0" cy="0"/>
          <a:chOff x="0" y="0"/>
          <a:chExt cx="0" cy="0"/>
        </a:xfrm>
      </p:grpSpPr>
      <p:sp>
        <p:nvSpPr>
          <p:cNvPr id="13" name="Picture Placeholder 2">
            <a:extLst>
              <a:ext uri="{FF2B5EF4-FFF2-40B4-BE49-F238E27FC236}">
                <a16:creationId xmlns:a16="http://schemas.microsoft.com/office/drawing/2014/main" id="{654FDC54-7887-A245-B63F-E83EF4B17266}"/>
              </a:ext>
            </a:extLst>
          </p:cNvPr>
          <p:cNvSpPr>
            <a:spLocks noGrp="1"/>
          </p:cNvSpPr>
          <p:nvPr>
            <p:ph type="pic" sz="quarter" idx="14" hasCustomPrompt="1"/>
          </p:nvPr>
        </p:nvSpPr>
        <p:spPr>
          <a:xfrm>
            <a:off x="0" y="-1"/>
            <a:ext cx="6096000" cy="6858001"/>
          </a:xfrm>
        </p:spPr>
        <p:txBody>
          <a:bodyPr lIns="548640" rIns="548640" anchor="ctr"/>
          <a:lstStyle>
            <a:lvl1pPr algn="ctr">
              <a:defRPr/>
            </a:lvl1pPr>
          </a:lstStyle>
          <a:p>
            <a:r>
              <a:rPr lang="en-US"/>
              <a:t>See usage guide for instructions on how to find and place images from Percolate.</a:t>
            </a:r>
          </a:p>
        </p:txBody>
      </p:sp>
      <p:sp>
        <p:nvSpPr>
          <p:cNvPr id="7" name="Rectangle 6">
            <a:extLst>
              <a:ext uri="{FF2B5EF4-FFF2-40B4-BE49-F238E27FC236}">
                <a16:creationId xmlns:a16="http://schemas.microsoft.com/office/drawing/2014/main" id="{C0F2F7AC-C1E6-664E-A2ED-5B2E9560E219}"/>
              </a:ext>
            </a:extLst>
          </p:cNvPr>
          <p:cNvSpPr/>
          <p:nvPr userDrawn="1"/>
        </p:nvSpPr>
        <p:spPr>
          <a:xfrm>
            <a:off x="6096000" y="2"/>
            <a:ext cx="6096000" cy="227214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2" name="Rectangle 11">
            <a:extLst>
              <a:ext uri="{FF2B5EF4-FFF2-40B4-BE49-F238E27FC236}">
                <a16:creationId xmlns:a16="http://schemas.microsoft.com/office/drawing/2014/main" id="{68FBC55E-3AFA-114D-9A6E-63B6568D88BC}"/>
              </a:ext>
            </a:extLst>
          </p:cNvPr>
          <p:cNvSpPr/>
          <p:nvPr userDrawn="1"/>
        </p:nvSpPr>
        <p:spPr>
          <a:xfrm>
            <a:off x="6096000" y="2272148"/>
            <a:ext cx="6096000" cy="227214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4" name="Rectangle 13">
            <a:extLst>
              <a:ext uri="{FF2B5EF4-FFF2-40B4-BE49-F238E27FC236}">
                <a16:creationId xmlns:a16="http://schemas.microsoft.com/office/drawing/2014/main" id="{7B06B108-EE93-B040-A140-668A7010F8DC}"/>
              </a:ext>
            </a:extLst>
          </p:cNvPr>
          <p:cNvSpPr/>
          <p:nvPr userDrawn="1"/>
        </p:nvSpPr>
        <p:spPr>
          <a:xfrm>
            <a:off x="6096000" y="4544292"/>
            <a:ext cx="6096000" cy="2313709"/>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0" name="TextBox 9">
            <a:extLst>
              <a:ext uri="{FF2B5EF4-FFF2-40B4-BE49-F238E27FC236}">
                <a16:creationId xmlns:a16="http://schemas.microsoft.com/office/drawing/2014/main" id="{5CBA7A81-0EFB-F849-A7FF-3AF5158B6CE4}"/>
              </a:ext>
            </a:extLst>
          </p:cNvPr>
          <p:cNvSpPr txBox="1"/>
          <p:nvPr userDrawn="1"/>
        </p:nvSpPr>
        <p:spPr>
          <a:xfrm>
            <a:off x="267777" y="6581730"/>
            <a:ext cx="1266372" cy="143565"/>
          </a:xfrm>
          <a:prstGeom prst="rect">
            <a:avLst/>
          </a:prstGeom>
          <a:noFill/>
        </p:spPr>
        <p:txBody>
          <a:bodyPr wrap="none" lIns="0" tIns="0" rIns="0" bIns="0"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noFill/>
                </a:ln>
                <a:solidFill>
                  <a:srgbClr val="FFFFFF"/>
                </a:solidFill>
                <a:effectLst/>
                <a:uLnTx/>
                <a:uFillTx/>
                <a:latin typeface="Calibri Regular"/>
                <a:ea typeface="Campton Book" charset="0"/>
                <a:cs typeface="Arial" panose="020B0604020202020204" pitchFamily="34" charset="0"/>
                <a:sym typeface="Gill Sans" charset="0"/>
              </a:rPr>
              <a:t>© 2018 Land O’Lakes, Inc.</a:t>
            </a:r>
          </a:p>
        </p:txBody>
      </p:sp>
      <p:sp>
        <p:nvSpPr>
          <p:cNvPr id="5" name="Text Placeholder 4">
            <a:extLst>
              <a:ext uri="{FF2B5EF4-FFF2-40B4-BE49-F238E27FC236}">
                <a16:creationId xmlns:a16="http://schemas.microsoft.com/office/drawing/2014/main" id="{5CCDD102-704F-A949-8694-5187A45F475B}"/>
              </a:ext>
            </a:extLst>
          </p:cNvPr>
          <p:cNvSpPr>
            <a:spLocks noGrp="1"/>
          </p:cNvSpPr>
          <p:nvPr>
            <p:ph type="body" sz="quarter" idx="11" hasCustomPrompt="1"/>
          </p:nvPr>
        </p:nvSpPr>
        <p:spPr>
          <a:xfrm>
            <a:off x="6583259" y="459799"/>
            <a:ext cx="5121487" cy="1352551"/>
          </a:xfrm>
        </p:spPr>
        <p:txBody>
          <a:bodyPr anchor="ctr"/>
          <a:lstStyle>
            <a:lvl1pPr algn="ctr">
              <a:defRPr sz="8000" b="1" i="0">
                <a:solidFill>
                  <a:srgbClr val="FFFFFF"/>
                </a:solidFill>
                <a:latin typeface="Arial Narrow" panose="020B0604020202020204" pitchFamily="34" charset="0"/>
                <a:cs typeface="Arial Narrow" panose="020B0604020202020204" pitchFamily="34" charset="0"/>
              </a:defRPr>
            </a:lvl1pPr>
          </a:lstStyle>
          <a:p>
            <a:pPr lvl="0"/>
            <a:r>
              <a:rPr lang="en-US"/>
              <a:t>MAKE YOUR</a:t>
            </a:r>
          </a:p>
        </p:txBody>
      </p:sp>
      <p:sp>
        <p:nvSpPr>
          <p:cNvPr id="15" name="Text Placeholder 4">
            <a:extLst>
              <a:ext uri="{FF2B5EF4-FFF2-40B4-BE49-F238E27FC236}">
                <a16:creationId xmlns:a16="http://schemas.microsoft.com/office/drawing/2014/main" id="{B4E190AE-3073-9C4A-ADE6-2E111A8FB6FB}"/>
              </a:ext>
            </a:extLst>
          </p:cNvPr>
          <p:cNvSpPr>
            <a:spLocks noGrp="1"/>
          </p:cNvSpPr>
          <p:nvPr>
            <p:ph type="body" sz="quarter" idx="12" hasCustomPrompt="1"/>
          </p:nvPr>
        </p:nvSpPr>
        <p:spPr>
          <a:xfrm>
            <a:off x="6583259" y="2731945"/>
            <a:ext cx="5121487" cy="1352551"/>
          </a:xfrm>
        </p:spPr>
        <p:txBody>
          <a:bodyPr anchor="ctr"/>
          <a:lstStyle>
            <a:lvl1pPr algn="ctr">
              <a:defRPr sz="8000" b="1" i="0">
                <a:solidFill>
                  <a:srgbClr val="FFFFFF"/>
                </a:solidFill>
                <a:latin typeface="Arial Narrow" panose="020B0604020202020204" pitchFamily="34" charset="0"/>
                <a:cs typeface="Arial Narrow" panose="020B0604020202020204" pitchFamily="34" charset="0"/>
              </a:defRPr>
            </a:lvl1pPr>
          </a:lstStyle>
          <a:p>
            <a:pPr lvl="0"/>
            <a:r>
              <a:rPr lang="en-US"/>
              <a:t>TEXT FIT IN</a:t>
            </a:r>
          </a:p>
        </p:txBody>
      </p:sp>
      <p:sp>
        <p:nvSpPr>
          <p:cNvPr id="16" name="Text Placeholder 4">
            <a:extLst>
              <a:ext uri="{FF2B5EF4-FFF2-40B4-BE49-F238E27FC236}">
                <a16:creationId xmlns:a16="http://schemas.microsoft.com/office/drawing/2014/main" id="{85B5DF10-DF9C-0242-AFE4-6A8E9A8C4601}"/>
              </a:ext>
            </a:extLst>
          </p:cNvPr>
          <p:cNvSpPr>
            <a:spLocks noGrp="1"/>
          </p:cNvSpPr>
          <p:nvPr>
            <p:ph type="body" sz="quarter" idx="13" hasCustomPrompt="1"/>
          </p:nvPr>
        </p:nvSpPr>
        <p:spPr>
          <a:xfrm>
            <a:off x="6583259" y="5024874"/>
            <a:ext cx="5121487" cy="1352551"/>
          </a:xfrm>
        </p:spPr>
        <p:txBody>
          <a:bodyPr anchor="ctr"/>
          <a:lstStyle>
            <a:lvl1pPr algn="ctr">
              <a:defRPr sz="8000" b="1" i="0">
                <a:solidFill>
                  <a:srgbClr val="FFFFFF"/>
                </a:solidFill>
                <a:latin typeface="Arial Narrow" panose="020B0604020202020204" pitchFamily="34" charset="0"/>
                <a:cs typeface="Arial Narrow" panose="020B0604020202020204" pitchFamily="34" charset="0"/>
              </a:defRPr>
            </a:lvl1pPr>
          </a:lstStyle>
          <a:p>
            <a:pPr lvl="0"/>
            <a:r>
              <a:rPr lang="en-US"/>
              <a:t>THIS AREA</a:t>
            </a:r>
          </a:p>
        </p:txBody>
      </p:sp>
      <p:sp>
        <p:nvSpPr>
          <p:cNvPr id="17" name="Slide Number Placeholder 4">
            <a:extLst>
              <a:ext uri="{FF2B5EF4-FFF2-40B4-BE49-F238E27FC236}">
                <a16:creationId xmlns:a16="http://schemas.microsoft.com/office/drawing/2014/main" id="{4922D51D-E134-FB47-82FC-C3DC78662F94}"/>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rgbClr val="FFFFFF"/>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8" name="Date Placeholder 5">
            <a:extLst>
              <a:ext uri="{FF2B5EF4-FFF2-40B4-BE49-F238E27FC236}">
                <a16:creationId xmlns:a16="http://schemas.microsoft.com/office/drawing/2014/main" id="{DA57640C-067A-7446-8B33-81849F0852F2}"/>
              </a:ext>
            </a:extLst>
          </p:cNvPr>
          <p:cNvSpPr>
            <a:spLocks noGrp="1"/>
          </p:cNvSpPr>
          <p:nvPr>
            <p:ph type="dt" sz="half" idx="2"/>
          </p:nvPr>
        </p:nvSpPr>
        <p:spPr>
          <a:xfrm>
            <a:off x="406402" y="6444338"/>
            <a:ext cx="3000831" cy="366183"/>
          </a:xfrm>
          <a:prstGeom prst="rect">
            <a:avLst/>
          </a:prstGeom>
        </p:spPr>
        <p:txBody>
          <a:bodyPr vert="horz" lIns="0" tIns="45720" rIns="0" bIns="45720" rtlCol="0" anchor="b"/>
          <a:lstStyle>
            <a:lvl1pPr marL="0" marR="0" indent="0" algn="l" defTabSz="609570" rtl="0" eaLnBrk="1" fontAlgn="auto" latinLnBrk="0" hangingPunct="1">
              <a:lnSpc>
                <a:spcPct val="100000"/>
              </a:lnSpc>
              <a:spcBef>
                <a:spcPts val="0"/>
              </a:spcBef>
              <a:spcAft>
                <a:spcPts val="0"/>
              </a:spcAft>
              <a:buClrTx/>
              <a:buSzTx/>
              <a:buFontTx/>
              <a:buNone/>
              <a:tabLst/>
              <a:defRPr sz="1067" b="0" i="0">
                <a:solidFill>
                  <a:srgbClr val="FFFFFF"/>
                </a:solidFill>
                <a:latin typeface="Arial" panose="020B0604020202020204" pitchFamily="34" charset="0"/>
                <a:cs typeface="Arial" panose="020B0604020202020204" pitchFamily="34" charset="0"/>
              </a:defRPr>
            </a:lvl1pPr>
          </a:lstStyle>
          <a:p>
            <a:r>
              <a:rPr lang="en-US"/>
              <a:t>© 2018 Land O’Lakes, Inc.</a:t>
            </a:r>
          </a:p>
        </p:txBody>
      </p:sp>
    </p:spTree>
    <p:extLst>
      <p:ext uri="{BB962C8B-B14F-4D97-AF65-F5344CB8AC3E}">
        <p14:creationId xmlns:p14="http://schemas.microsoft.com/office/powerpoint/2010/main" val="364659901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ig Idea Photo Strat_3">
    <p:bg>
      <p:bgPr>
        <a:solidFill>
          <a:srgbClr val="FFFFFF"/>
        </a:solidFill>
        <a:effectLst/>
      </p:bgPr>
    </p:bg>
    <p:spTree>
      <p:nvGrpSpPr>
        <p:cNvPr id="1" name=""/>
        <p:cNvGrpSpPr/>
        <p:nvPr/>
      </p:nvGrpSpPr>
      <p:grpSpPr>
        <a:xfrm>
          <a:off x="0" y="0"/>
          <a:ext cx="0" cy="0"/>
          <a:chOff x="0" y="0"/>
          <a:chExt cx="0" cy="0"/>
        </a:xfrm>
      </p:grpSpPr>
      <p:sp>
        <p:nvSpPr>
          <p:cNvPr id="15" name="Picture Placeholder 2">
            <a:extLst>
              <a:ext uri="{FF2B5EF4-FFF2-40B4-BE49-F238E27FC236}">
                <a16:creationId xmlns:a16="http://schemas.microsoft.com/office/drawing/2014/main" id="{C3546AE9-8967-9549-9193-433AC5D7BD6F}"/>
              </a:ext>
            </a:extLst>
          </p:cNvPr>
          <p:cNvSpPr>
            <a:spLocks noGrp="1"/>
          </p:cNvSpPr>
          <p:nvPr>
            <p:ph type="pic" sz="quarter" idx="14" hasCustomPrompt="1"/>
          </p:nvPr>
        </p:nvSpPr>
        <p:spPr>
          <a:xfrm>
            <a:off x="0" y="-1"/>
            <a:ext cx="6096000" cy="6858001"/>
          </a:xfrm>
        </p:spPr>
        <p:txBody>
          <a:bodyPr lIns="548640" rIns="548640" anchor="ctr"/>
          <a:lstStyle>
            <a:lvl1pPr algn="ctr">
              <a:defRPr/>
            </a:lvl1pPr>
          </a:lstStyle>
          <a:p>
            <a:r>
              <a:rPr lang="en-US"/>
              <a:t>See usage guide for instructions on how to find and place images from Percolate.</a:t>
            </a:r>
          </a:p>
        </p:txBody>
      </p:sp>
      <p:sp>
        <p:nvSpPr>
          <p:cNvPr id="7" name="Rectangle 6">
            <a:extLst>
              <a:ext uri="{FF2B5EF4-FFF2-40B4-BE49-F238E27FC236}">
                <a16:creationId xmlns:a16="http://schemas.microsoft.com/office/drawing/2014/main" id="{C0F2F7AC-C1E6-664E-A2ED-5B2E9560E219}"/>
              </a:ext>
            </a:extLst>
          </p:cNvPr>
          <p:cNvSpPr/>
          <p:nvPr userDrawn="1"/>
        </p:nvSpPr>
        <p:spPr>
          <a:xfrm>
            <a:off x="6096000" y="2"/>
            <a:ext cx="6096000" cy="227214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2" name="Rectangle 11">
            <a:extLst>
              <a:ext uri="{FF2B5EF4-FFF2-40B4-BE49-F238E27FC236}">
                <a16:creationId xmlns:a16="http://schemas.microsoft.com/office/drawing/2014/main" id="{68FBC55E-3AFA-114D-9A6E-63B6568D88BC}"/>
              </a:ext>
            </a:extLst>
          </p:cNvPr>
          <p:cNvSpPr/>
          <p:nvPr userDrawn="1"/>
        </p:nvSpPr>
        <p:spPr>
          <a:xfrm>
            <a:off x="6096000" y="2272148"/>
            <a:ext cx="6096000" cy="2272145"/>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4" name="Rectangle 13">
            <a:extLst>
              <a:ext uri="{FF2B5EF4-FFF2-40B4-BE49-F238E27FC236}">
                <a16:creationId xmlns:a16="http://schemas.microsoft.com/office/drawing/2014/main" id="{7B06B108-EE93-B040-A140-668A7010F8DC}"/>
              </a:ext>
            </a:extLst>
          </p:cNvPr>
          <p:cNvSpPr/>
          <p:nvPr userDrawn="1"/>
        </p:nvSpPr>
        <p:spPr>
          <a:xfrm>
            <a:off x="6096000" y="4544292"/>
            <a:ext cx="6096000" cy="231370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TextBox 8">
            <a:extLst>
              <a:ext uri="{FF2B5EF4-FFF2-40B4-BE49-F238E27FC236}">
                <a16:creationId xmlns:a16="http://schemas.microsoft.com/office/drawing/2014/main" id="{50E48D40-76F4-DB40-9349-177852681442}"/>
              </a:ext>
            </a:extLst>
          </p:cNvPr>
          <p:cNvSpPr txBox="1"/>
          <p:nvPr userDrawn="1"/>
        </p:nvSpPr>
        <p:spPr>
          <a:xfrm>
            <a:off x="267777" y="6581730"/>
            <a:ext cx="1266372" cy="143565"/>
          </a:xfrm>
          <a:prstGeom prst="rect">
            <a:avLst/>
          </a:prstGeom>
          <a:noFill/>
        </p:spPr>
        <p:txBody>
          <a:bodyPr wrap="none" lIns="0" tIns="0" rIns="0" bIns="0"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noFill/>
                </a:ln>
                <a:solidFill>
                  <a:srgbClr val="FFFFFF"/>
                </a:solidFill>
                <a:effectLst/>
                <a:uLnTx/>
                <a:uFillTx/>
                <a:latin typeface="Calibri Regular"/>
                <a:ea typeface="Campton Book" charset="0"/>
                <a:cs typeface="Arial" panose="020B0604020202020204" pitchFamily="34" charset="0"/>
                <a:sym typeface="Gill Sans" charset="0"/>
              </a:rPr>
              <a:t>© 2018 Land O’Lakes, Inc.</a:t>
            </a:r>
          </a:p>
        </p:txBody>
      </p:sp>
      <p:sp>
        <p:nvSpPr>
          <p:cNvPr id="11" name="Text Placeholder 4">
            <a:extLst>
              <a:ext uri="{FF2B5EF4-FFF2-40B4-BE49-F238E27FC236}">
                <a16:creationId xmlns:a16="http://schemas.microsoft.com/office/drawing/2014/main" id="{D1FAB8D3-0D74-DB46-BDC6-71143F8D2827}"/>
              </a:ext>
            </a:extLst>
          </p:cNvPr>
          <p:cNvSpPr>
            <a:spLocks noGrp="1"/>
          </p:cNvSpPr>
          <p:nvPr>
            <p:ph type="body" sz="quarter" idx="11" hasCustomPrompt="1"/>
          </p:nvPr>
        </p:nvSpPr>
        <p:spPr>
          <a:xfrm>
            <a:off x="6583259" y="459799"/>
            <a:ext cx="5121487" cy="1352551"/>
          </a:xfrm>
        </p:spPr>
        <p:txBody>
          <a:bodyPr anchor="ctr"/>
          <a:lstStyle>
            <a:lvl1pPr algn="ctr">
              <a:defRPr sz="8000" b="1" i="0">
                <a:solidFill>
                  <a:srgbClr val="FFFFFF"/>
                </a:solidFill>
                <a:latin typeface="Arial Narrow" panose="020B0604020202020204" pitchFamily="34" charset="0"/>
                <a:cs typeface="Arial Narrow" panose="020B0604020202020204" pitchFamily="34" charset="0"/>
              </a:defRPr>
            </a:lvl1pPr>
          </a:lstStyle>
          <a:p>
            <a:pPr lvl="0"/>
            <a:r>
              <a:rPr lang="en-US"/>
              <a:t>MAKE YOUR</a:t>
            </a:r>
          </a:p>
        </p:txBody>
      </p:sp>
      <p:sp>
        <p:nvSpPr>
          <p:cNvPr id="13" name="Text Placeholder 4">
            <a:extLst>
              <a:ext uri="{FF2B5EF4-FFF2-40B4-BE49-F238E27FC236}">
                <a16:creationId xmlns:a16="http://schemas.microsoft.com/office/drawing/2014/main" id="{E1C4F5C2-487E-F144-8E0F-E810853F294D}"/>
              </a:ext>
            </a:extLst>
          </p:cNvPr>
          <p:cNvSpPr>
            <a:spLocks noGrp="1"/>
          </p:cNvSpPr>
          <p:nvPr>
            <p:ph type="body" sz="quarter" idx="12" hasCustomPrompt="1"/>
          </p:nvPr>
        </p:nvSpPr>
        <p:spPr>
          <a:xfrm>
            <a:off x="6583259" y="2731945"/>
            <a:ext cx="5121487" cy="1352551"/>
          </a:xfrm>
        </p:spPr>
        <p:txBody>
          <a:bodyPr anchor="ctr"/>
          <a:lstStyle>
            <a:lvl1pPr algn="ctr">
              <a:defRPr sz="8000" b="1" i="0">
                <a:solidFill>
                  <a:srgbClr val="FFFFFF"/>
                </a:solidFill>
                <a:latin typeface="Arial Narrow" panose="020B0604020202020204" pitchFamily="34" charset="0"/>
                <a:cs typeface="Arial Narrow" panose="020B0604020202020204" pitchFamily="34" charset="0"/>
              </a:defRPr>
            </a:lvl1pPr>
          </a:lstStyle>
          <a:p>
            <a:pPr lvl="0"/>
            <a:r>
              <a:rPr lang="en-US"/>
              <a:t>TEXT FIT IN</a:t>
            </a:r>
          </a:p>
        </p:txBody>
      </p:sp>
      <p:sp>
        <p:nvSpPr>
          <p:cNvPr id="18" name="Text Placeholder 4">
            <a:extLst>
              <a:ext uri="{FF2B5EF4-FFF2-40B4-BE49-F238E27FC236}">
                <a16:creationId xmlns:a16="http://schemas.microsoft.com/office/drawing/2014/main" id="{6FD9C2BD-2FF8-D947-A486-4739AC449C1E}"/>
              </a:ext>
            </a:extLst>
          </p:cNvPr>
          <p:cNvSpPr>
            <a:spLocks noGrp="1"/>
          </p:cNvSpPr>
          <p:nvPr>
            <p:ph type="body" sz="quarter" idx="13" hasCustomPrompt="1"/>
          </p:nvPr>
        </p:nvSpPr>
        <p:spPr>
          <a:xfrm>
            <a:off x="6583259" y="5024874"/>
            <a:ext cx="5121487" cy="1352551"/>
          </a:xfrm>
        </p:spPr>
        <p:txBody>
          <a:bodyPr anchor="ctr"/>
          <a:lstStyle>
            <a:lvl1pPr algn="ctr">
              <a:defRPr sz="8000" b="1" i="0">
                <a:solidFill>
                  <a:srgbClr val="FFFFFF"/>
                </a:solidFill>
                <a:latin typeface="Arial Narrow" panose="020B0604020202020204" pitchFamily="34" charset="0"/>
                <a:cs typeface="Arial Narrow" panose="020B0604020202020204" pitchFamily="34" charset="0"/>
              </a:defRPr>
            </a:lvl1pPr>
          </a:lstStyle>
          <a:p>
            <a:pPr lvl="0"/>
            <a:r>
              <a:rPr lang="en-US"/>
              <a:t>THIS AREA</a:t>
            </a:r>
          </a:p>
        </p:txBody>
      </p:sp>
      <p:sp>
        <p:nvSpPr>
          <p:cNvPr id="17" name="Slide Number Placeholder 4">
            <a:extLst>
              <a:ext uri="{FF2B5EF4-FFF2-40B4-BE49-F238E27FC236}">
                <a16:creationId xmlns:a16="http://schemas.microsoft.com/office/drawing/2014/main" id="{A8BEECFD-5EE5-A74A-995E-490058BAB629}"/>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rgbClr val="FFFFFF"/>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9" name="Date Placeholder 5">
            <a:extLst>
              <a:ext uri="{FF2B5EF4-FFF2-40B4-BE49-F238E27FC236}">
                <a16:creationId xmlns:a16="http://schemas.microsoft.com/office/drawing/2014/main" id="{E2B28AD4-0507-0544-AD38-4A4AF8C4DB0F}"/>
              </a:ext>
            </a:extLst>
          </p:cNvPr>
          <p:cNvSpPr>
            <a:spLocks noGrp="1"/>
          </p:cNvSpPr>
          <p:nvPr>
            <p:ph type="dt" sz="half" idx="2"/>
          </p:nvPr>
        </p:nvSpPr>
        <p:spPr>
          <a:xfrm>
            <a:off x="406402" y="6444338"/>
            <a:ext cx="3000831" cy="366183"/>
          </a:xfrm>
          <a:prstGeom prst="rect">
            <a:avLst/>
          </a:prstGeom>
        </p:spPr>
        <p:txBody>
          <a:bodyPr vert="horz" lIns="0" tIns="45720" rIns="0" bIns="45720" rtlCol="0" anchor="b"/>
          <a:lstStyle>
            <a:lvl1pPr marL="0" marR="0" indent="0" algn="l" defTabSz="609570" rtl="0" eaLnBrk="1" fontAlgn="auto" latinLnBrk="0" hangingPunct="1">
              <a:lnSpc>
                <a:spcPct val="100000"/>
              </a:lnSpc>
              <a:spcBef>
                <a:spcPts val="0"/>
              </a:spcBef>
              <a:spcAft>
                <a:spcPts val="0"/>
              </a:spcAft>
              <a:buClrTx/>
              <a:buSzTx/>
              <a:buFontTx/>
              <a:buNone/>
              <a:tabLst/>
              <a:defRPr sz="1067" b="0" i="0">
                <a:solidFill>
                  <a:srgbClr val="FFFFFF"/>
                </a:solidFill>
                <a:latin typeface="Arial" panose="020B0604020202020204" pitchFamily="34" charset="0"/>
                <a:cs typeface="Arial" panose="020B0604020202020204" pitchFamily="34" charset="0"/>
              </a:defRPr>
            </a:lvl1pPr>
          </a:lstStyle>
          <a:p>
            <a:r>
              <a:rPr lang="en-US"/>
              <a:t>© 2018 Land O’Lakes, Inc.</a:t>
            </a:r>
          </a:p>
        </p:txBody>
      </p:sp>
    </p:spTree>
    <p:extLst>
      <p:ext uri="{BB962C8B-B14F-4D97-AF65-F5344CB8AC3E}">
        <p14:creationId xmlns:p14="http://schemas.microsoft.com/office/powerpoint/2010/main" val="295533989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Quote_1">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CF907A3-EB4A-5740-872C-E4F2D2BA0E2D}"/>
              </a:ext>
            </a:extLst>
          </p:cNvPr>
          <p:cNvSpPr/>
          <p:nvPr userDrawn="1"/>
        </p:nvSpPr>
        <p:spPr>
          <a:xfrm>
            <a:off x="0" y="0"/>
            <a:ext cx="12192000" cy="685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 name="Text Placeholder 3">
            <a:extLst>
              <a:ext uri="{FF2B5EF4-FFF2-40B4-BE49-F238E27FC236}">
                <a16:creationId xmlns:a16="http://schemas.microsoft.com/office/drawing/2014/main" id="{55A5BF90-BA8B-2E4F-B34A-B1413CCA00C4}"/>
              </a:ext>
            </a:extLst>
          </p:cNvPr>
          <p:cNvSpPr>
            <a:spLocks noGrp="1"/>
          </p:cNvSpPr>
          <p:nvPr>
            <p:ph type="body" sz="quarter" idx="11" hasCustomPrompt="1"/>
          </p:nvPr>
        </p:nvSpPr>
        <p:spPr>
          <a:xfrm>
            <a:off x="406402" y="429487"/>
            <a:ext cx="10909300" cy="5143500"/>
          </a:xfrm>
        </p:spPr>
        <p:txBody>
          <a:bodyPr/>
          <a:lstStyle>
            <a:lvl1pPr algn="l">
              <a:lnSpc>
                <a:spcPct val="150000"/>
              </a:lnSpc>
              <a:defRPr sz="3200" b="1" i="0">
                <a:solidFill>
                  <a:schemeClr val="bg1">
                    <a:lumMod val="20000"/>
                    <a:lumOff val="80000"/>
                  </a:schemeClr>
                </a:solidFill>
                <a:latin typeface="Arial" panose="020B0604020202020204" pitchFamily="34" charset="0"/>
                <a:cs typeface="Arial" panose="020B0604020202020204" pitchFamily="34" charset="0"/>
              </a:defRPr>
            </a:lvl1pPr>
          </a:lstStyle>
          <a:p>
            <a:pPr lvl="0"/>
            <a:r>
              <a:rPr lang="en-US"/>
              <a:t>Land O’Lakes is the co-op of tomorrow. Of tradition and innovation. Practicality and possibilities. From farm to fork, we apply technology, honesty and optimism to feed the world and protect the planet. We’re marching forward, arm in arm to feed human progress. Are you ready to join in?</a:t>
            </a:r>
          </a:p>
        </p:txBody>
      </p:sp>
      <p:sp>
        <p:nvSpPr>
          <p:cNvPr id="8" name="Slide Number Placeholder 4">
            <a:extLst>
              <a:ext uri="{FF2B5EF4-FFF2-40B4-BE49-F238E27FC236}">
                <a16:creationId xmlns:a16="http://schemas.microsoft.com/office/drawing/2014/main" id="{24699135-4E1E-7646-BB62-F228FD457F61}"/>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rgbClr val="FFFFFF"/>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9" name="Date Placeholder 5">
            <a:extLst>
              <a:ext uri="{FF2B5EF4-FFF2-40B4-BE49-F238E27FC236}">
                <a16:creationId xmlns:a16="http://schemas.microsoft.com/office/drawing/2014/main" id="{6941D9DE-E4D5-7E4C-91CB-196EF5BDBFEC}"/>
              </a:ext>
            </a:extLst>
          </p:cNvPr>
          <p:cNvSpPr>
            <a:spLocks noGrp="1"/>
          </p:cNvSpPr>
          <p:nvPr>
            <p:ph type="dt" sz="half" idx="2"/>
          </p:nvPr>
        </p:nvSpPr>
        <p:spPr>
          <a:xfrm>
            <a:off x="406402" y="6444338"/>
            <a:ext cx="3000831" cy="366183"/>
          </a:xfrm>
          <a:prstGeom prst="rect">
            <a:avLst/>
          </a:prstGeom>
        </p:spPr>
        <p:txBody>
          <a:bodyPr vert="horz" lIns="0" tIns="45720" rIns="0" bIns="45720" rtlCol="0" anchor="b"/>
          <a:lstStyle>
            <a:lvl1pPr marL="0" marR="0" indent="0" algn="l" defTabSz="609570" rtl="0" eaLnBrk="1" fontAlgn="auto" latinLnBrk="0" hangingPunct="1">
              <a:lnSpc>
                <a:spcPct val="100000"/>
              </a:lnSpc>
              <a:spcBef>
                <a:spcPts val="0"/>
              </a:spcBef>
              <a:spcAft>
                <a:spcPts val="0"/>
              </a:spcAft>
              <a:buClrTx/>
              <a:buSzTx/>
              <a:buFontTx/>
              <a:buNone/>
              <a:tabLst/>
              <a:defRPr sz="1067" b="0" i="0">
                <a:solidFill>
                  <a:srgbClr val="FFFFFF"/>
                </a:solidFill>
                <a:latin typeface="Arial" panose="020B0604020202020204" pitchFamily="34" charset="0"/>
                <a:cs typeface="Arial" panose="020B0604020202020204" pitchFamily="34" charset="0"/>
              </a:defRPr>
            </a:lvl1pPr>
          </a:lstStyle>
          <a:p>
            <a:r>
              <a:rPr lang="en-US"/>
              <a:t>© 2018 Land O’Lakes, Inc.</a:t>
            </a:r>
          </a:p>
        </p:txBody>
      </p:sp>
    </p:spTree>
    <p:extLst>
      <p:ext uri="{BB962C8B-B14F-4D97-AF65-F5344CB8AC3E}">
        <p14:creationId xmlns:p14="http://schemas.microsoft.com/office/powerpoint/2010/main" val="1312111716"/>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Quote_2">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CF907A3-EB4A-5740-872C-E4F2D2BA0E2D}"/>
              </a:ext>
            </a:extLst>
          </p:cNvPr>
          <p:cNvSpPr/>
          <p:nvPr userDrawn="1"/>
        </p:nvSpPr>
        <p:spPr>
          <a:xfrm>
            <a:off x="0" y="0"/>
            <a:ext cx="12192000" cy="685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0" name="Slide Number Placeholder 4">
            <a:extLst>
              <a:ext uri="{FF2B5EF4-FFF2-40B4-BE49-F238E27FC236}">
                <a16:creationId xmlns:a16="http://schemas.microsoft.com/office/drawing/2014/main" id="{685040E9-86F3-744A-A1B7-E926EDEAF34D}"/>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rgbClr val="FFFFFF"/>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1" name="Date Placeholder 5">
            <a:extLst>
              <a:ext uri="{FF2B5EF4-FFF2-40B4-BE49-F238E27FC236}">
                <a16:creationId xmlns:a16="http://schemas.microsoft.com/office/drawing/2014/main" id="{0936674B-1FAB-514F-978B-02320B0AD4C1}"/>
              </a:ext>
            </a:extLst>
          </p:cNvPr>
          <p:cNvSpPr>
            <a:spLocks noGrp="1"/>
          </p:cNvSpPr>
          <p:nvPr>
            <p:ph type="dt" sz="half" idx="2"/>
          </p:nvPr>
        </p:nvSpPr>
        <p:spPr>
          <a:xfrm>
            <a:off x="406402" y="6444338"/>
            <a:ext cx="3000831" cy="366183"/>
          </a:xfrm>
          <a:prstGeom prst="rect">
            <a:avLst/>
          </a:prstGeom>
        </p:spPr>
        <p:txBody>
          <a:bodyPr vert="horz" lIns="0" tIns="45720" rIns="0" bIns="45720" rtlCol="0" anchor="b"/>
          <a:lstStyle>
            <a:lvl1pPr marL="0" marR="0" indent="0" algn="l" defTabSz="609570" rtl="0" eaLnBrk="1" fontAlgn="auto" latinLnBrk="0" hangingPunct="1">
              <a:lnSpc>
                <a:spcPct val="100000"/>
              </a:lnSpc>
              <a:spcBef>
                <a:spcPts val="0"/>
              </a:spcBef>
              <a:spcAft>
                <a:spcPts val="0"/>
              </a:spcAft>
              <a:buClrTx/>
              <a:buSzTx/>
              <a:buFontTx/>
              <a:buNone/>
              <a:tabLst/>
              <a:defRPr sz="1067" b="0" i="0">
                <a:solidFill>
                  <a:srgbClr val="FFFFFF"/>
                </a:solidFill>
                <a:latin typeface="Arial" panose="020B0604020202020204" pitchFamily="34" charset="0"/>
                <a:cs typeface="Arial" panose="020B0604020202020204" pitchFamily="34" charset="0"/>
              </a:defRPr>
            </a:lvl1pPr>
          </a:lstStyle>
          <a:p>
            <a:r>
              <a:rPr lang="en-US"/>
              <a:t>© 2018 Land O’Lakes, Inc.</a:t>
            </a:r>
          </a:p>
        </p:txBody>
      </p:sp>
      <p:sp>
        <p:nvSpPr>
          <p:cNvPr id="8" name="Text Placeholder 3">
            <a:extLst>
              <a:ext uri="{FF2B5EF4-FFF2-40B4-BE49-F238E27FC236}">
                <a16:creationId xmlns:a16="http://schemas.microsoft.com/office/drawing/2014/main" id="{0E8CB2C9-DB4A-6245-A4EC-10E28FFDD35B}"/>
              </a:ext>
            </a:extLst>
          </p:cNvPr>
          <p:cNvSpPr>
            <a:spLocks noGrp="1"/>
          </p:cNvSpPr>
          <p:nvPr>
            <p:ph type="body" sz="quarter" idx="11" hasCustomPrompt="1"/>
          </p:nvPr>
        </p:nvSpPr>
        <p:spPr>
          <a:xfrm>
            <a:off x="406402" y="429487"/>
            <a:ext cx="10909300" cy="5143500"/>
          </a:xfrm>
        </p:spPr>
        <p:txBody>
          <a:bodyPr/>
          <a:lstStyle>
            <a:lvl1pPr algn="l">
              <a:lnSpc>
                <a:spcPct val="150000"/>
              </a:lnSpc>
              <a:defRPr sz="3200" b="1" i="0">
                <a:solidFill>
                  <a:schemeClr val="bg1">
                    <a:lumMod val="20000"/>
                    <a:lumOff val="80000"/>
                  </a:schemeClr>
                </a:solidFill>
                <a:latin typeface="Arial" panose="020B0604020202020204" pitchFamily="34" charset="0"/>
                <a:cs typeface="Arial" panose="020B0604020202020204" pitchFamily="34" charset="0"/>
              </a:defRPr>
            </a:lvl1pPr>
          </a:lstStyle>
          <a:p>
            <a:pPr lvl="0"/>
            <a:r>
              <a:rPr lang="en-US"/>
              <a:t>Land O’Lakes is the co-op of tomorrow. Of tradition and innovation. Practicality and possibilities. From farm to fork, we apply technology, honesty and optimism to feed the world and protect the planet. We’re marching forward, arm in arm to feed human progress. Are you ready to join in?</a:t>
            </a:r>
          </a:p>
        </p:txBody>
      </p:sp>
    </p:spTree>
    <p:extLst>
      <p:ext uri="{BB962C8B-B14F-4D97-AF65-F5344CB8AC3E}">
        <p14:creationId xmlns:p14="http://schemas.microsoft.com/office/powerpoint/2010/main" val="158986894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147907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Quote_3">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CF907A3-EB4A-5740-872C-E4F2D2BA0E2D}"/>
              </a:ext>
            </a:extLst>
          </p:cNvPr>
          <p:cNvSpPr/>
          <p:nvPr userDrawn="1"/>
        </p:nvSpPr>
        <p:spPr>
          <a:xfrm>
            <a:off x="0" y="0"/>
            <a:ext cx="121920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0" name="Slide Number Placeholder 4">
            <a:extLst>
              <a:ext uri="{FF2B5EF4-FFF2-40B4-BE49-F238E27FC236}">
                <a16:creationId xmlns:a16="http://schemas.microsoft.com/office/drawing/2014/main" id="{0ABA8638-7EDD-7844-93D4-17A6DCEBE1A8}"/>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rgbClr val="FFFFFF"/>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1" name="Date Placeholder 5">
            <a:extLst>
              <a:ext uri="{FF2B5EF4-FFF2-40B4-BE49-F238E27FC236}">
                <a16:creationId xmlns:a16="http://schemas.microsoft.com/office/drawing/2014/main" id="{F5ED8D95-A75A-344F-8405-0AF9C2B813BE}"/>
              </a:ext>
            </a:extLst>
          </p:cNvPr>
          <p:cNvSpPr>
            <a:spLocks noGrp="1"/>
          </p:cNvSpPr>
          <p:nvPr>
            <p:ph type="dt" sz="half" idx="2"/>
          </p:nvPr>
        </p:nvSpPr>
        <p:spPr>
          <a:xfrm>
            <a:off x="406402" y="6444338"/>
            <a:ext cx="3000831" cy="366183"/>
          </a:xfrm>
          <a:prstGeom prst="rect">
            <a:avLst/>
          </a:prstGeom>
        </p:spPr>
        <p:txBody>
          <a:bodyPr vert="horz" lIns="0" tIns="45720" rIns="0" bIns="45720" rtlCol="0" anchor="b"/>
          <a:lstStyle>
            <a:lvl1pPr marL="0" marR="0" indent="0" algn="l" defTabSz="609570" rtl="0" eaLnBrk="1" fontAlgn="auto" latinLnBrk="0" hangingPunct="1">
              <a:lnSpc>
                <a:spcPct val="100000"/>
              </a:lnSpc>
              <a:spcBef>
                <a:spcPts val="0"/>
              </a:spcBef>
              <a:spcAft>
                <a:spcPts val="0"/>
              </a:spcAft>
              <a:buClrTx/>
              <a:buSzTx/>
              <a:buFontTx/>
              <a:buNone/>
              <a:tabLst/>
              <a:defRPr sz="1067" b="0" i="0">
                <a:solidFill>
                  <a:srgbClr val="FFFFFF"/>
                </a:solidFill>
                <a:latin typeface="Arial" panose="020B0604020202020204" pitchFamily="34" charset="0"/>
                <a:cs typeface="Arial" panose="020B0604020202020204" pitchFamily="34" charset="0"/>
              </a:defRPr>
            </a:lvl1pPr>
          </a:lstStyle>
          <a:p>
            <a:r>
              <a:rPr lang="en-US"/>
              <a:t>© 2018 Land O’Lakes, Inc.</a:t>
            </a:r>
          </a:p>
        </p:txBody>
      </p:sp>
      <p:sp>
        <p:nvSpPr>
          <p:cNvPr id="7" name="Text Placeholder 3">
            <a:extLst>
              <a:ext uri="{FF2B5EF4-FFF2-40B4-BE49-F238E27FC236}">
                <a16:creationId xmlns:a16="http://schemas.microsoft.com/office/drawing/2014/main" id="{6C0FF92A-CEB1-5141-B076-2B5ABB5066D2}"/>
              </a:ext>
            </a:extLst>
          </p:cNvPr>
          <p:cNvSpPr>
            <a:spLocks noGrp="1"/>
          </p:cNvSpPr>
          <p:nvPr>
            <p:ph type="body" sz="quarter" idx="11" hasCustomPrompt="1"/>
          </p:nvPr>
        </p:nvSpPr>
        <p:spPr>
          <a:xfrm>
            <a:off x="406402" y="429487"/>
            <a:ext cx="10909300" cy="5143500"/>
          </a:xfrm>
        </p:spPr>
        <p:txBody>
          <a:bodyPr/>
          <a:lstStyle>
            <a:lvl1pPr algn="l">
              <a:lnSpc>
                <a:spcPct val="150000"/>
              </a:lnSpc>
              <a:defRPr sz="3200" b="1" i="0">
                <a:solidFill>
                  <a:schemeClr val="bg1">
                    <a:lumMod val="20000"/>
                    <a:lumOff val="80000"/>
                  </a:schemeClr>
                </a:solidFill>
                <a:latin typeface="Arial" panose="020B0604020202020204" pitchFamily="34" charset="0"/>
                <a:cs typeface="Arial" panose="020B0604020202020204" pitchFamily="34" charset="0"/>
              </a:defRPr>
            </a:lvl1pPr>
          </a:lstStyle>
          <a:p>
            <a:pPr lvl="0"/>
            <a:r>
              <a:rPr lang="en-US"/>
              <a:t>Land O’Lakes is the co-op of tomorrow. Of tradition and innovation. Practicality and possibilities. From farm to fork, we apply technology, honesty and optimism to feed the world and protect the planet. We’re marching forward, arm in arm to feed human progress. Are you ready to join in?</a:t>
            </a:r>
          </a:p>
        </p:txBody>
      </p:sp>
    </p:spTree>
    <p:extLst>
      <p:ext uri="{BB962C8B-B14F-4D97-AF65-F5344CB8AC3E}">
        <p14:creationId xmlns:p14="http://schemas.microsoft.com/office/powerpoint/2010/main" val="2771722872"/>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Quote_4">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CF907A3-EB4A-5740-872C-E4F2D2BA0E2D}"/>
              </a:ext>
            </a:extLst>
          </p:cNvPr>
          <p:cNvSpPr/>
          <p:nvPr userDrawn="1"/>
        </p:nvSpPr>
        <p:spPr>
          <a:xfrm>
            <a:off x="0" y="0"/>
            <a:ext cx="121920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0" name="Slide Number Placeholder 4">
            <a:extLst>
              <a:ext uri="{FF2B5EF4-FFF2-40B4-BE49-F238E27FC236}">
                <a16:creationId xmlns:a16="http://schemas.microsoft.com/office/drawing/2014/main" id="{3733FAE3-6817-3A42-AAAB-459356E0AF26}"/>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rgbClr val="FFFFFF"/>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1" name="Date Placeholder 5">
            <a:extLst>
              <a:ext uri="{FF2B5EF4-FFF2-40B4-BE49-F238E27FC236}">
                <a16:creationId xmlns:a16="http://schemas.microsoft.com/office/drawing/2014/main" id="{13BC147F-308D-754A-8C16-CCD9167B1704}"/>
              </a:ext>
            </a:extLst>
          </p:cNvPr>
          <p:cNvSpPr>
            <a:spLocks noGrp="1"/>
          </p:cNvSpPr>
          <p:nvPr>
            <p:ph type="dt" sz="half" idx="2"/>
          </p:nvPr>
        </p:nvSpPr>
        <p:spPr>
          <a:xfrm>
            <a:off x="406402" y="6444338"/>
            <a:ext cx="3000831" cy="366183"/>
          </a:xfrm>
          <a:prstGeom prst="rect">
            <a:avLst/>
          </a:prstGeom>
        </p:spPr>
        <p:txBody>
          <a:bodyPr vert="horz" lIns="0" tIns="45720" rIns="0" bIns="45720" rtlCol="0" anchor="b"/>
          <a:lstStyle>
            <a:lvl1pPr marL="0" marR="0" indent="0" algn="l" defTabSz="609570" rtl="0" eaLnBrk="1" fontAlgn="auto" latinLnBrk="0" hangingPunct="1">
              <a:lnSpc>
                <a:spcPct val="100000"/>
              </a:lnSpc>
              <a:spcBef>
                <a:spcPts val="0"/>
              </a:spcBef>
              <a:spcAft>
                <a:spcPts val="0"/>
              </a:spcAft>
              <a:buClrTx/>
              <a:buSzTx/>
              <a:buFontTx/>
              <a:buNone/>
              <a:tabLst/>
              <a:defRPr sz="1067" b="0" i="0">
                <a:solidFill>
                  <a:srgbClr val="FFFFFF"/>
                </a:solidFill>
                <a:latin typeface="Arial" panose="020B0604020202020204" pitchFamily="34" charset="0"/>
                <a:cs typeface="Arial" panose="020B0604020202020204" pitchFamily="34" charset="0"/>
              </a:defRPr>
            </a:lvl1pPr>
          </a:lstStyle>
          <a:p>
            <a:r>
              <a:rPr lang="en-US"/>
              <a:t>© 2018 Land O’Lakes, Inc.</a:t>
            </a:r>
          </a:p>
        </p:txBody>
      </p:sp>
      <p:sp>
        <p:nvSpPr>
          <p:cNvPr id="7" name="Text Placeholder 3">
            <a:extLst>
              <a:ext uri="{FF2B5EF4-FFF2-40B4-BE49-F238E27FC236}">
                <a16:creationId xmlns:a16="http://schemas.microsoft.com/office/drawing/2014/main" id="{F50EFAAE-764F-7D40-89D8-D16760D2DD1A}"/>
              </a:ext>
            </a:extLst>
          </p:cNvPr>
          <p:cNvSpPr>
            <a:spLocks noGrp="1"/>
          </p:cNvSpPr>
          <p:nvPr>
            <p:ph type="body" sz="quarter" idx="11" hasCustomPrompt="1"/>
          </p:nvPr>
        </p:nvSpPr>
        <p:spPr>
          <a:xfrm>
            <a:off x="406402" y="429487"/>
            <a:ext cx="10909300" cy="5143500"/>
          </a:xfrm>
        </p:spPr>
        <p:txBody>
          <a:bodyPr/>
          <a:lstStyle>
            <a:lvl1pPr algn="l">
              <a:lnSpc>
                <a:spcPct val="150000"/>
              </a:lnSpc>
              <a:defRPr sz="3200" b="1" i="0">
                <a:solidFill>
                  <a:schemeClr val="bg1">
                    <a:lumMod val="20000"/>
                    <a:lumOff val="80000"/>
                  </a:schemeClr>
                </a:solidFill>
                <a:latin typeface="Arial" panose="020B0604020202020204" pitchFamily="34" charset="0"/>
                <a:cs typeface="Arial" panose="020B0604020202020204" pitchFamily="34" charset="0"/>
              </a:defRPr>
            </a:lvl1pPr>
          </a:lstStyle>
          <a:p>
            <a:pPr lvl="0"/>
            <a:r>
              <a:rPr lang="en-US"/>
              <a:t>Land O’Lakes is the co-op of tomorrow. Of tradition and innovation. Practicality and possibilities. From farm to fork, we apply technology, honesty and optimism to feed the world and protect the planet. We’re marching forward, arm in arm to feed human progress. Are you ready to join in?</a:t>
            </a:r>
          </a:p>
        </p:txBody>
      </p:sp>
    </p:spTree>
    <p:extLst>
      <p:ext uri="{BB962C8B-B14F-4D97-AF65-F5344CB8AC3E}">
        <p14:creationId xmlns:p14="http://schemas.microsoft.com/office/powerpoint/2010/main" val="2534827433"/>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_5">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CF907A3-EB4A-5740-872C-E4F2D2BA0E2D}"/>
              </a:ext>
            </a:extLst>
          </p:cNvPr>
          <p:cNvSpPr/>
          <p:nvPr userDrawn="1"/>
        </p:nvSpPr>
        <p:spPr>
          <a:xfrm>
            <a:off x="0" y="0"/>
            <a:ext cx="12192000" cy="6858000"/>
          </a:xfrm>
          <a:prstGeom prst="rect">
            <a:avLst/>
          </a:pr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0" name="Slide Number Placeholder 4">
            <a:extLst>
              <a:ext uri="{FF2B5EF4-FFF2-40B4-BE49-F238E27FC236}">
                <a16:creationId xmlns:a16="http://schemas.microsoft.com/office/drawing/2014/main" id="{804C1814-5321-1B4E-86EB-4C7F364CC0DC}"/>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chemeClr val="tx1"/>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1" name="Date Placeholder 5">
            <a:extLst>
              <a:ext uri="{FF2B5EF4-FFF2-40B4-BE49-F238E27FC236}">
                <a16:creationId xmlns:a16="http://schemas.microsoft.com/office/drawing/2014/main" id="{CE991C35-0440-4247-89EC-711E865C2DD0}"/>
              </a:ext>
            </a:extLst>
          </p:cNvPr>
          <p:cNvSpPr>
            <a:spLocks noGrp="1"/>
          </p:cNvSpPr>
          <p:nvPr>
            <p:ph type="dt" sz="half" idx="2"/>
          </p:nvPr>
        </p:nvSpPr>
        <p:spPr>
          <a:xfrm>
            <a:off x="406402" y="6444338"/>
            <a:ext cx="3000831" cy="366183"/>
          </a:xfrm>
          <a:prstGeom prst="rect">
            <a:avLst/>
          </a:prstGeom>
        </p:spPr>
        <p:txBody>
          <a:bodyPr vert="horz" lIns="0" tIns="45720" rIns="0" bIns="45720" rtlCol="0" anchor="b"/>
          <a:lstStyle>
            <a:lvl1pPr marL="0" marR="0" indent="0" algn="l" defTabSz="609570" rtl="0" eaLnBrk="1" fontAlgn="auto" latinLnBrk="0" hangingPunct="1">
              <a:lnSpc>
                <a:spcPct val="100000"/>
              </a:lnSpc>
              <a:spcBef>
                <a:spcPts val="0"/>
              </a:spcBef>
              <a:spcAft>
                <a:spcPts val="0"/>
              </a:spcAft>
              <a:buClrTx/>
              <a:buSzTx/>
              <a:buFontTx/>
              <a:buNone/>
              <a:tabLst/>
              <a:defRPr sz="1067" b="0" i="0">
                <a:solidFill>
                  <a:schemeClr val="tx1"/>
                </a:solidFill>
                <a:latin typeface="Arial" panose="020B0604020202020204" pitchFamily="34" charset="0"/>
                <a:cs typeface="Arial" panose="020B0604020202020204" pitchFamily="34" charset="0"/>
              </a:defRPr>
            </a:lvl1pPr>
          </a:lstStyle>
          <a:p>
            <a:r>
              <a:rPr lang="en-US"/>
              <a:t>© 2018 Land O’Lakes, Inc.</a:t>
            </a:r>
          </a:p>
        </p:txBody>
      </p:sp>
      <p:sp>
        <p:nvSpPr>
          <p:cNvPr id="7" name="Text Placeholder 3">
            <a:extLst>
              <a:ext uri="{FF2B5EF4-FFF2-40B4-BE49-F238E27FC236}">
                <a16:creationId xmlns:a16="http://schemas.microsoft.com/office/drawing/2014/main" id="{DC46BDF0-9679-584E-819B-4EE9E2F5EEC5}"/>
              </a:ext>
            </a:extLst>
          </p:cNvPr>
          <p:cNvSpPr>
            <a:spLocks noGrp="1"/>
          </p:cNvSpPr>
          <p:nvPr>
            <p:ph type="body" sz="quarter" idx="11" hasCustomPrompt="1"/>
          </p:nvPr>
        </p:nvSpPr>
        <p:spPr>
          <a:xfrm>
            <a:off x="406402" y="429487"/>
            <a:ext cx="10909300" cy="5143500"/>
          </a:xfrm>
        </p:spPr>
        <p:txBody>
          <a:bodyPr/>
          <a:lstStyle>
            <a:lvl1pPr algn="l">
              <a:lnSpc>
                <a:spcPct val="150000"/>
              </a:lnSpc>
              <a:defRPr sz="3200" b="1" i="0">
                <a:solidFill>
                  <a:schemeClr val="tx1"/>
                </a:solidFill>
                <a:latin typeface="Arial" panose="020B0604020202020204" pitchFamily="34" charset="0"/>
                <a:cs typeface="Arial" panose="020B0604020202020204" pitchFamily="34" charset="0"/>
              </a:defRPr>
            </a:lvl1pPr>
          </a:lstStyle>
          <a:p>
            <a:pPr lvl="0"/>
            <a:r>
              <a:rPr lang="en-US"/>
              <a:t>Land O’Lakes is the co-op of tomorrow. Of tradition and innovation. Practicality and possibilities. From farm to fork, we apply technology, honesty and optimism to feed the world and protect the planet. We’re marching forward, arm in arm to feed human progress. Are you ready to join in?</a:t>
            </a:r>
          </a:p>
        </p:txBody>
      </p:sp>
    </p:spTree>
    <p:extLst>
      <p:ext uri="{BB962C8B-B14F-4D97-AF65-F5344CB8AC3E}">
        <p14:creationId xmlns:p14="http://schemas.microsoft.com/office/powerpoint/2010/main" val="3383874904"/>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ig Idea Bold Text_1">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CF907A3-EB4A-5740-872C-E4F2D2BA0E2D}"/>
              </a:ext>
            </a:extLst>
          </p:cNvPr>
          <p:cNvSpPr/>
          <p:nvPr userDrawn="1"/>
        </p:nvSpPr>
        <p:spPr>
          <a:xfrm>
            <a:off x="0" y="0"/>
            <a:ext cx="12192000" cy="685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 name="Text Placeholder 2">
            <a:extLst>
              <a:ext uri="{FF2B5EF4-FFF2-40B4-BE49-F238E27FC236}">
                <a16:creationId xmlns:a16="http://schemas.microsoft.com/office/drawing/2014/main" id="{4308C630-964A-0448-94A6-A17E8BCE49B7}"/>
              </a:ext>
            </a:extLst>
          </p:cNvPr>
          <p:cNvSpPr>
            <a:spLocks noGrp="1"/>
          </p:cNvSpPr>
          <p:nvPr>
            <p:ph type="body" sz="quarter" idx="10" hasCustomPrompt="1"/>
          </p:nvPr>
        </p:nvSpPr>
        <p:spPr>
          <a:xfrm>
            <a:off x="1235827" y="906779"/>
            <a:ext cx="9720348" cy="5044440"/>
          </a:xfrm>
        </p:spPr>
        <p:txBody>
          <a:bodyPr anchor="ctr"/>
          <a:lstStyle>
            <a:lvl1pPr algn="ctr">
              <a:defRPr sz="7200" b="1" i="0">
                <a:solidFill>
                  <a:srgbClr val="FFFFFF"/>
                </a:solidFill>
                <a:latin typeface="Arial Bold"/>
              </a:defRPr>
            </a:lvl1pPr>
            <a:lvl2pPr>
              <a:defRPr b="1" i="0">
                <a:solidFill>
                  <a:srgbClr val="FFFFFF"/>
                </a:solidFill>
                <a:latin typeface="Cervo Neue Bold Neue" pitchFamily="2" charset="77"/>
              </a:defRPr>
            </a:lvl2pPr>
            <a:lvl3pPr>
              <a:defRPr b="1" i="0">
                <a:solidFill>
                  <a:srgbClr val="FFFFFF"/>
                </a:solidFill>
                <a:latin typeface="Cervo Neue Bold Neue" pitchFamily="2" charset="77"/>
              </a:defRPr>
            </a:lvl3pPr>
            <a:lvl4pPr>
              <a:defRPr b="1" i="0">
                <a:solidFill>
                  <a:srgbClr val="FFFFFF"/>
                </a:solidFill>
                <a:latin typeface="Cervo Neue Bold Neue" pitchFamily="2" charset="77"/>
              </a:defRPr>
            </a:lvl4pPr>
            <a:lvl5pPr>
              <a:defRPr b="1" i="0">
                <a:solidFill>
                  <a:srgbClr val="FFFFFF"/>
                </a:solidFill>
                <a:latin typeface="Cervo Neue Bold Neue" pitchFamily="2" charset="77"/>
              </a:defRPr>
            </a:lvl5pPr>
          </a:lstStyle>
          <a:p>
            <a:pPr lvl="0"/>
            <a:r>
              <a:rPr lang="en-US"/>
              <a:t>USE THIS SPACE</a:t>
            </a:r>
            <a:br>
              <a:rPr lang="en-US"/>
            </a:br>
            <a:r>
              <a:rPr lang="en-US"/>
              <a:t>FOR AN IMPACTFUL,</a:t>
            </a:r>
            <a:br>
              <a:rPr lang="en-US"/>
            </a:br>
            <a:r>
              <a:rPr lang="en-US"/>
              <a:t>BOLD STATEMENT</a:t>
            </a:r>
          </a:p>
        </p:txBody>
      </p:sp>
      <p:sp>
        <p:nvSpPr>
          <p:cNvPr id="9" name="Slide Number Placeholder 4">
            <a:extLst>
              <a:ext uri="{FF2B5EF4-FFF2-40B4-BE49-F238E27FC236}">
                <a16:creationId xmlns:a16="http://schemas.microsoft.com/office/drawing/2014/main" id="{5565A63C-EA4E-AE47-ABF8-BC65996FDD7F}"/>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rgbClr val="FFFFFF"/>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0" name="Date Placeholder 5">
            <a:extLst>
              <a:ext uri="{FF2B5EF4-FFF2-40B4-BE49-F238E27FC236}">
                <a16:creationId xmlns:a16="http://schemas.microsoft.com/office/drawing/2014/main" id="{56077CE6-D77A-7841-8CF8-5D6E0FA75750}"/>
              </a:ext>
            </a:extLst>
          </p:cNvPr>
          <p:cNvSpPr>
            <a:spLocks noGrp="1"/>
          </p:cNvSpPr>
          <p:nvPr>
            <p:ph type="dt" sz="half" idx="2"/>
          </p:nvPr>
        </p:nvSpPr>
        <p:spPr>
          <a:xfrm>
            <a:off x="406402" y="6444338"/>
            <a:ext cx="3000831" cy="366183"/>
          </a:xfrm>
          <a:prstGeom prst="rect">
            <a:avLst/>
          </a:prstGeom>
        </p:spPr>
        <p:txBody>
          <a:bodyPr vert="horz" lIns="0" tIns="45720" rIns="0" bIns="45720" rtlCol="0" anchor="b"/>
          <a:lstStyle>
            <a:lvl1pPr marL="0" marR="0" indent="0" algn="l" defTabSz="609570" rtl="0" eaLnBrk="1" fontAlgn="auto" latinLnBrk="0" hangingPunct="1">
              <a:lnSpc>
                <a:spcPct val="100000"/>
              </a:lnSpc>
              <a:spcBef>
                <a:spcPts val="0"/>
              </a:spcBef>
              <a:spcAft>
                <a:spcPts val="0"/>
              </a:spcAft>
              <a:buClrTx/>
              <a:buSzTx/>
              <a:buFontTx/>
              <a:buNone/>
              <a:tabLst/>
              <a:defRPr sz="1067" b="0" i="0">
                <a:solidFill>
                  <a:srgbClr val="FFFFFF"/>
                </a:solidFill>
                <a:latin typeface="Arial" panose="020B0604020202020204" pitchFamily="34" charset="0"/>
                <a:cs typeface="Arial" panose="020B0604020202020204" pitchFamily="34" charset="0"/>
              </a:defRPr>
            </a:lvl1pPr>
          </a:lstStyle>
          <a:p>
            <a:r>
              <a:rPr lang="en-US"/>
              <a:t>© 2018 Land O’Lakes, Inc.</a:t>
            </a:r>
          </a:p>
        </p:txBody>
      </p:sp>
    </p:spTree>
    <p:extLst>
      <p:ext uri="{BB962C8B-B14F-4D97-AF65-F5344CB8AC3E}">
        <p14:creationId xmlns:p14="http://schemas.microsoft.com/office/powerpoint/2010/main" val="588014878"/>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ig Idea Bold Text_2">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CF907A3-EB4A-5740-872C-E4F2D2BA0E2D}"/>
              </a:ext>
            </a:extLst>
          </p:cNvPr>
          <p:cNvSpPr/>
          <p:nvPr userDrawn="1"/>
        </p:nvSpPr>
        <p:spPr>
          <a:xfrm>
            <a:off x="0" y="0"/>
            <a:ext cx="12192000" cy="6858000"/>
          </a:xfrm>
          <a:prstGeom prst="rect">
            <a:avLst/>
          </a:prstGeom>
          <a:solidFill>
            <a:srgbClr val="00B1A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7" name="Text Placeholder 2">
            <a:extLst>
              <a:ext uri="{FF2B5EF4-FFF2-40B4-BE49-F238E27FC236}">
                <a16:creationId xmlns:a16="http://schemas.microsoft.com/office/drawing/2014/main" id="{36D8E5B2-5501-AE40-BAA1-872CC9AC649B}"/>
              </a:ext>
            </a:extLst>
          </p:cNvPr>
          <p:cNvSpPr>
            <a:spLocks noGrp="1"/>
          </p:cNvSpPr>
          <p:nvPr>
            <p:ph type="body" sz="quarter" idx="10" hasCustomPrompt="1"/>
          </p:nvPr>
        </p:nvSpPr>
        <p:spPr>
          <a:xfrm>
            <a:off x="1235827" y="906779"/>
            <a:ext cx="9720348" cy="5044440"/>
          </a:xfrm>
        </p:spPr>
        <p:txBody>
          <a:bodyPr anchor="ctr"/>
          <a:lstStyle>
            <a:lvl1pPr algn="ctr">
              <a:defRPr sz="7200" b="1" i="0">
                <a:solidFill>
                  <a:srgbClr val="FFFFFF"/>
                </a:solidFill>
                <a:latin typeface="Arial Bold"/>
              </a:defRPr>
            </a:lvl1pPr>
            <a:lvl2pPr>
              <a:defRPr b="1" i="0">
                <a:solidFill>
                  <a:srgbClr val="FFFFFF"/>
                </a:solidFill>
                <a:latin typeface="Cervo Neue Bold Neue" pitchFamily="2" charset="77"/>
              </a:defRPr>
            </a:lvl2pPr>
            <a:lvl3pPr>
              <a:defRPr b="1" i="0">
                <a:solidFill>
                  <a:srgbClr val="FFFFFF"/>
                </a:solidFill>
                <a:latin typeface="Cervo Neue Bold Neue" pitchFamily="2" charset="77"/>
              </a:defRPr>
            </a:lvl3pPr>
            <a:lvl4pPr>
              <a:defRPr b="1" i="0">
                <a:solidFill>
                  <a:srgbClr val="FFFFFF"/>
                </a:solidFill>
                <a:latin typeface="Cervo Neue Bold Neue" pitchFamily="2" charset="77"/>
              </a:defRPr>
            </a:lvl4pPr>
            <a:lvl5pPr>
              <a:defRPr b="1" i="0">
                <a:solidFill>
                  <a:srgbClr val="FFFFFF"/>
                </a:solidFill>
                <a:latin typeface="Cervo Neue Bold Neue" pitchFamily="2" charset="77"/>
              </a:defRPr>
            </a:lvl5pPr>
          </a:lstStyle>
          <a:p>
            <a:pPr lvl="0"/>
            <a:r>
              <a:rPr lang="en-US"/>
              <a:t>USE THIS SPACE</a:t>
            </a:r>
            <a:br>
              <a:rPr lang="en-US"/>
            </a:br>
            <a:r>
              <a:rPr lang="en-US"/>
              <a:t>FOR AN IMPACTFUL,</a:t>
            </a:r>
            <a:br>
              <a:rPr lang="en-US"/>
            </a:br>
            <a:r>
              <a:rPr lang="en-US"/>
              <a:t>BOLD STATEMENT</a:t>
            </a:r>
          </a:p>
        </p:txBody>
      </p:sp>
      <p:sp>
        <p:nvSpPr>
          <p:cNvPr id="10" name="Slide Number Placeholder 4">
            <a:extLst>
              <a:ext uri="{FF2B5EF4-FFF2-40B4-BE49-F238E27FC236}">
                <a16:creationId xmlns:a16="http://schemas.microsoft.com/office/drawing/2014/main" id="{7CC398BB-0935-9C41-9806-AF88F0491B2C}"/>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rgbClr val="FFFFFF"/>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1" name="Date Placeholder 5">
            <a:extLst>
              <a:ext uri="{FF2B5EF4-FFF2-40B4-BE49-F238E27FC236}">
                <a16:creationId xmlns:a16="http://schemas.microsoft.com/office/drawing/2014/main" id="{917341DC-BCDA-734E-95F0-33D9D11AE8C0}"/>
              </a:ext>
            </a:extLst>
          </p:cNvPr>
          <p:cNvSpPr>
            <a:spLocks noGrp="1"/>
          </p:cNvSpPr>
          <p:nvPr>
            <p:ph type="dt" sz="half" idx="2"/>
          </p:nvPr>
        </p:nvSpPr>
        <p:spPr>
          <a:xfrm>
            <a:off x="406402" y="6444338"/>
            <a:ext cx="3000831" cy="366183"/>
          </a:xfrm>
          <a:prstGeom prst="rect">
            <a:avLst/>
          </a:prstGeom>
        </p:spPr>
        <p:txBody>
          <a:bodyPr vert="horz" lIns="0" tIns="45720" rIns="0" bIns="45720" rtlCol="0" anchor="b"/>
          <a:lstStyle>
            <a:lvl1pPr marL="0" marR="0" indent="0" algn="l" defTabSz="609570" rtl="0" eaLnBrk="1" fontAlgn="auto" latinLnBrk="0" hangingPunct="1">
              <a:lnSpc>
                <a:spcPct val="100000"/>
              </a:lnSpc>
              <a:spcBef>
                <a:spcPts val="0"/>
              </a:spcBef>
              <a:spcAft>
                <a:spcPts val="0"/>
              </a:spcAft>
              <a:buClrTx/>
              <a:buSzTx/>
              <a:buFontTx/>
              <a:buNone/>
              <a:tabLst/>
              <a:defRPr sz="1067" b="0" i="0">
                <a:solidFill>
                  <a:srgbClr val="FFFFFF"/>
                </a:solidFill>
                <a:latin typeface="Arial" panose="020B0604020202020204" pitchFamily="34" charset="0"/>
                <a:cs typeface="Arial" panose="020B0604020202020204" pitchFamily="34" charset="0"/>
              </a:defRPr>
            </a:lvl1pPr>
          </a:lstStyle>
          <a:p>
            <a:r>
              <a:rPr lang="en-US"/>
              <a:t>© 2018 Land O’Lakes, Inc.</a:t>
            </a:r>
          </a:p>
        </p:txBody>
      </p:sp>
    </p:spTree>
    <p:extLst>
      <p:ext uri="{BB962C8B-B14F-4D97-AF65-F5344CB8AC3E}">
        <p14:creationId xmlns:p14="http://schemas.microsoft.com/office/powerpoint/2010/main" val="324487073"/>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ig Idea Bold Text_3">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CF907A3-EB4A-5740-872C-E4F2D2BA0E2D}"/>
              </a:ext>
            </a:extLst>
          </p:cNvPr>
          <p:cNvSpPr/>
          <p:nvPr userDrawn="1"/>
        </p:nvSpPr>
        <p:spPr>
          <a:xfrm>
            <a:off x="0" y="0"/>
            <a:ext cx="12192000"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7" name="Text Placeholder 2">
            <a:extLst>
              <a:ext uri="{FF2B5EF4-FFF2-40B4-BE49-F238E27FC236}">
                <a16:creationId xmlns:a16="http://schemas.microsoft.com/office/drawing/2014/main" id="{59AD5200-507E-1F46-9DBC-90594DDA0DC5}"/>
              </a:ext>
            </a:extLst>
          </p:cNvPr>
          <p:cNvSpPr>
            <a:spLocks noGrp="1"/>
          </p:cNvSpPr>
          <p:nvPr>
            <p:ph type="body" sz="quarter" idx="10" hasCustomPrompt="1"/>
          </p:nvPr>
        </p:nvSpPr>
        <p:spPr>
          <a:xfrm>
            <a:off x="1235827" y="906779"/>
            <a:ext cx="9720348" cy="5044440"/>
          </a:xfrm>
        </p:spPr>
        <p:txBody>
          <a:bodyPr anchor="ctr"/>
          <a:lstStyle>
            <a:lvl1pPr algn="ctr">
              <a:defRPr sz="7200" b="1" i="0">
                <a:solidFill>
                  <a:srgbClr val="FFFFFF"/>
                </a:solidFill>
                <a:latin typeface="Arial Bold"/>
              </a:defRPr>
            </a:lvl1pPr>
            <a:lvl2pPr>
              <a:defRPr b="1" i="0">
                <a:solidFill>
                  <a:srgbClr val="FFFFFF"/>
                </a:solidFill>
                <a:latin typeface="Cervo Neue Bold Neue" pitchFamily="2" charset="77"/>
              </a:defRPr>
            </a:lvl2pPr>
            <a:lvl3pPr>
              <a:defRPr b="1" i="0">
                <a:solidFill>
                  <a:srgbClr val="FFFFFF"/>
                </a:solidFill>
                <a:latin typeface="Cervo Neue Bold Neue" pitchFamily="2" charset="77"/>
              </a:defRPr>
            </a:lvl3pPr>
            <a:lvl4pPr>
              <a:defRPr b="1" i="0">
                <a:solidFill>
                  <a:srgbClr val="FFFFFF"/>
                </a:solidFill>
                <a:latin typeface="Cervo Neue Bold Neue" pitchFamily="2" charset="77"/>
              </a:defRPr>
            </a:lvl4pPr>
            <a:lvl5pPr>
              <a:defRPr b="1" i="0">
                <a:solidFill>
                  <a:srgbClr val="FFFFFF"/>
                </a:solidFill>
                <a:latin typeface="Cervo Neue Bold Neue" pitchFamily="2" charset="77"/>
              </a:defRPr>
            </a:lvl5pPr>
          </a:lstStyle>
          <a:p>
            <a:pPr lvl="0"/>
            <a:r>
              <a:rPr lang="en-US"/>
              <a:t>USE THIS SPACE</a:t>
            </a:r>
            <a:br>
              <a:rPr lang="en-US"/>
            </a:br>
            <a:r>
              <a:rPr lang="en-US"/>
              <a:t>FOR AN IMPACTFUL,</a:t>
            </a:r>
            <a:br>
              <a:rPr lang="en-US"/>
            </a:br>
            <a:r>
              <a:rPr lang="en-US"/>
              <a:t>BOLD STATEMENT</a:t>
            </a:r>
          </a:p>
        </p:txBody>
      </p:sp>
      <p:sp>
        <p:nvSpPr>
          <p:cNvPr id="10" name="Slide Number Placeholder 4">
            <a:extLst>
              <a:ext uri="{FF2B5EF4-FFF2-40B4-BE49-F238E27FC236}">
                <a16:creationId xmlns:a16="http://schemas.microsoft.com/office/drawing/2014/main" id="{A1236ECB-1CC6-E14B-BB98-BCFAD419119E}"/>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rgbClr val="FFFFFF"/>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1" name="Date Placeholder 5">
            <a:extLst>
              <a:ext uri="{FF2B5EF4-FFF2-40B4-BE49-F238E27FC236}">
                <a16:creationId xmlns:a16="http://schemas.microsoft.com/office/drawing/2014/main" id="{3DF96798-3FDB-4949-930B-45DE30F7BE4D}"/>
              </a:ext>
            </a:extLst>
          </p:cNvPr>
          <p:cNvSpPr>
            <a:spLocks noGrp="1"/>
          </p:cNvSpPr>
          <p:nvPr>
            <p:ph type="dt" sz="half" idx="2"/>
          </p:nvPr>
        </p:nvSpPr>
        <p:spPr>
          <a:xfrm>
            <a:off x="406402" y="6444338"/>
            <a:ext cx="3000831" cy="366183"/>
          </a:xfrm>
          <a:prstGeom prst="rect">
            <a:avLst/>
          </a:prstGeom>
        </p:spPr>
        <p:txBody>
          <a:bodyPr vert="horz" lIns="0" tIns="45720" rIns="0" bIns="45720" rtlCol="0" anchor="b"/>
          <a:lstStyle>
            <a:lvl1pPr marL="0" marR="0" indent="0" algn="l" defTabSz="609570" rtl="0" eaLnBrk="1" fontAlgn="auto" latinLnBrk="0" hangingPunct="1">
              <a:lnSpc>
                <a:spcPct val="100000"/>
              </a:lnSpc>
              <a:spcBef>
                <a:spcPts val="0"/>
              </a:spcBef>
              <a:spcAft>
                <a:spcPts val="0"/>
              </a:spcAft>
              <a:buClrTx/>
              <a:buSzTx/>
              <a:buFontTx/>
              <a:buNone/>
              <a:tabLst/>
              <a:defRPr sz="1067" b="0" i="0">
                <a:solidFill>
                  <a:srgbClr val="FFFFFF"/>
                </a:solidFill>
                <a:latin typeface="Arial" panose="020B0604020202020204" pitchFamily="34" charset="0"/>
                <a:cs typeface="Arial" panose="020B0604020202020204" pitchFamily="34" charset="0"/>
              </a:defRPr>
            </a:lvl1pPr>
          </a:lstStyle>
          <a:p>
            <a:r>
              <a:rPr lang="en-US"/>
              <a:t>© 2018 Land O’Lakes, Inc.</a:t>
            </a:r>
          </a:p>
        </p:txBody>
      </p:sp>
    </p:spTree>
    <p:extLst>
      <p:ext uri="{BB962C8B-B14F-4D97-AF65-F5344CB8AC3E}">
        <p14:creationId xmlns:p14="http://schemas.microsoft.com/office/powerpoint/2010/main" val="1961954340"/>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ig Idea Bold Text_4">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CF907A3-EB4A-5740-872C-E4F2D2BA0E2D}"/>
              </a:ext>
            </a:extLst>
          </p:cNvPr>
          <p:cNvSpPr/>
          <p:nvPr userDrawn="1"/>
        </p:nvSpPr>
        <p:spPr>
          <a:xfrm>
            <a:off x="0" y="0"/>
            <a:ext cx="12192000" cy="6858000"/>
          </a:xfrm>
          <a:prstGeom prst="rect">
            <a:avLst/>
          </a:prstGeom>
          <a:solidFill>
            <a:srgbClr val="E5A6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7" name="Text Placeholder 2">
            <a:extLst>
              <a:ext uri="{FF2B5EF4-FFF2-40B4-BE49-F238E27FC236}">
                <a16:creationId xmlns:a16="http://schemas.microsoft.com/office/drawing/2014/main" id="{0CC9107C-4DC6-0143-BC66-27EDE68F9FFA}"/>
              </a:ext>
            </a:extLst>
          </p:cNvPr>
          <p:cNvSpPr>
            <a:spLocks noGrp="1"/>
          </p:cNvSpPr>
          <p:nvPr>
            <p:ph type="body" sz="quarter" idx="10" hasCustomPrompt="1"/>
          </p:nvPr>
        </p:nvSpPr>
        <p:spPr>
          <a:xfrm>
            <a:off x="1235827" y="906779"/>
            <a:ext cx="9720348" cy="5044440"/>
          </a:xfrm>
        </p:spPr>
        <p:txBody>
          <a:bodyPr anchor="ctr"/>
          <a:lstStyle>
            <a:lvl1pPr algn="ctr">
              <a:defRPr sz="7200" b="1" i="0">
                <a:solidFill>
                  <a:srgbClr val="FFFFFF"/>
                </a:solidFill>
                <a:latin typeface="Arial Bold"/>
              </a:defRPr>
            </a:lvl1pPr>
            <a:lvl2pPr>
              <a:defRPr b="1" i="0">
                <a:solidFill>
                  <a:srgbClr val="FFFFFF"/>
                </a:solidFill>
                <a:latin typeface="Cervo Neue Bold Neue" pitchFamily="2" charset="77"/>
              </a:defRPr>
            </a:lvl2pPr>
            <a:lvl3pPr>
              <a:defRPr b="1" i="0">
                <a:solidFill>
                  <a:srgbClr val="FFFFFF"/>
                </a:solidFill>
                <a:latin typeface="Cervo Neue Bold Neue" pitchFamily="2" charset="77"/>
              </a:defRPr>
            </a:lvl3pPr>
            <a:lvl4pPr>
              <a:defRPr b="1" i="0">
                <a:solidFill>
                  <a:srgbClr val="FFFFFF"/>
                </a:solidFill>
                <a:latin typeface="Cervo Neue Bold Neue" pitchFamily="2" charset="77"/>
              </a:defRPr>
            </a:lvl4pPr>
            <a:lvl5pPr>
              <a:defRPr b="1" i="0">
                <a:solidFill>
                  <a:srgbClr val="FFFFFF"/>
                </a:solidFill>
                <a:latin typeface="Cervo Neue Bold Neue" pitchFamily="2" charset="77"/>
              </a:defRPr>
            </a:lvl5pPr>
          </a:lstStyle>
          <a:p>
            <a:pPr lvl="0"/>
            <a:r>
              <a:rPr lang="en-US"/>
              <a:t>USE THIS SPACE</a:t>
            </a:r>
            <a:br>
              <a:rPr lang="en-US"/>
            </a:br>
            <a:r>
              <a:rPr lang="en-US"/>
              <a:t>FOR AN IMPACTFUL,</a:t>
            </a:r>
            <a:br>
              <a:rPr lang="en-US"/>
            </a:br>
            <a:r>
              <a:rPr lang="en-US"/>
              <a:t>BOLD STATEMENT</a:t>
            </a:r>
          </a:p>
        </p:txBody>
      </p:sp>
      <p:sp>
        <p:nvSpPr>
          <p:cNvPr id="10" name="Slide Number Placeholder 4">
            <a:extLst>
              <a:ext uri="{FF2B5EF4-FFF2-40B4-BE49-F238E27FC236}">
                <a16:creationId xmlns:a16="http://schemas.microsoft.com/office/drawing/2014/main" id="{2FCF7AC3-FFBE-554D-B06D-16B275A094FC}"/>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rgbClr val="FFFFFF"/>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1" name="Date Placeholder 5">
            <a:extLst>
              <a:ext uri="{FF2B5EF4-FFF2-40B4-BE49-F238E27FC236}">
                <a16:creationId xmlns:a16="http://schemas.microsoft.com/office/drawing/2014/main" id="{36DA82E5-0274-FE48-88F9-A5B6A3914EEC}"/>
              </a:ext>
            </a:extLst>
          </p:cNvPr>
          <p:cNvSpPr>
            <a:spLocks noGrp="1"/>
          </p:cNvSpPr>
          <p:nvPr>
            <p:ph type="dt" sz="half" idx="2"/>
          </p:nvPr>
        </p:nvSpPr>
        <p:spPr>
          <a:xfrm>
            <a:off x="406402" y="6444338"/>
            <a:ext cx="3000831" cy="366183"/>
          </a:xfrm>
          <a:prstGeom prst="rect">
            <a:avLst/>
          </a:prstGeom>
        </p:spPr>
        <p:txBody>
          <a:bodyPr vert="horz" lIns="0" tIns="45720" rIns="0" bIns="45720" rtlCol="0" anchor="b"/>
          <a:lstStyle>
            <a:lvl1pPr marL="0" marR="0" indent="0" algn="l" defTabSz="609570" rtl="0" eaLnBrk="1" fontAlgn="auto" latinLnBrk="0" hangingPunct="1">
              <a:lnSpc>
                <a:spcPct val="100000"/>
              </a:lnSpc>
              <a:spcBef>
                <a:spcPts val="0"/>
              </a:spcBef>
              <a:spcAft>
                <a:spcPts val="0"/>
              </a:spcAft>
              <a:buClrTx/>
              <a:buSzTx/>
              <a:buFontTx/>
              <a:buNone/>
              <a:tabLst/>
              <a:defRPr sz="1067" b="0" i="0">
                <a:solidFill>
                  <a:srgbClr val="FFFFFF"/>
                </a:solidFill>
                <a:latin typeface="Arial" panose="020B0604020202020204" pitchFamily="34" charset="0"/>
                <a:cs typeface="Arial" panose="020B0604020202020204" pitchFamily="34" charset="0"/>
              </a:defRPr>
            </a:lvl1pPr>
          </a:lstStyle>
          <a:p>
            <a:r>
              <a:rPr lang="en-US"/>
              <a:t>© 2018 Land O’Lakes, Inc.</a:t>
            </a:r>
          </a:p>
        </p:txBody>
      </p:sp>
    </p:spTree>
    <p:extLst>
      <p:ext uri="{BB962C8B-B14F-4D97-AF65-F5344CB8AC3E}">
        <p14:creationId xmlns:p14="http://schemas.microsoft.com/office/powerpoint/2010/main" val="875456034"/>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Full Slide Image">
    <p:bg>
      <p:bgPr>
        <a:solidFill>
          <a:srgbClr val="FFFFFF"/>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75F14BE9-0180-0744-BE30-8D37497AD9AE}"/>
              </a:ext>
            </a:extLst>
          </p:cNvPr>
          <p:cNvSpPr>
            <a:spLocks noGrp="1"/>
          </p:cNvSpPr>
          <p:nvPr>
            <p:ph type="pic" sz="quarter" idx="13"/>
          </p:nvPr>
        </p:nvSpPr>
        <p:spPr>
          <a:xfrm>
            <a:off x="0" y="0"/>
            <a:ext cx="12192000" cy="6858000"/>
          </a:xfrm>
        </p:spPr>
        <p:txBody>
          <a:bodyPr/>
          <a:lstStyle/>
          <a:p>
            <a:endParaRPr lang="en-US"/>
          </a:p>
        </p:txBody>
      </p:sp>
      <p:sp>
        <p:nvSpPr>
          <p:cNvPr id="3" name="Slide Number Placeholder 2">
            <a:extLst>
              <a:ext uri="{FF2B5EF4-FFF2-40B4-BE49-F238E27FC236}">
                <a16:creationId xmlns:a16="http://schemas.microsoft.com/office/drawing/2014/main" id="{33A56AC4-52EA-E947-A6B8-2067DAD8B8C7}"/>
              </a:ext>
            </a:extLst>
          </p:cNvPr>
          <p:cNvSpPr>
            <a:spLocks noGrp="1"/>
          </p:cNvSpPr>
          <p:nvPr>
            <p:ph type="sldNum" sz="quarter" idx="10"/>
          </p:nvPr>
        </p:nvSpPr>
        <p:spPr/>
        <p:txBody>
          <a:bodyPr/>
          <a:lstStyle/>
          <a:p>
            <a:fld id="{BA19D0F6-5B80-F543-AF4F-7B18B9728D74}" type="slidenum">
              <a:rPr lang="en-US" smtClean="0"/>
              <a:pPr/>
              <a:t>‹#›</a:t>
            </a:fld>
            <a:endParaRPr lang="en-US"/>
          </a:p>
        </p:txBody>
      </p:sp>
      <p:sp>
        <p:nvSpPr>
          <p:cNvPr id="4" name="Date Placeholder 3">
            <a:extLst>
              <a:ext uri="{FF2B5EF4-FFF2-40B4-BE49-F238E27FC236}">
                <a16:creationId xmlns:a16="http://schemas.microsoft.com/office/drawing/2014/main" id="{97EACAF1-8063-2249-95EF-1A506C81C95E}"/>
              </a:ext>
            </a:extLst>
          </p:cNvPr>
          <p:cNvSpPr>
            <a:spLocks noGrp="1"/>
          </p:cNvSpPr>
          <p:nvPr>
            <p:ph type="dt" sz="half" idx="11"/>
          </p:nvPr>
        </p:nvSpPr>
        <p:spPr/>
        <p:txBody>
          <a:bodyPr/>
          <a:lstStyle/>
          <a:p>
            <a:r>
              <a:rPr lang="en-US"/>
              <a:t>© 2018 Land O’Lakes, Inc.</a:t>
            </a:r>
          </a:p>
        </p:txBody>
      </p:sp>
      <p:sp>
        <p:nvSpPr>
          <p:cNvPr id="5" name="Footer Placeholder 4">
            <a:extLst>
              <a:ext uri="{FF2B5EF4-FFF2-40B4-BE49-F238E27FC236}">
                <a16:creationId xmlns:a16="http://schemas.microsoft.com/office/drawing/2014/main" id="{F968645B-210B-B849-90B0-3F36A7A579FE}"/>
              </a:ext>
            </a:extLst>
          </p:cNvPr>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3576556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hoto Gri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16043C7-4852-7141-81DF-6F09514DFC6B}"/>
              </a:ext>
            </a:extLst>
          </p:cNvPr>
          <p:cNvSpPr/>
          <p:nvPr userDrawn="1"/>
        </p:nvSpPr>
        <p:spPr>
          <a:xfrm>
            <a:off x="0" y="0"/>
            <a:ext cx="12192000" cy="6858000"/>
          </a:xfrm>
          <a:prstGeom prst="rect">
            <a:avLst/>
          </a:prstGeom>
          <a:solidFill>
            <a:schemeClr val="bg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8" name="Rectangle 17">
            <a:extLst>
              <a:ext uri="{FF2B5EF4-FFF2-40B4-BE49-F238E27FC236}">
                <a16:creationId xmlns:a16="http://schemas.microsoft.com/office/drawing/2014/main" id="{D3D4CDB3-2C2E-AE49-A2D2-8E7E3B1708A5}"/>
              </a:ext>
            </a:extLst>
          </p:cNvPr>
          <p:cNvSpPr/>
          <p:nvPr userDrawn="1"/>
        </p:nvSpPr>
        <p:spPr>
          <a:xfrm>
            <a:off x="1" y="3"/>
            <a:ext cx="2956291" cy="334710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9" name="Rectangle 18">
            <a:extLst>
              <a:ext uri="{FF2B5EF4-FFF2-40B4-BE49-F238E27FC236}">
                <a16:creationId xmlns:a16="http://schemas.microsoft.com/office/drawing/2014/main" id="{4E14CE40-DB45-BB4F-9786-E87C8F50346A}"/>
              </a:ext>
            </a:extLst>
          </p:cNvPr>
          <p:cNvSpPr/>
          <p:nvPr userDrawn="1"/>
        </p:nvSpPr>
        <p:spPr>
          <a:xfrm>
            <a:off x="3139711" y="3519987"/>
            <a:ext cx="2864580" cy="3338012"/>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0" name="Rectangle 19">
            <a:extLst>
              <a:ext uri="{FF2B5EF4-FFF2-40B4-BE49-F238E27FC236}">
                <a16:creationId xmlns:a16="http://schemas.microsoft.com/office/drawing/2014/main" id="{A5933C47-B601-F241-86BF-5D9703CBE3B3}"/>
              </a:ext>
            </a:extLst>
          </p:cNvPr>
          <p:cNvSpPr/>
          <p:nvPr userDrawn="1"/>
        </p:nvSpPr>
        <p:spPr>
          <a:xfrm>
            <a:off x="6187708" y="2"/>
            <a:ext cx="2864581" cy="334711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1" name="Rectangle 20">
            <a:extLst>
              <a:ext uri="{FF2B5EF4-FFF2-40B4-BE49-F238E27FC236}">
                <a16:creationId xmlns:a16="http://schemas.microsoft.com/office/drawing/2014/main" id="{4DB2B185-CE6C-3B49-ACF1-4B02E487F924}"/>
              </a:ext>
            </a:extLst>
          </p:cNvPr>
          <p:cNvSpPr/>
          <p:nvPr userDrawn="1"/>
        </p:nvSpPr>
        <p:spPr>
          <a:xfrm>
            <a:off x="9235704" y="3519988"/>
            <a:ext cx="2956296" cy="333801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32" name="Picture 31">
            <a:extLst>
              <a:ext uri="{FF2B5EF4-FFF2-40B4-BE49-F238E27FC236}">
                <a16:creationId xmlns:a16="http://schemas.microsoft.com/office/drawing/2014/main" id="{22785C19-A89A-5D43-9F80-77C6CBA2024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6681263" y="820438"/>
            <a:ext cx="2165903" cy="1788129"/>
          </a:xfrm>
          <a:prstGeom prst="rect">
            <a:avLst/>
          </a:prstGeom>
        </p:spPr>
      </p:pic>
      <p:sp>
        <p:nvSpPr>
          <p:cNvPr id="5" name="Picture Placeholder 4">
            <a:extLst>
              <a:ext uri="{FF2B5EF4-FFF2-40B4-BE49-F238E27FC236}">
                <a16:creationId xmlns:a16="http://schemas.microsoft.com/office/drawing/2014/main" id="{3A661803-C661-0A44-B4C1-F19E66CF2815}"/>
              </a:ext>
            </a:extLst>
          </p:cNvPr>
          <p:cNvSpPr>
            <a:spLocks noGrp="1"/>
          </p:cNvSpPr>
          <p:nvPr>
            <p:ph type="pic" sz="quarter" idx="10"/>
          </p:nvPr>
        </p:nvSpPr>
        <p:spPr>
          <a:xfrm>
            <a:off x="9235019" y="2"/>
            <a:ext cx="2956983" cy="3338012"/>
          </a:xfrm>
        </p:spPr>
        <p:txBody>
          <a:bodyPr anchor="ctr"/>
          <a:lstStyle>
            <a:lvl1pPr algn="ctr">
              <a:defRPr/>
            </a:lvl1pPr>
          </a:lstStyle>
          <a:p>
            <a:endParaRPr lang="en-US"/>
          </a:p>
        </p:txBody>
      </p:sp>
      <p:sp>
        <p:nvSpPr>
          <p:cNvPr id="7" name="Picture Placeholder 6">
            <a:extLst>
              <a:ext uri="{FF2B5EF4-FFF2-40B4-BE49-F238E27FC236}">
                <a16:creationId xmlns:a16="http://schemas.microsoft.com/office/drawing/2014/main" id="{12C490E0-C7FC-D14F-9423-17B8D553241D}"/>
              </a:ext>
            </a:extLst>
          </p:cNvPr>
          <p:cNvSpPr>
            <a:spLocks noGrp="1"/>
          </p:cNvSpPr>
          <p:nvPr>
            <p:ph type="pic" sz="quarter" idx="11"/>
          </p:nvPr>
        </p:nvSpPr>
        <p:spPr>
          <a:xfrm>
            <a:off x="0" y="3519987"/>
            <a:ext cx="2956984" cy="3338015"/>
          </a:xfrm>
        </p:spPr>
        <p:txBody>
          <a:bodyPr anchor="ctr"/>
          <a:lstStyle>
            <a:lvl1pPr algn="ctr">
              <a:defRPr/>
            </a:lvl1pPr>
          </a:lstStyle>
          <a:p>
            <a:endParaRPr lang="en-US"/>
          </a:p>
        </p:txBody>
      </p:sp>
      <p:sp>
        <p:nvSpPr>
          <p:cNvPr id="9" name="Picture Placeholder 8">
            <a:extLst>
              <a:ext uri="{FF2B5EF4-FFF2-40B4-BE49-F238E27FC236}">
                <a16:creationId xmlns:a16="http://schemas.microsoft.com/office/drawing/2014/main" id="{B29CA55B-59EA-DA43-AC32-9FABDBC1D5AD}"/>
              </a:ext>
            </a:extLst>
          </p:cNvPr>
          <p:cNvSpPr>
            <a:spLocks noGrp="1"/>
          </p:cNvSpPr>
          <p:nvPr>
            <p:ph type="pic" sz="quarter" idx="12" hasCustomPrompt="1"/>
          </p:nvPr>
        </p:nvSpPr>
        <p:spPr>
          <a:xfrm>
            <a:off x="3139019" y="-1"/>
            <a:ext cx="2865967" cy="3338013"/>
          </a:xfrm>
        </p:spPr>
        <p:txBody>
          <a:bodyPr lIns="457200" rIns="457200" anchor="ctr"/>
          <a:lstStyle>
            <a:lvl1pPr marL="0" marR="0" indent="0" algn="ctr" defTabSz="1219140" rtl="0" eaLnBrk="1" fontAlgn="auto" latinLnBrk="0" hangingPunct="1">
              <a:lnSpc>
                <a:spcPct val="90000"/>
              </a:lnSpc>
              <a:spcBef>
                <a:spcPts val="1333"/>
              </a:spcBef>
              <a:spcAft>
                <a:spcPts val="0"/>
              </a:spcAft>
              <a:buClrTx/>
              <a:buSzTx/>
              <a:buFont typeface="Arial" panose="020B0604020202020204" pitchFamily="34" charset="0"/>
              <a:buNone/>
              <a:tabLst/>
              <a:defRPr sz="1867"/>
            </a:lvl1pPr>
          </a:lstStyle>
          <a:p>
            <a:r>
              <a:rPr lang="en-US"/>
              <a:t>See usage guide for instructions on how to find and place images from Percolate.</a:t>
            </a:r>
          </a:p>
        </p:txBody>
      </p:sp>
      <p:sp>
        <p:nvSpPr>
          <p:cNvPr id="11" name="Picture Placeholder 10">
            <a:extLst>
              <a:ext uri="{FF2B5EF4-FFF2-40B4-BE49-F238E27FC236}">
                <a16:creationId xmlns:a16="http://schemas.microsoft.com/office/drawing/2014/main" id="{E2662A55-7BB0-3B41-99FC-0646A55D2E0B}"/>
              </a:ext>
            </a:extLst>
          </p:cNvPr>
          <p:cNvSpPr>
            <a:spLocks noGrp="1"/>
          </p:cNvSpPr>
          <p:nvPr>
            <p:ph type="pic" sz="quarter" idx="13"/>
          </p:nvPr>
        </p:nvSpPr>
        <p:spPr>
          <a:xfrm>
            <a:off x="6187019" y="3519987"/>
            <a:ext cx="2865967" cy="3338015"/>
          </a:xfrm>
        </p:spPr>
        <p:txBody>
          <a:bodyPr anchor="ctr"/>
          <a:lstStyle>
            <a:lvl1pPr algn="ctr">
              <a:defRPr/>
            </a:lvl1pPr>
          </a:lstStyle>
          <a:p>
            <a:endParaRPr lang="en-US"/>
          </a:p>
        </p:txBody>
      </p:sp>
      <p:sp>
        <p:nvSpPr>
          <p:cNvPr id="13" name="Text Placeholder 12">
            <a:extLst>
              <a:ext uri="{FF2B5EF4-FFF2-40B4-BE49-F238E27FC236}">
                <a16:creationId xmlns:a16="http://schemas.microsoft.com/office/drawing/2014/main" id="{44730B73-1FB2-A94E-8786-B0C8DEB9791C}"/>
              </a:ext>
            </a:extLst>
          </p:cNvPr>
          <p:cNvSpPr>
            <a:spLocks noGrp="1"/>
          </p:cNvSpPr>
          <p:nvPr>
            <p:ph type="body" sz="quarter" idx="14" hasCustomPrompt="1"/>
          </p:nvPr>
        </p:nvSpPr>
        <p:spPr>
          <a:xfrm>
            <a:off x="330272" y="262935"/>
            <a:ext cx="2295753" cy="2821244"/>
          </a:xfrm>
        </p:spPr>
        <p:txBody>
          <a:bodyPr anchor="ctr"/>
          <a:lstStyle>
            <a:lvl1pPr algn="ctr">
              <a:defRPr sz="2400" b="1" i="0">
                <a:solidFill>
                  <a:srgbClr val="FFFFFF"/>
                </a:solidFill>
                <a:latin typeface="Arial Bold"/>
              </a:defRPr>
            </a:lvl1pPr>
          </a:lstStyle>
          <a:p>
            <a:pPr lvl="0"/>
            <a:r>
              <a:rPr lang="en-US"/>
              <a:t>USE THIS SPACE FOR CONTENT</a:t>
            </a:r>
          </a:p>
        </p:txBody>
      </p:sp>
      <p:sp>
        <p:nvSpPr>
          <p:cNvPr id="41" name="Text Placeholder 12">
            <a:extLst>
              <a:ext uri="{FF2B5EF4-FFF2-40B4-BE49-F238E27FC236}">
                <a16:creationId xmlns:a16="http://schemas.microsoft.com/office/drawing/2014/main" id="{C8DA7321-6E79-7A44-A022-465FDDC9FC4D}"/>
              </a:ext>
            </a:extLst>
          </p:cNvPr>
          <p:cNvSpPr>
            <a:spLocks noGrp="1"/>
          </p:cNvSpPr>
          <p:nvPr>
            <p:ph type="body" sz="quarter" idx="16" hasCustomPrompt="1"/>
          </p:nvPr>
        </p:nvSpPr>
        <p:spPr>
          <a:xfrm>
            <a:off x="9565978" y="3778374"/>
            <a:ext cx="2295753" cy="2821244"/>
          </a:xfrm>
        </p:spPr>
        <p:txBody>
          <a:bodyPr anchor="ctr"/>
          <a:lstStyle>
            <a:lvl1pPr algn="ctr">
              <a:defRPr sz="2400" b="1" i="0">
                <a:solidFill>
                  <a:srgbClr val="FFFFFF"/>
                </a:solidFill>
                <a:latin typeface="Arial Bold"/>
              </a:defRPr>
            </a:lvl1pPr>
          </a:lstStyle>
          <a:p>
            <a:pPr lvl="0"/>
            <a:r>
              <a:rPr lang="en-US"/>
              <a:t>USE THIS SPACE FOR CONTENT</a:t>
            </a:r>
          </a:p>
        </p:txBody>
      </p:sp>
      <p:sp>
        <p:nvSpPr>
          <p:cNvPr id="22" name="Slide Number Placeholder 4">
            <a:extLst>
              <a:ext uri="{FF2B5EF4-FFF2-40B4-BE49-F238E27FC236}">
                <a16:creationId xmlns:a16="http://schemas.microsoft.com/office/drawing/2014/main" id="{FAF37397-18FD-E342-8E23-BA139BDAA2CE}"/>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rgbClr val="FFFFFF"/>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23" name="Date Placeholder 5">
            <a:extLst>
              <a:ext uri="{FF2B5EF4-FFF2-40B4-BE49-F238E27FC236}">
                <a16:creationId xmlns:a16="http://schemas.microsoft.com/office/drawing/2014/main" id="{A45CA593-B28A-3D40-8916-CC2FBE67195E}"/>
              </a:ext>
            </a:extLst>
          </p:cNvPr>
          <p:cNvSpPr>
            <a:spLocks noGrp="1"/>
          </p:cNvSpPr>
          <p:nvPr>
            <p:ph type="dt" sz="half" idx="2"/>
          </p:nvPr>
        </p:nvSpPr>
        <p:spPr>
          <a:xfrm>
            <a:off x="406402" y="6440194"/>
            <a:ext cx="3000831" cy="366183"/>
          </a:xfrm>
          <a:prstGeom prst="rect">
            <a:avLst/>
          </a:prstGeom>
        </p:spPr>
        <p:txBody>
          <a:bodyPr vert="horz" lIns="0" tIns="45720" rIns="0" bIns="45720" rtlCol="0" anchor="b"/>
          <a:lstStyle>
            <a:lvl1pPr marL="0" marR="0" indent="0" algn="l" defTabSz="609570" rtl="0" eaLnBrk="1" fontAlgn="auto" latinLnBrk="0" hangingPunct="1">
              <a:lnSpc>
                <a:spcPct val="100000"/>
              </a:lnSpc>
              <a:spcBef>
                <a:spcPts val="0"/>
              </a:spcBef>
              <a:spcAft>
                <a:spcPts val="0"/>
              </a:spcAft>
              <a:buClrTx/>
              <a:buSzTx/>
              <a:buFontTx/>
              <a:buNone/>
              <a:tabLst/>
              <a:defRPr sz="1067" b="0" i="0">
                <a:solidFill>
                  <a:schemeClr val="tx1"/>
                </a:solidFill>
                <a:latin typeface="Arial" panose="020B0604020202020204" pitchFamily="34" charset="0"/>
                <a:cs typeface="Arial" panose="020B0604020202020204" pitchFamily="34" charset="0"/>
              </a:defRPr>
            </a:lvl1pPr>
          </a:lstStyle>
          <a:p>
            <a:r>
              <a:rPr lang="en-US"/>
              <a:t>© 2018 Land O’Lakes, Inc.</a:t>
            </a:r>
          </a:p>
        </p:txBody>
      </p:sp>
      <p:sp>
        <p:nvSpPr>
          <p:cNvPr id="2" name="TextBox 1">
            <a:extLst>
              <a:ext uri="{FF2B5EF4-FFF2-40B4-BE49-F238E27FC236}">
                <a16:creationId xmlns:a16="http://schemas.microsoft.com/office/drawing/2014/main" id="{36BAF47D-7F0A-3140-BB77-772AE693CB52}"/>
              </a:ext>
            </a:extLst>
          </p:cNvPr>
          <p:cNvSpPr txBox="1"/>
          <p:nvPr userDrawn="1"/>
        </p:nvSpPr>
        <p:spPr>
          <a:xfrm>
            <a:off x="3424126" y="4802042"/>
            <a:ext cx="2295753" cy="757130"/>
          </a:xfrm>
          <a:prstGeom prst="rect">
            <a:avLst/>
          </a:prstGeom>
          <a:noFill/>
        </p:spPr>
        <p:txBody>
          <a:bodyPr wrap="square" rtlCol="0">
            <a:spAutoFit/>
          </a:bodyPr>
          <a:lstStyle/>
          <a:p>
            <a:pPr algn="ctr">
              <a:lnSpc>
                <a:spcPct val="90000"/>
              </a:lnSpc>
            </a:pPr>
            <a:r>
              <a:rPr lang="en-US" sz="2400" b="1" i="0">
                <a:solidFill>
                  <a:srgbClr val="FFFFFF"/>
                </a:solidFill>
                <a:latin typeface="Arial Bold"/>
              </a:rPr>
              <a:t>PROGRESS IS PURPOSE</a:t>
            </a:r>
          </a:p>
        </p:txBody>
      </p:sp>
    </p:spTree>
    <p:extLst>
      <p:ext uri="{BB962C8B-B14F-4D97-AF65-F5344CB8AC3E}">
        <p14:creationId xmlns:p14="http://schemas.microsoft.com/office/powerpoint/2010/main" val="4260670485"/>
      </p:ext>
    </p:extLst>
  </p:cSld>
  <p:clrMapOvr>
    <a:masterClrMapping/>
  </p:clrMapOvr>
  <p:extLst>
    <p:ext uri="{DCECCB84-F9BA-43D5-87BE-67443E8EF086}">
      <p15:sldGuideLst xmlns:p15="http://schemas.microsoft.com/office/powerpoint/2012/main">
        <p15:guide id="1" pos="1440">
          <p15:clr>
            <a:srgbClr val="FBAE40"/>
          </p15:clr>
        </p15:guide>
        <p15:guide id="2" pos="432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old Statement Pattern_1">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CF907A3-EB4A-5740-872C-E4F2D2BA0E2D}"/>
              </a:ext>
            </a:extLst>
          </p:cNvPr>
          <p:cNvSpPr/>
          <p:nvPr userDrawn="1"/>
        </p:nvSpPr>
        <p:spPr>
          <a:xfrm>
            <a:off x="0" y="0"/>
            <a:ext cx="12192000" cy="6858000"/>
          </a:xfrm>
          <a:prstGeom prst="rect">
            <a:avLst/>
          </a:prstGeom>
          <a:solidFill>
            <a:srgbClr val="00B1AD"/>
          </a:solidFill>
          <a:ln>
            <a:noFill/>
          </a:ln>
          <a:effectLst>
            <a:outerShdw blurRad="40000" dist="23000" dir="5400000" rotWithShape="0">
              <a:schemeClr val="tx2">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51" name="Picture 50">
            <a:extLst>
              <a:ext uri="{FF2B5EF4-FFF2-40B4-BE49-F238E27FC236}">
                <a16:creationId xmlns:a16="http://schemas.microsoft.com/office/drawing/2014/main" id="{D557E331-B5E0-4F47-BD49-BBE59E81AA5E}"/>
              </a:ext>
            </a:extLst>
          </p:cNvPr>
          <p:cNvPicPr>
            <a:picLocks noChangeAspect="1"/>
          </p:cNvPicPr>
          <p:nvPr userDrawn="1"/>
        </p:nvPicPr>
        <p:blipFill rotWithShape="1">
          <a:blip r:embed="rId2"/>
          <a:srcRect l="45386" t="43078"/>
          <a:stretch/>
        </p:blipFill>
        <p:spPr>
          <a:xfrm>
            <a:off x="-1" y="-1"/>
            <a:ext cx="1451265" cy="1533729"/>
          </a:xfrm>
          <a:prstGeom prst="rect">
            <a:avLst/>
          </a:prstGeom>
        </p:spPr>
      </p:pic>
      <p:pic>
        <p:nvPicPr>
          <p:cNvPr id="46" name="Picture 45">
            <a:extLst>
              <a:ext uri="{FF2B5EF4-FFF2-40B4-BE49-F238E27FC236}">
                <a16:creationId xmlns:a16="http://schemas.microsoft.com/office/drawing/2014/main" id="{977BDC24-736F-EA41-ABD7-BD3A2B478702}"/>
              </a:ext>
            </a:extLst>
          </p:cNvPr>
          <p:cNvPicPr>
            <a:picLocks noChangeAspect="1"/>
          </p:cNvPicPr>
          <p:nvPr userDrawn="1"/>
        </p:nvPicPr>
        <p:blipFill rotWithShape="1">
          <a:blip r:embed="rId3"/>
          <a:srcRect t="26281"/>
          <a:stretch/>
        </p:blipFill>
        <p:spPr>
          <a:xfrm>
            <a:off x="4973717" y="0"/>
            <a:ext cx="2657304" cy="1986315"/>
          </a:xfrm>
          <a:prstGeom prst="rect">
            <a:avLst/>
          </a:prstGeom>
        </p:spPr>
      </p:pic>
      <p:pic>
        <p:nvPicPr>
          <p:cNvPr id="48" name="Picture 47">
            <a:extLst>
              <a:ext uri="{FF2B5EF4-FFF2-40B4-BE49-F238E27FC236}">
                <a16:creationId xmlns:a16="http://schemas.microsoft.com/office/drawing/2014/main" id="{659F3569-B155-8545-8F4D-DD38DD63A365}"/>
              </a:ext>
            </a:extLst>
          </p:cNvPr>
          <p:cNvPicPr>
            <a:picLocks noChangeAspect="1"/>
          </p:cNvPicPr>
          <p:nvPr userDrawn="1"/>
        </p:nvPicPr>
        <p:blipFill>
          <a:blip r:embed="rId4"/>
          <a:stretch>
            <a:fillRect/>
          </a:stretch>
        </p:blipFill>
        <p:spPr>
          <a:xfrm>
            <a:off x="4960732" y="3289891"/>
            <a:ext cx="2657304" cy="2694432"/>
          </a:xfrm>
          <a:prstGeom prst="rect">
            <a:avLst/>
          </a:prstGeom>
        </p:spPr>
      </p:pic>
      <p:pic>
        <p:nvPicPr>
          <p:cNvPr id="42" name="Picture 41">
            <a:extLst>
              <a:ext uri="{FF2B5EF4-FFF2-40B4-BE49-F238E27FC236}">
                <a16:creationId xmlns:a16="http://schemas.microsoft.com/office/drawing/2014/main" id="{2E6AA0E6-7508-2C42-A059-91E6022E379F}"/>
              </a:ext>
            </a:extLst>
          </p:cNvPr>
          <p:cNvPicPr>
            <a:picLocks noChangeAspect="1"/>
          </p:cNvPicPr>
          <p:nvPr userDrawn="1"/>
        </p:nvPicPr>
        <p:blipFill rotWithShape="1">
          <a:blip r:embed="rId5"/>
          <a:srcRect r="36624"/>
          <a:stretch/>
        </p:blipFill>
        <p:spPr>
          <a:xfrm>
            <a:off x="10507897" y="3289891"/>
            <a:ext cx="1684105" cy="2694432"/>
          </a:xfrm>
          <a:prstGeom prst="rect">
            <a:avLst/>
          </a:prstGeom>
        </p:spPr>
      </p:pic>
      <p:pic>
        <p:nvPicPr>
          <p:cNvPr id="40" name="Picture 39">
            <a:extLst>
              <a:ext uri="{FF2B5EF4-FFF2-40B4-BE49-F238E27FC236}">
                <a16:creationId xmlns:a16="http://schemas.microsoft.com/office/drawing/2014/main" id="{CA01EDC8-D8DC-FD4F-91EC-8E7FF050EF95}"/>
              </a:ext>
            </a:extLst>
          </p:cNvPr>
          <p:cNvPicPr>
            <a:picLocks noChangeAspect="1"/>
          </p:cNvPicPr>
          <p:nvPr userDrawn="1"/>
        </p:nvPicPr>
        <p:blipFill rotWithShape="1">
          <a:blip r:embed="rId6"/>
          <a:srcRect l="70674"/>
          <a:stretch/>
        </p:blipFill>
        <p:spPr>
          <a:xfrm>
            <a:off x="-1" y="3289891"/>
            <a:ext cx="779284" cy="2694432"/>
          </a:xfrm>
          <a:prstGeom prst="rect">
            <a:avLst/>
          </a:prstGeom>
        </p:spPr>
      </p:pic>
      <p:cxnSp>
        <p:nvCxnSpPr>
          <p:cNvPr id="8" name="Straight Connector 7">
            <a:extLst>
              <a:ext uri="{FF2B5EF4-FFF2-40B4-BE49-F238E27FC236}">
                <a16:creationId xmlns:a16="http://schemas.microsoft.com/office/drawing/2014/main" id="{F638C04F-50BB-5143-AF04-7F9B8708513F}"/>
              </a:ext>
            </a:extLst>
          </p:cNvPr>
          <p:cNvCxnSpPr/>
          <p:nvPr userDrawn="1"/>
        </p:nvCxnSpPr>
        <p:spPr>
          <a:xfrm>
            <a:off x="1477820" y="1388143"/>
            <a:ext cx="299258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1E523CF-12B6-354A-B1EF-4167D1D639DE}"/>
              </a:ext>
            </a:extLst>
          </p:cNvPr>
          <p:cNvCxnSpPr/>
          <p:nvPr userDrawn="1"/>
        </p:nvCxnSpPr>
        <p:spPr>
          <a:xfrm>
            <a:off x="1477820" y="4491560"/>
            <a:ext cx="299258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11D0F113-A57B-6B47-B944-C97782A7343B}"/>
              </a:ext>
            </a:extLst>
          </p:cNvPr>
          <p:cNvPicPr>
            <a:picLocks noChangeAspect="1"/>
          </p:cNvPicPr>
          <p:nvPr userDrawn="1"/>
        </p:nvPicPr>
        <p:blipFill rotWithShape="1">
          <a:blip r:embed="rId7"/>
          <a:srcRect b="35149"/>
          <a:stretch/>
        </p:blipFill>
        <p:spPr>
          <a:xfrm>
            <a:off x="7734449" y="5110645"/>
            <a:ext cx="2657304" cy="1747355"/>
          </a:xfrm>
          <a:prstGeom prst="rect">
            <a:avLst/>
          </a:prstGeom>
        </p:spPr>
      </p:pic>
      <p:pic>
        <p:nvPicPr>
          <p:cNvPr id="15" name="Picture 14">
            <a:extLst>
              <a:ext uri="{FF2B5EF4-FFF2-40B4-BE49-F238E27FC236}">
                <a16:creationId xmlns:a16="http://schemas.microsoft.com/office/drawing/2014/main" id="{C35D9600-269C-AC45-8061-97CF79997B4E}"/>
              </a:ext>
            </a:extLst>
          </p:cNvPr>
          <p:cNvPicPr>
            <a:picLocks noChangeAspect="1"/>
          </p:cNvPicPr>
          <p:nvPr userDrawn="1"/>
        </p:nvPicPr>
        <p:blipFill rotWithShape="1">
          <a:blip r:embed="rId8"/>
          <a:srcRect t="26281" r="36624"/>
          <a:stretch/>
        </p:blipFill>
        <p:spPr>
          <a:xfrm>
            <a:off x="10507897" y="1"/>
            <a:ext cx="1684105" cy="1986313"/>
          </a:xfrm>
          <a:prstGeom prst="rect">
            <a:avLst/>
          </a:prstGeom>
        </p:spPr>
      </p:pic>
      <p:pic>
        <p:nvPicPr>
          <p:cNvPr id="17" name="Picture 16">
            <a:extLst>
              <a:ext uri="{FF2B5EF4-FFF2-40B4-BE49-F238E27FC236}">
                <a16:creationId xmlns:a16="http://schemas.microsoft.com/office/drawing/2014/main" id="{22361DC2-0B8E-8B41-956D-41E20D327E64}"/>
              </a:ext>
            </a:extLst>
          </p:cNvPr>
          <p:cNvPicPr>
            <a:picLocks noChangeAspect="1"/>
          </p:cNvPicPr>
          <p:nvPr userDrawn="1"/>
        </p:nvPicPr>
        <p:blipFill>
          <a:blip r:embed="rId2"/>
          <a:stretch>
            <a:fillRect/>
          </a:stretch>
        </p:blipFill>
        <p:spPr>
          <a:xfrm>
            <a:off x="7734449" y="1319536"/>
            <a:ext cx="2657304" cy="2694432"/>
          </a:xfrm>
          <a:prstGeom prst="rect">
            <a:avLst/>
          </a:prstGeom>
        </p:spPr>
      </p:pic>
      <p:pic>
        <p:nvPicPr>
          <p:cNvPr id="34" name="Picture 33">
            <a:extLst>
              <a:ext uri="{FF2B5EF4-FFF2-40B4-BE49-F238E27FC236}">
                <a16:creationId xmlns:a16="http://schemas.microsoft.com/office/drawing/2014/main" id="{86A3CA4C-21AA-694B-9A92-1989E47F701E}"/>
              </a:ext>
            </a:extLst>
          </p:cNvPr>
          <p:cNvPicPr>
            <a:picLocks noChangeAspect="1"/>
          </p:cNvPicPr>
          <p:nvPr userDrawn="1"/>
        </p:nvPicPr>
        <p:blipFill rotWithShape="1">
          <a:blip r:embed="rId8"/>
          <a:srcRect b="35149"/>
          <a:stretch/>
        </p:blipFill>
        <p:spPr>
          <a:xfrm>
            <a:off x="1600791" y="5110645"/>
            <a:ext cx="2657304" cy="1747355"/>
          </a:xfrm>
          <a:prstGeom prst="rect">
            <a:avLst/>
          </a:prstGeom>
        </p:spPr>
      </p:pic>
      <p:sp>
        <p:nvSpPr>
          <p:cNvPr id="4" name="Text Placeholder 3">
            <a:extLst>
              <a:ext uri="{FF2B5EF4-FFF2-40B4-BE49-F238E27FC236}">
                <a16:creationId xmlns:a16="http://schemas.microsoft.com/office/drawing/2014/main" id="{18A4AC94-636B-6D44-9F0A-E4B9691571EF}"/>
              </a:ext>
            </a:extLst>
          </p:cNvPr>
          <p:cNvSpPr>
            <a:spLocks noGrp="1"/>
          </p:cNvSpPr>
          <p:nvPr>
            <p:ph type="body" sz="quarter" idx="10" hasCustomPrompt="1"/>
          </p:nvPr>
        </p:nvSpPr>
        <p:spPr>
          <a:xfrm>
            <a:off x="1522816" y="1706691"/>
            <a:ext cx="2902589" cy="2471840"/>
          </a:xfrm>
        </p:spPr>
        <p:txBody>
          <a:bodyPr/>
          <a:lstStyle>
            <a:lvl1pPr>
              <a:lnSpc>
                <a:spcPct val="100000"/>
              </a:lnSpc>
              <a:defRPr sz="4000" b="1" i="0">
                <a:solidFill>
                  <a:srgbClr val="FFFFFF"/>
                </a:solidFill>
                <a:latin typeface="Arial" panose="020B0604020202020204" pitchFamily="34" charset="0"/>
                <a:cs typeface="Arial" panose="020B0604020202020204" pitchFamily="34" charset="0"/>
              </a:defRPr>
            </a:lvl1pPr>
          </a:lstStyle>
          <a:p>
            <a:pPr lvl="0"/>
            <a:r>
              <a:rPr lang="en-US"/>
              <a:t>Every </a:t>
            </a:r>
            <a:br>
              <a:rPr lang="en-US"/>
            </a:br>
            <a:r>
              <a:rPr lang="en-US"/>
              <a:t>choice </a:t>
            </a:r>
            <a:br>
              <a:rPr lang="en-US"/>
            </a:br>
            <a:r>
              <a:rPr lang="en-US"/>
              <a:t>makes an impact.</a:t>
            </a:r>
          </a:p>
        </p:txBody>
      </p:sp>
      <p:sp>
        <p:nvSpPr>
          <p:cNvPr id="19" name="Slide Number Placeholder 4">
            <a:extLst>
              <a:ext uri="{FF2B5EF4-FFF2-40B4-BE49-F238E27FC236}">
                <a16:creationId xmlns:a16="http://schemas.microsoft.com/office/drawing/2014/main" id="{2A49B11E-F4EB-164F-A0F5-9170FB63383F}"/>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rgbClr val="FFFFFF"/>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20" name="Date Placeholder 5">
            <a:extLst>
              <a:ext uri="{FF2B5EF4-FFF2-40B4-BE49-F238E27FC236}">
                <a16:creationId xmlns:a16="http://schemas.microsoft.com/office/drawing/2014/main" id="{48887635-F1B5-B141-8B25-5C8498B4D5DE}"/>
              </a:ext>
            </a:extLst>
          </p:cNvPr>
          <p:cNvSpPr>
            <a:spLocks noGrp="1"/>
          </p:cNvSpPr>
          <p:nvPr>
            <p:ph type="dt" sz="half" idx="2"/>
          </p:nvPr>
        </p:nvSpPr>
        <p:spPr>
          <a:xfrm>
            <a:off x="406402" y="6444338"/>
            <a:ext cx="3000831" cy="366183"/>
          </a:xfrm>
          <a:prstGeom prst="rect">
            <a:avLst/>
          </a:prstGeom>
        </p:spPr>
        <p:txBody>
          <a:bodyPr vert="horz" lIns="0" tIns="45720" rIns="0" bIns="45720" rtlCol="0" anchor="b"/>
          <a:lstStyle>
            <a:lvl1pPr marL="0" marR="0" indent="0" algn="l" defTabSz="609570" rtl="0" eaLnBrk="1" fontAlgn="auto" latinLnBrk="0" hangingPunct="1">
              <a:lnSpc>
                <a:spcPct val="100000"/>
              </a:lnSpc>
              <a:spcBef>
                <a:spcPts val="0"/>
              </a:spcBef>
              <a:spcAft>
                <a:spcPts val="0"/>
              </a:spcAft>
              <a:buClrTx/>
              <a:buSzTx/>
              <a:buFontTx/>
              <a:buNone/>
              <a:tabLst/>
              <a:defRPr sz="1067" b="0" i="0">
                <a:solidFill>
                  <a:srgbClr val="FFFFFF"/>
                </a:solidFill>
                <a:latin typeface="Arial" panose="020B0604020202020204" pitchFamily="34" charset="0"/>
                <a:cs typeface="Arial" panose="020B0604020202020204" pitchFamily="34" charset="0"/>
              </a:defRPr>
            </a:lvl1pPr>
          </a:lstStyle>
          <a:p>
            <a:r>
              <a:rPr lang="en-US"/>
              <a:t>© 2018 Land O’Lakes, Inc.</a:t>
            </a:r>
          </a:p>
        </p:txBody>
      </p:sp>
    </p:spTree>
    <p:extLst>
      <p:ext uri="{BB962C8B-B14F-4D97-AF65-F5344CB8AC3E}">
        <p14:creationId xmlns:p14="http://schemas.microsoft.com/office/powerpoint/2010/main" val="4177918614"/>
      </p:ext>
    </p:extLst>
  </p:cSld>
  <p:clrMapOvr>
    <a:masterClrMapping/>
  </p:clrMapOvr>
  <p:extLst>
    <p:ext uri="{DCECCB84-F9BA-43D5-87BE-67443E8EF086}">
      <p15:sldGuideLst xmlns:p15="http://schemas.microsoft.com/office/powerpoint/2012/main">
        <p15:guide id="1" pos="76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3885260"/>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Header+Body Pattern_1">
    <p:bg>
      <p:bgPr>
        <a:solidFill>
          <a:srgbClr val="D1CCBD"/>
        </a:solidFill>
        <a:effectLst/>
      </p:bgPr>
    </p:bg>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3660A7EC-6C76-A543-8C99-F6C4B4CE9126}"/>
              </a:ext>
            </a:extLst>
          </p:cNvPr>
          <p:cNvPicPr>
            <a:picLocks noChangeAspect="1"/>
          </p:cNvPicPr>
          <p:nvPr userDrawn="1"/>
        </p:nvPicPr>
        <p:blipFill rotWithShape="1">
          <a:blip r:embed="rId2"/>
          <a:srcRect l="-3809" r="1" b="54347"/>
          <a:stretch/>
        </p:blipFill>
        <p:spPr>
          <a:xfrm>
            <a:off x="7670847" y="5627920"/>
            <a:ext cx="2758500" cy="1230083"/>
          </a:xfrm>
          <a:prstGeom prst="rect">
            <a:avLst/>
          </a:prstGeom>
        </p:spPr>
      </p:pic>
      <p:pic>
        <p:nvPicPr>
          <p:cNvPr id="30" name="Picture 29">
            <a:extLst>
              <a:ext uri="{FF2B5EF4-FFF2-40B4-BE49-F238E27FC236}">
                <a16:creationId xmlns:a16="http://schemas.microsoft.com/office/drawing/2014/main" id="{5AF61A8A-4162-8B48-971A-D26BD6731185}"/>
              </a:ext>
            </a:extLst>
          </p:cNvPr>
          <p:cNvPicPr>
            <a:picLocks noChangeAspect="1"/>
          </p:cNvPicPr>
          <p:nvPr userDrawn="1"/>
        </p:nvPicPr>
        <p:blipFill rotWithShape="1">
          <a:blip r:embed="rId3"/>
          <a:srcRect t="5717" r="45977" b="-2385"/>
          <a:stretch/>
        </p:blipFill>
        <p:spPr>
          <a:xfrm>
            <a:off x="10765681" y="3"/>
            <a:ext cx="1435559" cy="2604655"/>
          </a:xfrm>
          <a:prstGeom prst="rect">
            <a:avLst/>
          </a:prstGeom>
        </p:spPr>
      </p:pic>
      <p:pic>
        <p:nvPicPr>
          <p:cNvPr id="32" name="Picture 31">
            <a:extLst>
              <a:ext uri="{FF2B5EF4-FFF2-40B4-BE49-F238E27FC236}">
                <a16:creationId xmlns:a16="http://schemas.microsoft.com/office/drawing/2014/main" id="{CC600D1C-42EB-E046-B3B5-AE8CA927F767}"/>
              </a:ext>
            </a:extLst>
          </p:cNvPr>
          <p:cNvPicPr>
            <a:picLocks noChangeAspect="1"/>
          </p:cNvPicPr>
          <p:nvPr userDrawn="1"/>
        </p:nvPicPr>
        <p:blipFill rotWithShape="1">
          <a:blip r:embed="rId4"/>
          <a:srcRect r="46595"/>
          <a:stretch/>
        </p:blipFill>
        <p:spPr>
          <a:xfrm>
            <a:off x="10765681" y="3836063"/>
            <a:ext cx="1419113" cy="2694432"/>
          </a:xfrm>
          <a:prstGeom prst="rect">
            <a:avLst/>
          </a:prstGeom>
        </p:spPr>
      </p:pic>
      <p:pic>
        <p:nvPicPr>
          <p:cNvPr id="31" name="Picture 30">
            <a:extLst>
              <a:ext uri="{FF2B5EF4-FFF2-40B4-BE49-F238E27FC236}">
                <a16:creationId xmlns:a16="http://schemas.microsoft.com/office/drawing/2014/main" id="{E105918D-7273-4246-9136-6582EC8FCB28}"/>
              </a:ext>
            </a:extLst>
          </p:cNvPr>
          <p:cNvPicPr>
            <a:picLocks noChangeAspect="1"/>
          </p:cNvPicPr>
          <p:nvPr userDrawn="1"/>
        </p:nvPicPr>
        <p:blipFill rotWithShape="1">
          <a:blip r:embed="rId5"/>
          <a:srcRect l="-1" r="272"/>
          <a:stretch/>
        </p:blipFill>
        <p:spPr>
          <a:xfrm>
            <a:off x="4713834" y="3836063"/>
            <a:ext cx="2650095" cy="2694432"/>
          </a:xfrm>
          <a:prstGeom prst="rect">
            <a:avLst/>
          </a:prstGeom>
        </p:spPr>
      </p:pic>
      <p:pic>
        <p:nvPicPr>
          <p:cNvPr id="29" name="Picture 28">
            <a:extLst>
              <a:ext uri="{FF2B5EF4-FFF2-40B4-BE49-F238E27FC236}">
                <a16:creationId xmlns:a16="http://schemas.microsoft.com/office/drawing/2014/main" id="{739B8FAE-C8C2-FB49-886E-28DA2638357C}"/>
              </a:ext>
            </a:extLst>
          </p:cNvPr>
          <p:cNvPicPr>
            <a:picLocks noChangeAspect="1"/>
          </p:cNvPicPr>
          <p:nvPr userDrawn="1"/>
        </p:nvPicPr>
        <p:blipFill rotWithShape="1">
          <a:blip r:embed="rId3"/>
          <a:srcRect b="54347"/>
          <a:stretch/>
        </p:blipFill>
        <p:spPr>
          <a:xfrm>
            <a:off x="1714043" y="5627920"/>
            <a:ext cx="2657304" cy="1230083"/>
          </a:xfrm>
          <a:prstGeom prst="rect">
            <a:avLst/>
          </a:prstGeom>
        </p:spPr>
      </p:pic>
      <p:pic>
        <p:nvPicPr>
          <p:cNvPr id="27" name="Picture 26">
            <a:extLst>
              <a:ext uri="{FF2B5EF4-FFF2-40B4-BE49-F238E27FC236}">
                <a16:creationId xmlns:a16="http://schemas.microsoft.com/office/drawing/2014/main" id="{BC0C03A5-8119-3F46-AAA6-EB9076868352}"/>
              </a:ext>
            </a:extLst>
          </p:cNvPr>
          <p:cNvPicPr>
            <a:picLocks noChangeAspect="1"/>
          </p:cNvPicPr>
          <p:nvPr userDrawn="1"/>
        </p:nvPicPr>
        <p:blipFill rotWithShape="1">
          <a:blip r:embed="rId6"/>
          <a:srcRect l="48798" t="-3023" b="-1981"/>
          <a:stretch/>
        </p:blipFill>
        <p:spPr>
          <a:xfrm>
            <a:off x="-8874" y="3731691"/>
            <a:ext cx="1360577" cy="2829285"/>
          </a:xfrm>
          <a:prstGeom prst="rect">
            <a:avLst/>
          </a:prstGeom>
        </p:spPr>
      </p:pic>
      <p:pic>
        <p:nvPicPr>
          <p:cNvPr id="25" name="Picture 24">
            <a:extLst>
              <a:ext uri="{FF2B5EF4-FFF2-40B4-BE49-F238E27FC236}">
                <a16:creationId xmlns:a16="http://schemas.microsoft.com/office/drawing/2014/main" id="{77B624DC-DBB6-5741-8B86-EC0F5A59F9F5}"/>
              </a:ext>
            </a:extLst>
          </p:cNvPr>
          <p:cNvPicPr>
            <a:picLocks noChangeAspect="1"/>
          </p:cNvPicPr>
          <p:nvPr userDrawn="1"/>
        </p:nvPicPr>
        <p:blipFill>
          <a:blip r:embed="rId7"/>
          <a:stretch>
            <a:fillRect/>
          </a:stretch>
        </p:blipFill>
        <p:spPr>
          <a:xfrm>
            <a:off x="7711923" y="1820045"/>
            <a:ext cx="2717424" cy="2755392"/>
          </a:xfrm>
          <a:prstGeom prst="rect">
            <a:avLst/>
          </a:prstGeom>
        </p:spPr>
      </p:pic>
      <p:pic>
        <p:nvPicPr>
          <p:cNvPr id="17" name="Picture 16">
            <a:extLst>
              <a:ext uri="{FF2B5EF4-FFF2-40B4-BE49-F238E27FC236}">
                <a16:creationId xmlns:a16="http://schemas.microsoft.com/office/drawing/2014/main" id="{487192B4-2DC2-9F49-B79D-E7259AB00F9E}"/>
              </a:ext>
            </a:extLst>
          </p:cNvPr>
          <p:cNvPicPr>
            <a:picLocks noChangeAspect="1"/>
          </p:cNvPicPr>
          <p:nvPr userDrawn="1"/>
        </p:nvPicPr>
        <p:blipFill rotWithShape="1">
          <a:blip r:embed="rId6"/>
          <a:srcRect t="68106"/>
          <a:stretch/>
        </p:blipFill>
        <p:spPr>
          <a:xfrm>
            <a:off x="6557819" y="3"/>
            <a:ext cx="2657304" cy="859365"/>
          </a:xfrm>
          <a:prstGeom prst="rect">
            <a:avLst/>
          </a:prstGeom>
        </p:spPr>
      </p:pic>
      <p:sp>
        <p:nvSpPr>
          <p:cNvPr id="3" name="Text Placeholder 2">
            <a:extLst>
              <a:ext uri="{FF2B5EF4-FFF2-40B4-BE49-F238E27FC236}">
                <a16:creationId xmlns:a16="http://schemas.microsoft.com/office/drawing/2014/main" id="{1BDFDC55-0FBE-D541-8C39-5C4000D75B7E}"/>
              </a:ext>
            </a:extLst>
          </p:cNvPr>
          <p:cNvSpPr>
            <a:spLocks noGrp="1"/>
          </p:cNvSpPr>
          <p:nvPr>
            <p:ph type="body" sz="quarter" idx="10" hasCustomPrompt="1"/>
          </p:nvPr>
        </p:nvSpPr>
        <p:spPr>
          <a:xfrm>
            <a:off x="1034822" y="568059"/>
            <a:ext cx="5349353" cy="1134533"/>
          </a:xfrm>
        </p:spPr>
        <p:txBody>
          <a:bodyPr anchor="b"/>
          <a:lstStyle>
            <a:lvl1pPr>
              <a:defRPr sz="3733" b="1" i="0">
                <a:latin typeface="Arial Narrow" panose="020B0604020202020204" pitchFamily="34" charset="0"/>
                <a:cs typeface="Arial Narrow" panose="020B0604020202020204" pitchFamily="34" charset="0"/>
              </a:defRPr>
            </a:lvl1pPr>
          </a:lstStyle>
          <a:p>
            <a:pPr lvl="0"/>
            <a:r>
              <a:rPr lang="en-US"/>
              <a:t>CLICK TO ADD TITLE</a:t>
            </a:r>
          </a:p>
        </p:txBody>
      </p:sp>
      <p:sp>
        <p:nvSpPr>
          <p:cNvPr id="15" name="Text Placeholder 2">
            <a:extLst>
              <a:ext uri="{FF2B5EF4-FFF2-40B4-BE49-F238E27FC236}">
                <a16:creationId xmlns:a16="http://schemas.microsoft.com/office/drawing/2014/main" id="{85BAE778-3ECD-0545-BD55-BBE245D8AAFA}"/>
              </a:ext>
            </a:extLst>
          </p:cNvPr>
          <p:cNvSpPr>
            <a:spLocks noGrp="1"/>
          </p:cNvSpPr>
          <p:nvPr>
            <p:ph type="body" sz="quarter" idx="11" hasCustomPrompt="1"/>
          </p:nvPr>
        </p:nvSpPr>
        <p:spPr>
          <a:xfrm>
            <a:off x="1034820" y="1848123"/>
            <a:ext cx="5349355" cy="1580876"/>
          </a:xfrm>
        </p:spPr>
        <p:txBody>
          <a:bodyPr anchor="t"/>
          <a:lstStyle>
            <a:lvl1pPr algn="l">
              <a:lnSpc>
                <a:spcPct val="130000"/>
              </a:lnSpc>
              <a:defRPr sz="1867" b="0" i="0">
                <a:latin typeface="Arial" panose="020B0604020202020204" pitchFamily="34" charset="0"/>
                <a:cs typeface="Arial" panose="020B0604020202020204" pitchFamily="34" charset="0"/>
              </a:defRPr>
            </a:lvl1pPr>
          </a:lstStyle>
          <a:p>
            <a:pPr lvl="0"/>
            <a:r>
              <a:rPr lang="en-US"/>
              <a:t>Click to add text</a:t>
            </a:r>
          </a:p>
        </p:txBody>
      </p:sp>
      <p:sp>
        <p:nvSpPr>
          <p:cNvPr id="16" name="Slide Number Placeholder 4">
            <a:extLst>
              <a:ext uri="{FF2B5EF4-FFF2-40B4-BE49-F238E27FC236}">
                <a16:creationId xmlns:a16="http://schemas.microsoft.com/office/drawing/2014/main" id="{204E1059-F9A2-A04B-939D-2949B5376AAE}"/>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rgbClr val="FFFFFF"/>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8" name="Date Placeholder 5">
            <a:extLst>
              <a:ext uri="{FF2B5EF4-FFF2-40B4-BE49-F238E27FC236}">
                <a16:creationId xmlns:a16="http://schemas.microsoft.com/office/drawing/2014/main" id="{A729CD56-A2C8-B04F-B6A6-D0BEF1DA4815}"/>
              </a:ext>
            </a:extLst>
          </p:cNvPr>
          <p:cNvSpPr>
            <a:spLocks noGrp="1"/>
          </p:cNvSpPr>
          <p:nvPr>
            <p:ph type="dt" sz="half" idx="2"/>
          </p:nvPr>
        </p:nvSpPr>
        <p:spPr>
          <a:xfrm>
            <a:off x="406402" y="6444338"/>
            <a:ext cx="3000831" cy="366183"/>
          </a:xfrm>
          <a:prstGeom prst="rect">
            <a:avLst/>
          </a:prstGeom>
        </p:spPr>
        <p:txBody>
          <a:bodyPr vert="horz" lIns="0" tIns="45720" rIns="0" bIns="45720" rtlCol="0" anchor="b"/>
          <a:lstStyle>
            <a:lvl1pPr marL="0" marR="0" indent="0" algn="l" defTabSz="609570" rtl="0" eaLnBrk="1" fontAlgn="auto" latinLnBrk="0" hangingPunct="1">
              <a:lnSpc>
                <a:spcPct val="100000"/>
              </a:lnSpc>
              <a:spcBef>
                <a:spcPts val="0"/>
              </a:spcBef>
              <a:spcAft>
                <a:spcPts val="0"/>
              </a:spcAft>
              <a:buClrTx/>
              <a:buSzTx/>
              <a:buFontTx/>
              <a:buNone/>
              <a:tabLst/>
              <a:defRPr sz="1067" b="0" i="0">
                <a:solidFill>
                  <a:srgbClr val="FFFFFF"/>
                </a:solidFill>
                <a:latin typeface="Arial" panose="020B0604020202020204" pitchFamily="34" charset="0"/>
                <a:cs typeface="Arial" panose="020B0604020202020204" pitchFamily="34" charset="0"/>
              </a:defRPr>
            </a:lvl1pPr>
          </a:lstStyle>
          <a:p>
            <a:r>
              <a:rPr lang="en-US"/>
              <a:t>© 2018 Land O’Lakes, Inc.</a:t>
            </a:r>
          </a:p>
        </p:txBody>
      </p:sp>
    </p:spTree>
    <p:extLst>
      <p:ext uri="{BB962C8B-B14F-4D97-AF65-F5344CB8AC3E}">
        <p14:creationId xmlns:p14="http://schemas.microsoft.com/office/powerpoint/2010/main" val="2768156424"/>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Image+Paragraph_1">
    <p:bg>
      <p:bgPr>
        <a:solidFill>
          <a:srgbClr val="FFFFFF"/>
        </a:solidFill>
        <a:effectLst/>
      </p:bgPr>
    </p:bg>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37442F97-D2C6-B843-9A58-48306739EBC7}"/>
              </a:ext>
            </a:extLst>
          </p:cNvPr>
          <p:cNvCxnSpPr>
            <a:cxnSpLocks/>
          </p:cNvCxnSpPr>
          <p:nvPr userDrawn="1"/>
        </p:nvCxnSpPr>
        <p:spPr>
          <a:xfrm>
            <a:off x="6637867" y="1582329"/>
            <a:ext cx="45212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22BC833-79F7-F545-84C9-96B297EB6024}"/>
              </a:ext>
            </a:extLst>
          </p:cNvPr>
          <p:cNvSpPr txBox="1"/>
          <p:nvPr userDrawn="1"/>
        </p:nvSpPr>
        <p:spPr>
          <a:xfrm>
            <a:off x="267777" y="6581730"/>
            <a:ext cx="1266372" cy="143565"/>
          </a:xfrm>
          <a:prstGeom prst="rect">
            <a:avLst/>
          </a:prstGeom>
          <a:noFill/>
        </p:spPr>
        <p:txBody>
          <a:bodyPr wrap="none" lIns="0" tIns="0" rIns="0" bIns="0"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noFill/>
                </a:ln>
                <a:solidFill>
                  <a:srgbClr val="FFFFFF"/>
                </a:solidFill>
                <a:effectLst/>
                <a:uLnTx/>
                <a:uFillTx/>
                <a:latin typeface="Calibri Regular"/>
                <a:ea typeface="Campton Book" charset="0"/>
                <a:cs typeface="Arial" panose="020B0604020202020204" pitchFamily="34" charset="0"/>
                <a:sym typeface="Gill Sans" charset="0"/>
              </a:rPr>
              <a:t>© 2018 Land O’Lakes, Inc.</a:t>
            </a:r>
          </a:p>
        </p:txBody>
      </p:sp>
      <p:sp>
        <p:nvSpPr>
          <p:cNvPr id="13" name="Rectangle 12">
            <a:extLst>
              <a:ext uri="{FF2B5EF4-FFF2-40B4-BE49-F238E27FC236}">
                <a16:creationId xmlns:a16="http://schemas.microsoft.com/office/drawing/2014/main" id="{9CB103B6-3DC5-1A49-BB04-4E236C5AB632}"/>
              </a:ext>
            </a:extLst>
          </p:cNvPr>
          <p:cNvSpPr/>
          <p:nvPr userDrawn="1"/>
        </p:nvSpPr>
        <p:spPr>
          <a:xfrm>
            <a:off x="0" y="1"/>
            <a:ext cx="6096000" cy="6858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4" name="Picture Placeholder 2">
            <a:extLst>
              <a:ext uri="{FF2B5EF4-FFF2-40B4-BE49-F238E27FC236}">
                <a16:creationId xmlns:a16="http://schemas.microsoft.com/office/drawing/2014/main" id="{0E60F8E5-EC66-F04A-ABF1-DC8179ECBEB9}"/>
              </a:ext>
            </a:extLst>
          </p:cNvPr>
          <p:cNvSpPr>
            <a:spLocks noGrp="1"/>
          </p:cNvSpPr>
          <p:nvPr>
            <p:ph type="pic" sz="quarter" idx="10" hasCustomPrompt="1"/>
          </p:nvPr>
        </p:nvSpPr>
        <p:spPr>
          <a:xfrm>
            <a:off x="0" y="1"/>
            <a:ext cx="6096000" cy="6858000"/>
          </a:xfrm>
        </p:spPr>
        <p:txBody>
          <a:bodyPr lIns="457200" rIns="457200" anchor="ctr"/>
          <a:lstStyle>
            <a:lvl1pPr marL="0" marR="0" indent="0" algn="ctr" defTabSz="1219140" rtl="0" eaLnBrk="1" fontAlgn="auto" latinLnBrk="0" hangingPunct="1">
              <a:lnSpc>
                <a:spcPct val="90000"/>
              </a:lnSpc>
              <a:spcBef>
                <a:spcPts val="1333"/>
              </a:spcBef>
              <a:spcAft>
                <a:spcPts val="0"/>
              </a:spcAft>
              <a:buClrTx/>
              <a:buSzTx/>
              <a:buFont typeface="Arial" panose="020B0604020202020204" pitchFamily="34" charset="0"/>
              <a:buNone/>
              <a:tabLst/>
              <a:defRPr/>
            </a:lvl1pPr>
          </a:lstStyle>
          <a:p>
            <a:pPr marL="0" marR="0" lvl="0" indent="0" algn="ctr" defTabSz="1219140" rtl="0" eaLnBrk="1" fontAlgn="auto" latinLnBrk="0" hangingPunct="1">
              <a:lnSpc>
                <a:spcPct val="90000"/>
              </a:lnSpc>
              <a:spcBef>
                <a:spcPts val="1333"/>
              </a:spcBef>
              <a:spcAft>
                <a:spcPts val="0"/>
              </a:spcAft>
              <a:buClrTx/>
              <a:buSzTx/>
              <a:buFont typeface="Arial" panose="020B0604020202020204" pitchFamily="34" charset="0"/>
              <a:buNone/>
              <a:tabLst/>
              <a:defRPr/>
            </a:pPr>
            <a:r>
              <a:rPr lang="en-US"/>
              <a:t>See usage guide for instructions on how to find and place images from Percolate.</a:t>
            </a:r>
          </a:p>
        </p:txBody>
      </p:sp>
      <p:sp>
        <p:nvSpPr>
          <p:cNvPr id="5" name="Text Placeholder 4">
            <a:extLst>
              <a:ext uri="{FF2B5EF4-FFF2-40B4-BE49-F238E27FC236}">
                <a16:creationId xmlns:a16="http://schemas.microsoft.com/office/drawing/2014/main" id="{14A83961-1A86-8B43-B926-D1E081D63122}"/>
              </a:ext>
            </a:extLst>
          </p:cNvPr>
          <p:cNvSpPr>
            <a:spLocks noGrp="1"/>
          </p:cNvSpPr>
          <p:nvPr>
            <p:ph type="body" sz="quarter" idx="12" hasCustomPrompt="1"/>
          </p:nvPr>
        </p:nvSpPr>
        <p:spPr>
          <a:xfrm>
            <a:off x="6637867" y="434568"/>
            <a:ext cx="4521200" cy="931333"/>
          </a:xfrm>
        </p:spPr>
        <p:txBody>
          <a:bodyPr anchor="b"/>
          <a:lstStyle>
            <a:lvl1pPr>
              <a:defRPr sz="2933" b="1" i="0">
                <a:latin typeface="Arial Narrow" panose="020B0604020202020204" pitchFamily="34" charset="0"/>
                <a:cs typeface="Arial Narrow" panose="020B0604020202020204" pitchFamily="34" charset="0"/>
              </a:defRPr>
            </a:lvl1pPr>
          </a:lstStyle>
          <a:p>
            <a:pPr lvl="0"/>
            <a:r>
              <a:rPr lang="en-US"/>
              <a:t>CLICK TO EDIT MASTER TITLE STYLE</a:t>
            </a:r>
          </a:p>
        </p:txBody>
      </p:sp>
      <p:sp>
        <p:nvSpPr>
          <p:cNvPr id="6" name="Text Placeholder 5">
            <a:extLst>
              <a:ext uri="{FF2B5EF4-FFF2-40B4-BE49-F238E27FC236}">
                <a16:creationId xmlns:a16="http://schemas.microsoft.com/office/drawing/2014/main" id="{4D47B99E-4E9C-6E44-AFE8-6B39A1A0ADF2}"/>
              </a:ext>
            </a:extLst>
          </p:cNvPr>
          <p:cNvSpPr>
            <a:spLocks noGrp="1"/>
          </p:cNvSpPr>
          <p:nvPr>
            <p:ph type="body" sz="quarter" idx="13" hasCustomPrompt="1"/>
          </p:nvPr>
        </p:nvSpPr>
        <p:spPr>
          <a:xfrm>
            <a:off x="6637867" y="1873252"/>
            <a:ext cx="4521200" cy="4461933"/>
          </a:xfrm>
        </p:spPr>
        <p:txBody>
          <a:bodyPr/>
          <a:lstStyle>
            <a:lvl1pPr algn="l">
              <a:lnSpc>
                <a:spcPct val="130000"/>
              </a:lnSpc>
              <a:defRPr sz="16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Donec</a:t>
            </a:r>
            <a:r>
              <a:rPr lang="en-US"/>
              <a:t> maximus </a:t>
            </a:r>
            <a:r>
              <a:rPr lang="en-US" err="1"/>
              <a:t>velit</a:t>
            </a:r>
            <a:r>
              <a:rPr lang="en-US"/>
              <a:t> </a:t>
            </a:r>
            <a:r>
              <a:rPr lang="en-US" err="1"/>
              <a:t>sed</a:t>
            </a:r>
            <a:r>
              <a:rPr lang="en-US"/>
              <a:t> </a:t>
            </a:r>
            <a:r>
              <a:rPr lang="en-US" err="1"/>
              <a:t>urna</a:t>
            </a:r>
            <a:r>
              <a:rPr lang="en-US"/>
              <a:t> </a:t>
            </a:r>
            <a:r>
              <a:rPr lang="en-US" err="1"/>
              <a:t>sollicitudin</a:t>
            </a:r>
            <a:r>
              <a:rPr lang="en-US"/>
              <a:t> </a:t>
            </a:r>
            <a:r>
              <a:rPr lang="en-US" err="1"/>
              <a:t>ultricies</a:t>
            </a:r>
            <a:r>
              <a:rPr lang="en-US"/>
              <a:t>. Nam </a:t>
            </a:r>
            <a:r>
              <a:rPr lang="en-US" err="1"/>
              <a:t>nunc</a:t>
            </a:r>
            <a:r>
              <a:rPr lang="en-US"/>
              <a:t> </a:t>
            </a:r>
            <a:r>
              <a:rPr lang="en-US" err="1"/>
              <a:t>mauris</a:t>
            </a:r>
            <a:r>
              <a:rPr lang="en-US"/>
              <a:t>, </a:t>
            </a:r>
            <a:r>
              <a:rPr lang="en-US" err="1"/>
              <a:t>auctor</a:t>
            </a:r>
            <a:r>
              <a:rPr lang="en-US"/>
              <a:t> </a:t>
            </a:r>
            <a:r>
              <a:rPr lang="en-US" err="1"/>
              <a:t>nec</a:t>
            </a:r>
            <a:r>
              <a:rPr lang="en-US"/>
              <a:t> </a:t>
            </a:r>
            <a:r>
              <a:rPr lang="en-US" err="1"/>
              <a:t>suscipit</a:t>
            </a:r>
            <a:r>
              <a:rPr lang="en-US"/>
              <a:t> id, porta </a:t>
            </a:r>
            <a:r>
              <a:rPr lang="en-US" err="1"/>
              <a:t>eget</a:t>
            </a:r>
            <a:r>
              <a:rPr lang="en-US"/>
              <a:t> </a:t>
            </a:r>
            <a:r>
              <a:rPr lang="en-US" err="1"/>
              <a:t>neque</a:t>
            </a:r>
            <a:r>
              <a:rPr lang="en-US"/>
              <a:t>. </a:t>
            </a:r>
            <a:r>
              <a:rPr lang="en-US" err="1"/>
              <a:t>Proin</a:t>
            </a:r>
            <a:r>
              <a:rPr lang="en-US"/>
              <a:t> vitae gravida magna. </a:t>
            </a:r>
            <a:r>
              <a:rPr lang="en-US" err="1"/>
              <a:t>Nullam</a:t>
            </a:r>
            <a:r>
              <a:rPr lang="en-US"/>
              <a:t> pharetra </a:t>
            </a:r>
            <a:r>
              <a:rPr lang="en-US" err="1"/>
              <a:t>rutrum</a:t>
            </a:r>
            <a:r>
              <a:rPr lang="en-US"/>
              <a:t> </a:t>
            </a:r>
            <a:r>
              <a:rPr lang="en-US" err="1"/>
              <a:t>odio</a:t>
            </a:r>
            <a:r>
              <a:rPr lang="en-US"/>
              <a:t>.</a:t>
            </a:r>
          </a:p>
        </p:txBody>
      </p:sp>
      <p:sp>
        <p:nvSpPr>
          <p:cNvPr id="10" name="Slide Number Placeholder 4">
            <a:extLst>
              <a:ext uri="{FF2B5EF4-FFF2-40B4-BE49-F238E27FC236}">
                <a16:creationId xmlns:a16="http://schemas.microsoft.com/office/drawing/2014/main" id="{EB843686-314E-4144-B554-BCC8B066E0B7}"/>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chemeClr val="tx1"/>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1" name="Date Placeholder 5">
            <a:extLst>
              <a:ext uri="{FF2B5EF4-FFF2-40B4-BE49-F238E27FC236}">
                <a16:creationId xmlns:a16="http://schemas.microsoft.com/office/drawing/2014/main" id="{FE48FFA1-B2D4-7B4A-BEF9-DEC9D0ED274C}"/>
              </a:ext>
            </a:extLst>
          </p:cNvPr>
          <p:cNvSpPr>
            <a:spLocks noGrp="1"/>
          </p:cNvSpPr>
          <p:nvPr>
            <p:ph type="dt" sz="half" idx="2"/>
          </p:nvPr>
        </p:nvSpPr>
        <p:spPr>
          <a:xfrm>
            <a:off x="406402" y="6444338"/>
            <a:ext cx="3000831" cy="366183"/>
          </a:xfrm>
          <a:prstGeom prst="rect">
            <a:avLst/>
          </a:prstGeom>
        </p:spPr>
        <p:txBody>
          <a:bodyPr vert="horz" lIns="0" tIns="45720" rIns="0" bIns="45720" rtlCol="0" anchor="b"/>
          <a:lstStyle>
            <a:lvl1pPr marL="0" marR="0" indent="0" algn="l" defTabSz="609570" rtl="0" eaLnBrk="1" fontAlgn="auto" latinLnBrk="0" hangingPunct="1">
              <a:lnSpc>
                <a:spcPct val="100000"/>
              </a:lnSpc>
              <a:spcBef>
                <a:spcPts val="0"/>
              </a:spcBef>
              <a:spcAft>
                <a:spcPts val="0"/>
              </a:spcAft>
              <a:buClrTx/>
              <a:buSzTx/>
              <a:buFontTx/>
              <a:buNone/>
              <a:tabLst/>
              <a:defRPr sz="1067" b="0" i="0">
                <a:solidFill>
                  <a:schemeClr val="tx1"/>
                </a:solidFill>
                <a:latin typeface="Arial" panose="020B0604020202020204" pitchFamily="34" charset="0"/>
                <a:cs typeface="Arial" panose="020B0604020202020204" pitchFamily="34" charset="0"/>
              </a:defRPr>
            </a:lvl1pPr>
          </a:lstStyle>
          <a:p>
            <a:r>
              <a:rPr lang="en-US"/>
              <a:t>© 2018 Land O’Lakes, Inc.</a:t>
            </a:r>
          </a:p>
        </p:txBody>
      </p:sp>
    </p:spTree>
    <p:extLst>
      <p:ext uri="{BB962C8B-B14F-4D97-AF65-F5344CB8AC3E}">
        <p14:creationId xmlns:p14="http://schemas.microsoft.com/office/powerpoint/2010/main" val="4114778854"/>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Beig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012FEBC-DA6E-8C44-BE75-3A49B3C512E6}"/>
              </a:ext>
            </a:extLst>
          </p:cNvPr>
          <p:cNvSpPr>
            <a:spLocks noGrp="1"/>
          </p:cNvSpPr>
          <p:nvPr>
            <p:ph type="body" sz="quarter" idx="13" hasCustomPrompt="1"/>
          </p:nvPr>
        </p:nvSpPr>
        <p:spPr>
          <a:xfrm>
            <a:off x="406401" y="1720850"/>
            <a:ext cx="11114617" cy="4381043"/>
          </a:xfrm>
        </p:spPr>
        <p:txBody>
          <a:bodyPr/>
          <a:lstStyle/>
          <a:p>
            <a:pPr lvl="0"/>
            <a:r>
              <a:rPr lang="en-US"/>
              <a:t>Click to add text</a:t>
            </a:r>
          </a:p>
        </p:txBody>
      </p:sp>
      <p:sp>
        <p:nvSpPr>
          <p:cNvPr id="9" name="Slide Number Placeholder 4">
            <a:extLst>
              <a:ext uri="{FF2B5EF4-FFF2-40B4-BE49-F238E27FC236}">
                <a16:creationId xmlns:a16="http://schemas.microsoft.com/office/drawing/2014/main" id="{7410A390-FD65-274F-B376-CED06693AA32}"/>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chemeClr val="tx1"/>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0" name="Date Placeholder 5">
            <a:extLst>
              <a:ext uri="{FF2B5EF4-FFF2-40B4-BE49-F238E27FC236}">
                <a16:creationId xmlns:a16="http://schemas.microsoft.com/office/drawing/2014/main" id="{AEED49A8-31E1-304F-86B7-577233A2ED99}"/>
              </a:ext>
            </a:extLst>
          </p:cNvPr>
          <p:cNvSpPr>
            <a:spLocks noGrp="1"/>
          </p:cNvSpPr>
          <p:nvPr>
            <p:ph type="dt" sz="half" idx="2"/>
          </p:nvPr>
        </p:nvSpPr>
        <p:spPr>
          <a:xfrm>
            <a:off x="406402" y="6444338"/>
            <a:ext cx="3000831" cy="366183"/>
          </a:xfrm>
          <a:prstGeom prst="rect">
            <a:avLst/>
          </a:prstGeom>
        </p:spPr>
        <p:txBody>
          <a:bodyPr vert="horz" lIns="0" tIns="45720" rIns="0" bIns="45720" rtlCol="0" anchor="b"/>
          <a:lstStyle>
            <a:lvl1pPr marL="0" marR="0" indent="0" algn="l" defTabSz="609570" rtl="0" eaLnBrk="1" fontAlgn="auto" latinLnBrk="0" hangingPunct="1">
              <a:lnSpc>
                <a:spcPct val="100000"/>
              </a:lnSpc>
              <a:spcBef>
                <a:spcPts val="0"/>
              </a:spcBef>
              <a:spcAft>
                <a:spcPts val="0"/>
              </a:spcAft>
              <a:buClrTx/>
              <a:buSzTx/>
              <a:buFontTx/>
              <a:buNone/>
              <a:tabLst/>
              <a:defRPr sz="1067" b="0" i="0">
                <a:solidFill>
                  <a:schemeClr val="tx1"/>
                </a:solidFill>
                <a:latin typeface="Arial" panose="020B0604020202020204" pitchFamily="34" charset="0"/>
                <a:cs typeface="Arial" panose="020B0604020202020204" pitchFamily="34" charset="0"/>
              </a:defRPr>
            </a:lvl1pPr>
          </a:lstStyle>
          <a:p>
            <a:r>
              <a:rPr lang="en-US"/>
              <a:t>© 2018 Land O’Lakes, Inc.</a:t>
            </a:r>
          </a:p>
        </p:txBody>
      </p:sp>
      <p:sp>
        <p:nvSpPr>
          <p:cNvPr id="11" name="Title 6">
            <a:extLst>
              <a:ext uri="{FF2B5EF4-FFF2-40B4-BE49-F238E27FC236}">
                <a16:creationId xmlns:a16="http://schemas.microsoft.com/office/drawing/2014/main" id="{EFE852F4-AB63-7547-BC89-26DEDF6BBA40}"/>
              </a:ext>
            </a:extLst>
          </p:cNvPr>
          <p:cNvSpPr>
            <a:spLocks noGrp="1"/>
          </p:cNvSpPr>
          <p:nvPr>
            <p:ph type="title"/>
          </p:nvPr>
        </p:nvSpPr>
        <p:spPr>
          <a:xfrm>
            <a:off x="406400" y="172281"/>
            <a:ext cx="11115040" cy="992713"/>
          </a:xfrm>
          <a:prstGeom prst="rect">
            <a:avLst/>
          </a:prstGeom>
        </p:spPr>
        <p:txBody>
          <a:bodyPr lIns="0" anchor="b">
            <a:normAutofit/>
          </a:bodyPr>
          <a:lstStyle>
            <a:lvl1pPr>
              <a:defRPr sz="3467" b="1" i="0">
                <a:solidFill>
                  <a:schemeClr val="tx1"/>
                </a:solidFill>
                <a:latin typeface="Arial Bold"/>
              </a:defRPr>
            </a:lvl1pPr>
          </a:lstStyle>
          <a:p>
            <a:r>
              <a:rPr lang="en-US"/>
              <a:t>Click to edit Master title style</a:t>
            </a:r>
          </a:p>
        </p:txBody>
      </p:sp>
      <p:sp>
        <p:nvSpPr>
          <p:cNvPr id="12" name="Text Placeholder 2">
            <a:extLst>
              <a:ext uri="{FF2B5EF4-FFF2-40B4-BE49-F238E27FC236}">
                <a16:creationId xmlns:a16="http://schemas.microsoft.com/office/drawing/2014/main" id="{3CC38D49-EA08-3E47-9EDD-A7703EAB31F4}"/>
              </a:ext>
            </a:extLst>
          </p:cNvPr>
          <p:cNvSpPr>
            <a:spLocks noGrp="1"/>
          </p:cNvSpPr>
          <p:nvPr>
            <p:ph type="body" sz="quarter" idx="12" hasCustomPrompt="1"/>
          </p:nvPr>
        </p:nvSpPr>
        <p:spPr>
          <a:xfrm>
            <a:off x="406402" y="1173004"/>
            <a:ext cx="11114617" cy="334433"/>
          </a:xfrm>
        </p:spPr>
        <p:txBody>
          <a:bodyPr/>
          <a:lstStyle>
            <a:lvl1pPr>
              <a:defRPr sz="2133" b="1">
                <a:solidFill>
                  <a:schemeClr val="tx1"/>
                </a:solidFill>
              </a:defRPr>
            </a:lvl1pPr>
          </a:lstStyle>
          <a:p>
            <a:pPr lvl="0"/>
            <a:r>
              <a:rPr lang="en-US"/>
              <a:t>Click to edit subhead</a:t>
            </a:r>
          </a:p>
        </p:txBody>
      </p:sp>
    </p:spTree>
    <p:extLst>
      <p:ext uri="{BB962C8B-B14F-4D97-AF65-F5344CB8AC3E}">
        <p14:creationId xmlns:p14="http://schemas.microsoft.com/office/powerpoint/2010/main" val="180669038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Teal">
    <p:bg>
      <p:bgPr>
        <a:solidFill>
          <a:schemeClr val="accent4"/>
        </a:solidFill>
        <a:effectLst/>
      </p:bgPr>
    </p:bg>
    <p:spTree>
      <p:nvGrpSpPr>
        <p:cNvPr id="1" name=""/>
        <p:cNvGrpSpPr/>
        <p:nvPr/>
      </p:nvGrpSpPr>
      <p:grpSpPr>
        <a:xfrm>
          <a:off x="0" y="0"/>
          <a:ext cx="0" cy="0"/>
          <a:chOff x="0" y="0"/>
          <a:chExt cx="0" cy="0"/>
        </a:xfrm>
      </p:grpSpPr>
      <p:sp>
        <p:nvSpPr>
          <p:cNvPr id="7" name="Slide Number Placeholder 4">
            <a:extLst>
              <a:ext uri="{FF2B5EF4-FFF2-40B4-BE49-F238E27FC236}">
                <a16:creationId xmlns:a16="http://schemas.microsoft.com/office/drawing/2014/main" id="{DC4FDEDB-1706-4648-95B5-DE824FEF5C88}"/>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rgbClr val="FFFFFF"/>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8" name="Date Placeholder 5">
            <a:extLst>
              <a:ext uri="{FF2B5EF4-FFF2-40B4-BE49-F238E27FC236}">
                <a16:creationId xmlns:a16="http://schemas.microsoft.com/office/drawing/2014/main" id="{57124A16-A14B-204E-97E5-6F4CCCBD4E57}"/>
              </a:ext>
            </a:extLst>
          </p:cNvPr>
          <p:cNvSpPr>
            <a:spLocks noGrp="1"/>
          </p:cNvSpPr>
          <p:nvPr>
            <p:ph type="dt" sz="half" idx="2"/>
          </p:nvPr>
        </p:nvSpPr>
        <p:spPr>
          <a:xfrm>
            <a:off x="406402" y="6444338"/>
            <a:ext cx="3000831" cy="366183"/>
          </a:xfrm>
          <a:prstGeom prst="rect">
            <a:avLst/>
          </a:prstGeom>
        </p:spPr>
        <p:txBody>
          <a:bodyPr vert="horz" lIns="0" tIns="45720" rIns="0" bIns="45720" rtlCol="0" anchor="b"/>
          <a:lstStyle>
            <a:lvl1pPr marL="0" marR="0" indent="0" algn="l" defTabSz="609570" rtl="0" eaLnBrk="1" fontAlgn="auto" latinLnBrk="0" hangingPunct="1">
              <a:lnSpc>
                <a:spcPct val="100000"/>
              </a:lnSpc>
              <a:spcBef>
                <a:spcPts val="0"/>
              </a:spcBef>
              <a:spcAft>
                <a:spcPts val="0"/>
              </a:spcAft>
              <a:buClrTx/>
              <a:buSzTx/>
              <a:buFontTx/>
              <a:buNone/>
              <a:tabLst/>
              <a:defRPr sz="1067" b="0" i="0">
                <a:solidFill>
                  <a:srgbClr val="FFFFFF"/>
                </a:solidFill>
                <a:latin typeface="Arial" panose="020B0604020202020204" pitchFamily="34" charset="0"/>
                <a:cs typeface="Arial" panose="020B0604020202020204" pitchFamily="34" charset="0"/>
              </a:defRPr>
            </a:lvl1pPr>
          </a:lstStyle>
          <a:p>
            <a:r>
              <a:rPr lang="en-US"/>
              <a:t>© 2018 Land O’Lakes, Inc.</a:t>
            </a:r>
          </a:p>
        </p:txBody>
      </p:sp>
      <p:sp>
        <p:nvSpPr>
          <p:cNvPr id="9" name="Title 6">
            <a:extLst>
              <a:ext uri="{FF2B5EF4-FFF2-40B4-BE49-F238E27FC236}">
                <a16:creationId xmlns:a16="http://schemas.microsoft.com/office/drawing/2014/main" id="{A066783D-787E-F94C-8E1C-C0DD2C7D3626}"/>
              </a:ext>
            </a:extLst>
          </p:cNvPr>
          <p:cNvSpPr>
            <a:spLocks noGrp="1"/>
          </p:cNvSpPr>
          <p:nvPr>
            <p:ph type="title"/>
          </p:nvPr>
        </p:nvSpPr>
        <p:spPr>
          <a:xfrm>
            <a:off x="406400" y="172281"/>
            <a:ext cx="11115040" cy="992713"/>
          </a:xfrm>
          <a:prstGeom prst="rect">
            <a:avLst/>
          </a:prstGeom>
        </p:spPr>
        <p:txBody>
          <a:bodyPr lIns="0" anchor="b">
            <a:normAutofit/>
          </a:bodyPr>
          <a:lstStyle>
            <a:lvl1pPr>
              <a:defRPr sz="3467" b="1" i="0">
                <a:solidFill>
                  <a:srgbClr val="FFFFFF"/>
                </a:solidFill>
                <a:latin typeface="Arial Bold"/>
              </a:defRPr>
            </a:lvl1pPr>
          </a:lstStyle>
          <a:p>
            <a:r>
              <a:rPr lang="en-US"/>
              <a:t>Click to edit Master title style</a:t>
            </a:r>
          </a:p>
        </p:txBody>
      </p:sp>
      <p:sp>
        <p:nvSpPr>
          <p:cNvPr id="10" name="Text Placeholder 2">
            <a:extLst>
              <a:ext uri="{FF2B5EF4-FFF2-40B4-BE49-F238E27FC236}">
                <a16:creationId xmlns:a16="http://schemas.microsoft.com/office/drawing/2014/main" id="{10056DE1-38C2-E54C-A861-3C261D3556EA}"/>
              </a:ext>
            </a:extLst>
          </p:cNvPr>
          <p:cNvSpPr>
            <a:spLocks noGrp="1"/>
          </p:cNvSpPr>
          <p:nvPr>
            <p:ph type="body" sz="quarter" idx="12" hasCustomPrompt="1"/>
          </p:nvPr>
        </p:nvSpPr>
        <p:spPr>
          <a:xfrm>
            <a:off x="406402" y="1173004"/>
            <a:ext cx="11114617" cy="334433"/>
          </a:xfrm>
        </p:spPr>
        <p:txBody>
          <a:bodyPr/>
          <a:lstStyle>
            <a:lvl1pPr>
              <a:defRPr sz="2133">
                <a:solidFill>
                  <a:srgbClr val="FFFFFF"/>
                </a:solidFill>
              </a:defRPr>
            </a:lvl1pPr>
          </a:lstStyle>
          <a:p>
            <a:pPr lvl="0"/>
            <a:r>
              <a:rPr lang="en-US"/>
              <a:t>Click to edit subhead</a:t>
            </a:r>
          </a:p>
        </p:txBody>
      </p:sp>
      <p:sp>
        <p:nvSpPr>
          <p:cNvPr id="6" name="Text Placeholder 3">
            <a:extLst>
              <a:ext uri="{FF2B5EF4-FFF2-40B4-BE49-F238E27FC236}">
                <a16:creationId xmlns:a16="http://schemas.microsoft.com/office/drawing/2014/main" id="{A9F2E435-0E28-6843-B274-82CC2F36F1B8}"/>
              </a:ext>
            </a:extLst>
          </p:cNvPr>
          <p:cNvSpPr>
            <a:spLocks noGrp="1"/>
          </p:cNvSpPr>
          <p:nvPr>
            <p:ph type="body" sz="quarter" idx="13" hasCustomPrompt="1"/>
          </p:nvPr>
        </p:nvSpPr>
        <p:spPr>
          <a:xfrm>
            <a:off x="406401" y="1720850"/>
            <a:ext cx="11114617" cy="4381043"/>
          </a:xfrm>
        </p:spPr>
        <p:txBody>
          <a:bodyPr/>
          <a:lstStyle>
            <a:lvl1pPr>
              <a:defRPr>
                <a:solidFill>
                  <a:srgbClr val="FFFFFF"/>
                </a:solidFill>
              </a:defRPr>
            </a:lvl1pPr>
          </a:lstStyle>
          <a:p>
            <a:pPr lvl="0"/>
            <a:r>
              <a:rPr lang="en-US"/>
              <a:t>Click to add text</a:t>
            </a:r>
          </a:p>
        </p:txBody>
      </p:sp>
    </p:spTree>
    <p:extLst>
      <p:ext uri="{BB962C8B-B14F-4D97-AF65-F5344CB8AC3E}">
        <p14:creationId xmlns:p14="http://schemas.microsoft.com/office/powerpoint/2010/main" val="101752600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 Subhead Dk Green">
    <p:bg>
      <p:bgPr>
        <a:solidFill>
          <a:srgbClr val="FFFFFF"/>
        </a:solidFill>
        <a:effectLst/>
      </p:bgPr>
    </p:bg>
    <p:spTree>
      <p:nvGrpSpPr>
        <p:cNvPr id="1" name=""/>
        <p:cNvGrpSpPr/>
        <p:nvPr/>
      </p:nvGrpSpPr>
      <p:grpSpPr>
        <a:xfrm>
          <a:off x="0" y="0"/>
          <a:ext cx="0" cy="0"/>
          <a:chOff x="0" y="0"/>
          <a:chExt cx="0" cy="0"/>
        </a:xfrm>
      </p:grpSpPr>
      <p:sp>
        <p:nvSpPr>
          <p:cNvPr id="9" name="Slide Number Placeholder 4">
            <a:extLst>
              <a:ext uri="{FF2B5EF4-FFF2-40B4-BE49-F238E27FC236}">
                <a16:creationId xmlns:a16="http://schemas.microsoft.com/office/drawing/2014/main" id="{7410A390-FD65-274F-B376-CED06693AA32}"/>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chemeClr val="tx1"/>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1" name="Title 6">
            <a:extLst>
              <a:ext uri="{FF2B5EF4-FFF2-40B4-BE49-F238E27FC236}">
                <a16:creationId xmlns:a16="http://schemas.microsoft.com/office/drawing/2014/main" id="{EFE852F4-AB63-7547-BC89-26DEDF6BBA40}"/>
              </a:ext>
            </a:extLst>
          </p:cNvPr>
          <p:cNvSpPr>
            <a:spLocks noGrp="1"/>
          </p:cNvSpPr>
          <p:nvPr>
            <p:ph type="title"/>
          </p:nvPr>
        </p:nvSpPr>
        <p:spPr>
          <a:xfrm>
            <a:off x="609600" y="172281"/>
            <a:ext cx="10911840" cy="992713"/>
          </a:xfrm>
          <a:prstGeom prst="rect">
            <a:avLst/>
          </a:prstGeom>
        </p:spPr>
        <p:txBody>
          <a:bodyPr lIns="0" anchor="b">
            <a:normAutofit/>
          </a:bodyPr>
          <a:lstStyle>
            <a:lvl1pPr>
              <a:defRPr sz="3467" b="1" i="0">
                <a:solidFill>
                  <a:schemeClr val="tx1"/>
                </a:solidFill>
                <a:latin typeface="Arial Bold"/>
              </a:defRPr>
            </a:lvl1pPr>
          </a:lstStyle>
          <a:p>
            <a:r>
              <a:rPr lang="en-US"/>
              <a:t>Click to edit Master title style</a:t>
            </a:r>
          </a:p>
        </p:txBody>
      </p:sp>
      <p:sp>
        <p:nvSpPr>
          <p:cNvPr id="12" name="Text Placeholder 2">
            <a:extLst>
              <a:ext uri="{FF2B5EF4-FFF2-40B4-BE49-F238E27FC236}">
                <a16:creationId xmlns:a16="http://schemas.microsoft.com/office/drawing/2014/main" id="{3CC38D49-EA08-3E47-9EDD-A7703EAB31F4}"/>
              </a:ext>
            </a:extLst>
          </p:cNvPr>
          <p:cNvSpPr>
            <a:spLocks noGrp="1"/>
          </p:cNvSpPr>
          <p:nvPr>
            <p:ph type="body" sz="quarter" idx="12" hasCustomPrompt="1"/>
          </p:nvPr>
        </p:nvSpPr>
        <p:spPr>
          <a:xfrm>
            <a:off x="609600" y="1173004"/>
            <a:ext cx="10911840" cy="334433"/>
          </a:xfrm>
        </p:spPr>
        <p:txBody>
          <a:bodyPr/>
          <a:lstStyle>
            <a:lvl1pPr>
              <a:defRPr sz="2133">
                <a:solidFill>
                  <a:schemeClr val="tx1"/>
                </a:solidFill>
              </a:defRPr>
            </a:lvl1pPr>
          </a:lstStyle>
          <a:p>
            <a:pPr lvl="0"/>
            <a:r>
              <a:rPr lang="en-US"/>
              <a:t>Click to edit subhead</a:t>
            </a:r>
          </a:p>
        </p:txBody>
      </p:sp>
      <p:sp>
        <p:nvSpPr>
          <p:cNvPr id="8" name="Rectangle 7">
            <a:extLst>
              <a:ext uri="{FF2B5EF4-FFF2-40B4-BE49-F238E27FC236}">
                <a16:creationId xmlns:a16="http://schemas.microsoft.com/office/drawing/2014/main" id="{4319DFF1-C689-8843-B4DC-DB712ACA1C4E}"/>
              </a:ext>
            </a:extLst>
          </p:cNvPr>
          <p:cNvSpPr/>
          <p:nvPr userDrawn="1"/>
        </p:nvSpPr>
        <p:spPr>
          <a:xfrm>
            <a:off x="1" y="0"/>
            <a:ext cx="18756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CBC9BB"/>
              </a:solidFill>
              <a:effectLst/>
              <a:uLnTx/>
              <a:uFillTx/>
              <a:latin typeface="Arial" panose="020B0604020202020204"/>
              <a:ea typeface="+mn-ea"/>
              <a:cs typeface="+mn-cs"/>
            </a:endParaRPr>
          </a:p>
        </p:txBody>
      </p:sp>
      <p:sp>
        <p:nvSpPr>
          <p:cNvPr id="7" name="Text Placeholder 3">
            <a:extLst>
              <a:ext uri="{FF2B5EF4-FFF2-40B4-BE49-F238E27FC236}">
                <a16:creationId xmlns:a16="http://schemas.microsoft.com/office/drawing/2014/main" id="{8019906A-6E75-7B4B-91F7-FA467475B7EC}"/>
              </a:ext>
            </a:extLst>
          </p:cNvPr>
          <p:cNvSpPr>
            <a:spLocks noGrp="1"/>
          </p:cNvSpPr>
          <p:nvPr>
            <p:ph type="body" sz="quarter" idx="13" hasCustomPrompt="1"/>
          </p:nvPr>
        </p:nvSpPr>
        <p:spPr>
          <a:xfrm>
            <a:off x="609602" y="1720850"/>
            <a:ext cx="11114617" cy="4381043"/>
          </a:xfrm>
        </p:spPr>
        <p:txBody>
          <a:bodyPr/>
          <a:lstStyle/>
          <a:p>
            <a:pPr lvl="0"/>
            <a:r>
              <a:rPr lang="en-US"/>
              <a:t>Click to add text</a:t>
            </a:r>
          </a:p>
        </p:txBody>
      </p:sp>
      <p:sp>
        <p:nvSpPr>
          <p:cNvPr id="13" name="Date Placeholder 2">
            <a:extLst>
              <a:ext uri="{FF2B5EF4-FFF2-40B4-BE49-F238E27FC236}">
                <a16:creationId xmlns:a16="http://schemas.microsoft.com/office/drawing/2014/main" id="{F92C9559-7DB0-4FD4-89B0-5F75EB1E0BC0}"/>
              </a:ext>
            </a:extLst>
          </p:cNvPr>
          <p:cNvSpPr txBox="1">
            <a:spLocks/>
          </p:cNvSpPr>
          <p:nvPr userDrawn="1"/>
        </p:nvSpPr>
        <p:spPr>
          <a:xfrm>
            <a:off x="209551" y="6538913"/>
            <a:ext cx="3000375" cy="366712"/>
          </a:xfrm>
          <a:prstGeom prst="rect">
            <a:avLst/>
          </a:prstGeom>
        </p:spPr>
        <p:txBody>
          <a:bodyPr vert="horz" lIns="0" tIns="45720" rIns="0" bIns="45720" rtlCol="0" anchor="b"/>
          <a:lstStyle>
            <a:defPPr>
              <a:defRPr lang="en-US"/>
            </a:defPPr>
            <a:lvl1pPr marL="0" marR="0" indent="0" algn="l" defTabSz="609585" rtl="0" eaLnBrk="1" fontAlgn="auto" latinLnBrk="0" hangingPunct="1">
              <a:lnSpc>
                <a:spcPct val="100000"/>
              </a:lnSpc>
              <a:spcBef>
                <a:spcPts val="0"/>
              </a:spcBef>
              <a:spcAft>
                <a:spcPts val="0"/>
              </a:spcAft>
              <a:buClrTx/>
              <a:buSzTx/>
              <a:buFontTx/>
              <a:buNone/>
              <a:tabLst/>
              <a:defRPr sz="1067"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7"/>
              <a:t>© 2020 Land O’Lakes, Inc.</a:t>
            </a:r>
          </a:p>
        </p:txBody>
      </p:sp>
    </p:spTree>
    <p:extLst>
      <p:ext uri="{BB962C8B-B14F-4D97-AF65-F5344CB8AC3E}">
        <p14:creationId xmlns:p14="http://schemas.microsoft.com/office/powerpoint/2010/main" val="205215443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O' Title + Subhead Dk Green">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Slide Number Placeholder 4">
            <a:extLst>
              <a:ext uri="{FF2B5EF4-FFF2-40B4-BE49-F238E27FC236}">
                <a16:creationId xmlns:a16="http://schemas.microsoft.com/office/drawing/2014/main" id="{7410A390-FD65-274F-B376-CED06693AA32}"/>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chemeClr val="bg1">
                    <a:lumMod val="75000"/>
                  </a:schemeClr>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1" name="Title 6">
            <a:extLst>
              <a:ext uri="{FF2B5EF4-FFF2-40B4-BE49-F238E27FC236}">
                <a16:creationId xmlns:a16="http://schemas.microsoft.com/office/drawing/2014/main" id="{EFE852F4-AB63-7547-BC89-26DEDF6BBA40}"/>
              </a:ext>
            </a:extLst>
          </p:cNvPr>
          <p:cNvSpPr>
            <a:spLocks noGrp="1"/>
          </p:cNvSpPr>
          <p:nvPr>
            <p:ph type="title" hasCustomPrompt="1"/>
          </p:nvPr>
        </p:nvSpPr>
        <p:spPr>
          <a:xfrm>
            <a:off x="1466127" y="243841"/>
            <a:ext cx="9738903" cy="748873"/>
          </a:xfrm>
          <a:prstGeom prst="rect">
            <a:avLst/>
          </a:prstGeom>
        </p:spPr>
        <p:txBody>
          <a:bodyPr lIns="0" anchor="b">
            <a:normAutofit/>
          </a:bodyPr>
          <a:lstStyle>
            <a:lvl1pPr>
              <a:defRPr sz="3333" b="1" i="0">
                <a:solidFill>
                  <a:schemeClr val="tx1"/>
                </a:solidFill>
                <a:latin typeface="Arial Bold"/>
              </a:defRPr>
            </a:lvl1pPr>
          </a:lstStyle>
          <a:p>
            <a:r>
              <a:rPr lang="en-US"/>
              <a:t>CLICK TO EDIT MASTER TITLE STYLE</a:t>
            </a:r>
          </a:p>
        </p:txBody>
      </p:sp>
      <p:sp>
        <p:nvSpPr>
          <p:cNvPr id="13" name="Rectangle 12">
            <a:extLst>
              <a:ext uri="{FF2B5EF4-FFF2-40B4-BE49-F238E27FC236}">
                <a16:creationId xmlns:a16="http://schemas.microsoft.com/office/drawing/2014/main" id="{A4E78545-8042-0B4D-BE68-9E40B8A97EC1}"/>
              </a:ext>
            </a:extLst>
          </p:cNvPr>
          <p:cNvSpPr/>
          <p:nvPr userDrawn="1"/>
        </p:nvSpPr>
        <p:spPr>
          <a:xfrm>
            <a:off x="1" y="0"/>
            <a:ext cx="1111168" cy="6858000"/>
          </a:xfrm>
          <a:prstGeom prst="rect">
            <a:avLst/>
          </a:prstGeom>
          <a:solidFill>
            <a:srgbClr val="204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CBC9BB"/>
              </a:solidFill>
              <a:effectLst/>
              <a:uLnTx/>
              <a:uFillTx/>
              <a:latin typeface="Arial" panose="020B0604020202020204"/>
              <a:ea typeface="+mn-ea"/>
              <a:cs typeface="+mn-cs"/>
            </a:endParaRPr>
          </a:p>
        </p:txBody>
      </p:sp>
      <p:cxnSp>
        <p:nvCxnSpPr>
          <p:cNvPr id="14" name="Straight Connector 13">
            <a:extLst>
              <a:ext uri="{FF2B5EF4-FFF2-40B4-BE49-F238E27FC236}">
                <a16:creationId xmlns:a16="http://schemas.microsoft.com/office/drawing/2014/main" id="{ADACAEC1-DC34-E94D-A3E3-466678B75049}"/>
              </a:ext>
            </a:extLst>
          </p:cNvPr>
          <p:cNvCxnSpPr>
            <a:cxnSpLocks/>
          </p:cNvCxnSpPr>
          <p:nvPr userDrawn="1"/>
        </p:nvCxnSpPr>
        <p:spPr>
          <a:xfrm>
            <a:off x="246928" y="1157475"/>
            <a:ext cx="11682715" cy="0"/>
          </a:xfrm>
          <a:prstGeom prst="line">
            <a:avLst/>
          </a:prstGeom>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9D55A9BE-5CAE-624A-B9C5-9C5ADD40E6B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6929" y="461565"/>
            <a:ext cx="586451" cy="484163"/>
          </a:xfrm>
          <a:prstGeom prst="rect">
            <a:avLst/>
          </a:prstGeom>
        </p:spPr>
      </p:pic>
      <p:sp>
        <p:nvSpPr>
          <p:cNvPr id="8" name="Text Placeholder 3">
            <a:extLst>
              <a:ext uri="{FF2B5EF4-FFF2-40B4-BE49-F238E27FC236}">
                <a16:creationId xmlns:a16="http://schemas.microsoft.com/office/drawing/2014/main" id="{91F1BC30-E9EC-6D48-8D2A-05AF4C6E9D86}"/>
              </a:ext>
            </a:extLst>
          </p:cNvPr>
          <p:cNvSpPr>
            <a:spLocks noGrp="1"/>
          </p:cNvSpPr>
          <p:nvPr>
            <p:ph type="body" sz="quarter" idx="13" hasCustomPrompt="1"/>
          </p:nvPr>
        </p:nvSpPr>
        <p:spPr>
          <a:xfrm>
            <a:off x="1466125" y="1720850"/>
            <a:ext cx="10054891" cy="4381043"/>
          </a:xfrm>
        </p:spPr>
        <p:txBody>
          <a:bodyPr/>
          <a:lstStyle/>
          <a:p>
            <a:pPr lvl="0"/>
            <a:r>
              <a:rPr lang="en-US"/>
              <a:t>Click to add text</a:t>
            </a:r>
          </a:p>
        </p:txBody>
      </p:sp>
      <p:sp>
        <p:nvSpPr>
          <p:cNvPr id="12" name="Date Placeholder 2">
            <a:extLst>
              <a:ext uri="{FF2B5EF4-FFF2-40B4-BE49-F238E27FC236}">
                <a16:creationId xmlns:a16="http://schemas.microsoft.com/office/drawing/2014/main" id="{B403D898-8AA2-4818-8390-FCF5D9C27DCA}"/>
              </a:ext>
            </a:extLst>
          </p:cNvPr>
          <p:cNvSpPr txBox="1">
            <a:spLocks/>
          </p:cNvSpPr>
          <p:nvPr userDrawn="1"/>
        </p:nvSpPr>
        <p:spPr>
          <a:xfrm>
            <a:off x="209551" y="6538913"/>
            <a:ext cx="3000375" cy="366712"/>
          </a:xfrm>
          <a:prstGeom prst="rect">
            <a:avLst/>
          </a:prstGeom>
        </p:spPr>
        <p:txBody>
          <a:bodyPr vert="horz" lIns="0" tIns="45720" rIns="0" bIns="45720" rtlCol="0" anchor="b"/>
          <a:lstStyle>
            <a:defPPr>
              <a:defRPr lang="en-US"/>
            </a:defPPr>
            <a:lvl1pPr marL="0" marR="0" indent="0" algn="l" defTabSz="609585" rtl="0" eaLnBrk="1" fontAlgn="auto" latinLnBrk="0" hangingPunct="1">
              <a:lnSpc>
                <a:spcPct val="100000"/>
              </a:lnSpc>
              <a:spcBef>
                <a:spcPts val="0"/>
              </a:spcBef>
              <a:spcAft>
                <a:spcPts val="0"/>
              </a:spcAft>
              <a:buClrTx/>
              <a:buSzTx/>
              <a:buFontTx/>
              <a:buNone/>
              <a:tabLst/>
              <a:defRPr sz="1067"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7"/>
              <a:t>© 2020 Land O’Lakes, Inc.</a:t>
            </a:r>
          </a:p>
        </p:txBody>
      </p:sp>
    </p:spTree>
    <p:extLst>
      <p:ext uri="{BB962C8B-B14F-4D97-AF65-F5344CB8AC3E}">
        <p14:creationId xmlns:p14="http://schemas.microsoft.com/office/powerpoint/2010/main" val="345257107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 Subhead Teal">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Slide Number Placeholder 4">
            <a:extLst>
              <a:ext uri="{FF2B5EF4-FFF2-40B4-BE49-F238E27FC236}">
                <a16:creationId xmlns:a16="http://schemas.microsoft.com/office/drawing/2014/main" id="{7410A390-FD65-274F-B376-CED06693AA32}"/>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chemeClr val="tx1"/>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1" name="Title 6">
            <a:extLst>
              <a:ext uri="{FF2B5EF4-FFF2-40B4-BE49-F238E27FC236}">
                <a16:creationId xmlns:a16="http://schemas.microsoft.com/office/drawing/2014/main" id="{EFE852F4-AB63-7547-BC89-26DEDF6BBA40}"/>
              </a:ext>
            </a:extLst>
          </p:cNvPr>
          <p:cNvSpPr>
            <a:spLocks noGrp="1"/>
          </p:cNvSpPr>
          <p:nvPr>
            <p:ph type="title"/>
          </p:nvPr>
        </p:nvSpPr>
        <p:spPr>
          <a:xfrm>
            <a:off x="609600" y="172281"/>
            <a:ext cx="10911840" cy="992713"/>
          </a:xfrm>
          <a:prstGeom prst="rect">
            <a:avLst/>
          </a:prstGeom>
        </p:spPr>
        <p:txBody>
          <a:bodyPr lIns="0" anchor="b">
            <a:normAutofit/>
          </a:bodyPr>
          <a:lstStyle>
            <a:lvl1pPr>
              <a:defRPr sz="3467" b="1" i="0">
                <a:solidFill>
                  <a:schemeClr val="tx1"/>
                </a:solidFill>
                <a:latin typeface="Arial Bold"/>
              </a:defRPr>
            </a:lvl1pPr>
          </a:lstStyle>
          <a:p>
            <a:r>
              <a:rPr lang="en-US"/>
              <a:t>Click to edit Master title style</a:t>
            </a:r>
          </a:p>
        </p:txBody>
      </p:sp>
      <p:sp>
        <p:nvSpPr>
          <p:cNvPr id="12" name="Text Placeholder 2">
            <a:extLst>
              <a:ext uri="{FF2B5EF4-FFF2-40B4-BE49-F238E27FC236}">
                <a16:creationId xmlns:a16="http://schemas.microsoft.com/office/drawing/2014/main" id="{3CC38D49-EA08-3E47-9EDD-A7703EAB31F4}"/>
              </a:ext>
            </a:extLst>
          </p:cNvPr>
          <p:cNvSpPr>
            <a:spLocks noGrp="1"/>
          </p:cNvSpPr>
          <p:nvPr>
            <p:ph type="body" sz="quarter" idx="12" hasCustomPrompt="1"/>
          </p:nvPr>
        </p:nvSpPr>
        <p:spPr>
          <a:xfrm>
            <a:off x="609600" y="1173004"/>
            <a:ext cx="10911840" cy="334433"/>
          </a:xfrm>
        </p:spPr>
        <p:txBody>
          <a:bodyPr/>
          <a:lstStyle>
            <a:lvl1pPr>
              <a:defRPr sz="2133">
                <a:solidFill>
                  <a:schemeClr val="tx1"/>
                </a:solidFill>
              </a:defRPr>
            </a:lvl1pPr>
          </a:lstStyle>
          <a:p>
            <a:pPr lvl="0"/>
            <a:r>
              <a:rPr lang="en-US"/>
              <a:t>Click to edit subhead</a:t>
            </a:r>
          </a:p>
        </p:txBody>
      </p:sp>
      <p:sp>
        <p:nvSpPr>
          <p:cNvPr id="8" name="Rectangle 7">
            <a:extLst>
              <a:ext uri="{FF2B5EF4-FFF2-40B4-BE49-F238E27FC236}">
                <a16:creationId xmlns:a16="http://schemas.microsoft.com/office/drawing/2014/main" id="{4319DFF1-C689-8843-B4DC-DB712ACA1C4E}"/>
              </a:ext>
            </a:extLst>
          </p:cNvPr>
          <p:cNvSpPr/>
          <p:nvPr userDrawn="1"/>
        </p:nvSpPr>
        <p:spPr>
          <a:xfrm>
            <a:off x="1" y="0"/>
            <a:ext cx="18756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CBC9BB"/>
              </a:solidFill>
              <a:effectLst/>
              <a:uLnTx/>
              <a:uFillTx/>
              <a:latin typeface="Arial" panose="020B0604020202020204"/>
              <a:ea typeface="+mn-ea"/>
              <a:cs typeface="+mn-cs"/>
            </a:endParaRPr>
          </a:p>
        </p:txBody>
      </p:sp>
      <p:sp>
        <p:nvSpPr>
          <p:cNvPr id="7" name="Text Placeholder 3">
            <a:extLst>
              <a:ext uri="{FF2B5EF4-FFF2-40B4-BE49-F238E27FC236}">
                <a16:creationId xmlns:a16="http://schemas.microsoft.com/office/drawing/2014/main" id="{63AF4591-FCB7-104E-9EA5-6C4BED416FEA}"/>
              </a:ext>
            </a:extLst>
          </p:cNvPr>
          <p:cNvSpPr>
            <a:spLocks noGrp="1"/>
          </p:cNvSpPr>
          <p:nvPr>
            <p:ph type="body" sz="quarter" idx="13" hasCustomPrompt="1"/>
          </p:nvPr>
        </p:nvSpPr>
        <p:spPr>
          <a:xfrm>
            <a:off x="609600" y="1720850"/>
            <a:ext cx="10911416" cy="4381043"/>
          </a:xfrm>
        </p:spPr>
        <p:txBody>
          <a:bodyPr/>
          <a:lstStyle/>
          <a:p>
            <a:pPr lvl="0"/>
            <a:r>
              <a:rPr lang="en-US"/>
              <a:t>Click to add text</a:t>
            </a:r>
          </a:p>
        </p:txBody>
      </p:sp>
      <p:sp>
        <p:nvSpPr>
          <p:cNvPr id="13" name="Date Placeholder 2">
            <a:extLst>
              <a:ext uri="{FF2B5EF4-FFF2-40B4-BE49-F238E27FC236}">
                <a16:creationId xmlns:a16="http://schemas.microsoft.com/office/drawing/2014/main" id="{2A749BEE-9488-4E06-AC13-DB89F689DF23}"/>
              </a:ext>
            </a:extLst>
          </p:cNvPr>
          <p:cNvSpPr txBox="1">
            <a:spLocks/>
          </p:cNvSpPr>
          <p:nvPr userDrawn="1"/>
        </p:nvSpPr>
        <p:spPr>
          <a:xfrm>
            <a:off x="209551" y="6538913"/>
            <a:ext cx="3000375" cy="366712"/>
          </a:xfrm>
          <a:prstGeom prst="rect">
            <a:avLst/>
          </a:prstGeom>
        </p:spPr>
        <p:txBody>
          <a:bodyPr vert="horz" lIns="0" tIns="45720" rIns="0" bIns="45720" rtlCol="0" anchor="b"/>
          <a:lstStyle>
            <a:defPPr>
              <a:defRPr lang="en-US"/>
            </a:defPPr>
            <a:lvl1pPr marL="0" marR="0" indent="0" algn="l" defTabSz="609585" rtl="0" eaLnBrk="1" fontAlgn="auto" latinLnBrk="0" hangingPunct="1">
              <a:lnSpc>
                <a:spcPct val="100000"/>
              </a:lnSpc>
              <a:spcBef>
                <a:spcPts val="0"/>
              </a:spcBef>
              <a:spcAft>
                <a:spcPts val="0"/>
              </a:spcAft>
              <a:buClrTx/>
              <a:buSzTx/>
              <a:buFontTx/>
              <a:buNone/>
              <a:tabLst/>
              <a:defRPr sz="1067"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7"/>
              <a:t>© 2020 Land O’Lakes, Inc.</a:t>
            </a:r>
          </a:p>
        </p:txBody>
      </p:sp>
    </p:spTree>
    <p:extLst>
      <p:ext uri="{BB962C8B-B14F-4D97-AF65-F5344CB8AC3E}">
        <p14:creationId xmlns:p14="http://schemas.microsoft.com/office/powerpoint/2010/main" val="264891862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O' Title + Subhead Teal">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Slide Number Placeholder 4">
            <a:extLst>
              <a:ext uri="{FF2B5EF4-FFF2-40B4-BE49-F238E27FC236}">
                <a16:creationId xmlns:a16="http://schemas.microsoft.com/office/drawing/2014/main" id="{7410A390-FD65-274F-B376-CED06693AA32}"/>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chemeClr val="tx1"/>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1" name="Title 6">
            <a:extLst>
              <a:ext uri="{FF2B5EF4-FFF2-40B4-BE49-F238E27FC236}">
                <a16:creationId xmlns:a16="http://schemas.microsoft.com/office/drawing/2014/main" id="{EFE852F4-AB63-7547-BC89-26DEDF6BBA40}"/>
              </a:ext>
            </a:extLst>
          </p:cNvPr>
          <p:cNvSpPr>
            <a:spLocks noGrp="1"/>
          </p:cNvSpPr>
          <p:nvPr>
            <p:ph type="title" hasCustomPrompt="1"/>
          </p:nvPr>
        </p:nvSpPr>
        <p:spPr>
          <a:xfrm>
            <a:off x="1466127" y="243841"/>
            <a:ext cx="9738903" cy="748873"/>
          </a:xfrm>
          <a:prstGeom prst="rect">
            <a:avLst/>
          </a:prstGeom>
        </p:spPr>
        <p:txBody>
          <a:bodyPr lIns="0" anchor="b">
            <a:normAutofit/>
          </a:bodyPr>
          <a:lstStyle>
            <a:lvl1pPr>
              <a:defRPr sz="3333" b="1" i="0">
                <a:solidFill>
                  <a:schemeClr val="tx1"/>
                </a:solidFill>
                <a:latin typeface="Arial Bold"/>
              </a:defRPr>
            </a:lvl1pPr>
          </a:lstStyle>
          <a:p>
            <a:r>
              <a:rPr lang="en-US"/>
              <a:t>CLICK TO EDIT MASTER TITLE STYLE</a:t>
            </a:r>
          </a:p>
        </p:txBody>
      </p:sp>
      <p:sp>
        <p:nvSpPr>
          <p:cNvPr id="13" name="Rectangle 12">
            <a:extLst>
              <a:ext uri="{FF2B5EF4-FFF2-40B4-BE49-F238E27FC236}">
                <a16:creationId xmlns:a16="http://schemas.microsoft.com/office/drawing/2014/main" id="{A4E78545-8042-0B4D-BE68-9E40B8A97EC1}"/>
              </a:ext>
            </a:extLst>
          </p:cNvPr>
          <p:cNvSpPr/>
          <p:nvPr userDrawn="1"/>
        </p:nvSpPr>
        <p:spPr>
          <a:xfrm>
            <a:off x="1" y="0"/>
            <a:ext cx="1111168" cy="6858000"/>
          </a:xfrm>
          <a:prstGeom prst="rect">
            <a:avLst/>
          </a:prstGeom>
          <a:solidFill>
            <a:srgbClr val="00B1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CBC9BB"/>
              </a:solidFill>
              <a:effectLst/>
              <a:uLnTx/>
              <a:uFillTx/>
              <a:latin typeface="Arial" panose="020B0604020202020204"/>
              <a:ea typeface="+mn-ea"/>
              <a:cs typeface="+mn-cs"/>
            </a:endParaRPr>
          </a:p>
        </p:txBody>
      </p:sp>
      <p:cxnSp>
        <p:nvCxnSpPr>
          <p:cNvPr id="14" name="Straight Connector 13">
            <a:extLst>
              <a:ext uri="{FF2B5EF4-FFF2-40B4-BE49-F238E27FC236}">
                <a16:creationId xmlns:a16="http://schemas.microsoft.com/office/drawing/2014/main" id="{ADACAEC1-DC34-E94D-A3E3-466678B75049}"/>
              </a:ext>
            </a:extLst>
          </p:cNvPr>
          <p:cNvCxnSpPr>
            <a:cxnSpLocks/>
          </p:cNvCxnSpPr>
          <p:nvPr userDrawn="1"/>
        </p:nvCxnSpPr>
        <p:spPr>
          <a:xfrm>
            <a:off x="246928" y="1157475"/>
            <a:ext cx="11682715" cy="0"/>
          </a:xfrm>
          <a:prstGeom prst="line">
            <a:avLst/>
          </a:prstGeom>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9D55A9BE-5CAE-624A-B9C5-9C5ADD40E6B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6929" y="461565"/>
            <a:ext cx="586451" cy="484163"/>
          </a:xfrm>
          <a:prstGeom prst="rect">
            <a:avLst/>
          </a:prstGeom>
        </p:spPr>
      </p:pic>
      <p:sp>
        <p:nvSpPr>
          <p:cNvPr id="8" name="Text Placeholder 3">
            <a:extLst>
              <a:ext uri="{FF2B5EF4-FFF2-40B4-BE49-F238E27FC236}">
                <a16:creationId xmlns:a16="http://schemas.microsoft.com/office/drawing/2014/main" id="{7490C155-AE1B-C846-B39B-E0E8CF1DE34E}"/>
              </a:ext>
            </a:extLst>
          </p:cNvPr>
          <p:cNvSpPr>
            <a:spLocks noGrp="1"/>
          </p:cNvSpPr>
          <p:nvPr>
            <p:ph type="body" sz="quarter" idx="13" hasCustomPrompt="1"/>
          </p:nvPr>
        </p:nvSpPr>
        <p:spPr>
          <a:xfrm>
            <a:off x="1466125" y="1720850"/>
            <a:ext cx="10054891" cy="4381043"/>
          </a:xfrm>
        </p:spPr>
        <p:txBody>
          <a:bodyPr/>
          <a:lstStyle/>
          <a:p>
            <a:pPr lvl="0"/>
            <a:r>
              <a:rPr lang="en-US"/>
              <a:t>Click to add text</a:t>
            </a:r>
          </a:p>
        </p:txBody>
      </p:sp>
      <p:sp>
        <p:nvSpPr>
          <p:cNvPr id="12" name="Date Placeholder 2">
            <a:extLst>
              <a:ext uri="{FF2B5EF4-FFF2-40B4-BE49-F238E27FC236}">
                <a16:creationId xmlns:a16="http://schemas.microsoft.com/office/drawing/2014/main" id="{D0EF1B22-D49D-4144-8F5B-A2737B99F645}"/>
              </a:ext>
            </a:extLst>
          </p:cNvPr>
          <p:cNvSpPr txBox="1">
            <a:spLocks/>
          </p:cNvSpPr>
          <p:nvPr userDrawn="1"/>
        </p:nvSpPr>
        <p:spPr>
          <a:xfrm>
            <a:off x="209551" y="6538913"/>
            <a:ext cx="3000375" cy="366712"/>
          </a:xfrm>
          <a:prstGeom prst="rect">
            <a:avLst/>
          </a:prstGeom>
        </p:spPr>
        <p:txBody>
          <a:bodyPr vert="horz" lIns="0" tIns="45720" rIns="0" bIns="45720" rtlCol="0" anchor="b"/>
          <a:lstStyle>
            <a:defPPr>
              <a:defRPr lang="en-US"/>
            </a:defPPr>
            <a:lvl1pPr marL="0" marR="0" indent="0" algn="l" defTabSz="609585" rtl="0" eaLnBrk="1" fontAlgn="auto" latinLnBrk="0" hangingPunct="1">
              <a:lnSpc>
                <a:spcPct val="100000"/>
              </a:lnSpc>
              <a:spcBef>
                <a:spcPts val="0"/>
              </a:spcBef>
              <a:spcAft>
                <a:spcPts val="0"/>
              </a:spcAft>
              <a:buClrTx/>
              <a:buSzTx/>
              <a:buFontTx/>
              <a:buNone/>
              <a:tabLst/>
              <a:defRPr sz="1067"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7"/>
              <a:t>© 2020 Land O’Lakes, Inc.</a:t>
            </a:r>
          </a:p>
        </p:txBody>
      </p:sp>
    </p:spTree>
    <p:extLst>
      <p:ext uri="{BB962C8B-B14F-4D97-AF65-F5344CB8AC3E}">
        <p14:creationId xmlns:p14="http://schemas.microsoft.com/office/powerpoint/2010/main" val="370926707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 Subhead Orang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Slide Number Placeholder 4">
            <a:extLst>
              <a:ext uri="{FF2B5EF4-FFF2-40B4-BE49-F238E27FC236}">
                <a16:creationId xmlns:a16="http://schemas.microsoft.com/office/drawing/2014/main" id="{7410A390-FD65-274F-B376-CED06693AA32}"/>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chemeClr val="tx1"/>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0" name="Date Placeholder 5">
            <a:extLst>
              <a:ext uri="{FF2B5EF4-FFF2-40B4-BE49-F238E27FC236}">
                <a16:creationId xmlns:a16="http://schemas.microsoft.com/office/drawing/2014/main" id="{AEED49A8-31E1-304F-86B7-577233A2ED99}"/>
              </a:ext>
            </a:extLst>
          </p:cNvPr>
          <p:cNvSpPr>
            <a:spLocks noGrp="1"/>
          </p:cNvSpPr>
          <p:nvPr>
            <p:ph type="dt" sz="half" idx="2"/>
          </p:nvPr>
        </p:nvSpPr>
        <p:spPr>
          <a:xfrm>
            <a:off x="406402" y="6444338"/>
            <a:ext cx="3000831" cy="366183"/>
          </a:xfrm>
          <a:prstGeom prst="rect">
            <a:avLst/>
          </a:prstGeom>
        </p:spPr>
        <p:txBody>
          <a:bodyPr vert="horz" lIns="0" tIns="45720" rIns="0" bIns="45720" rtlCol="0" anchor="b"/>
          <a:lstStyle>
            <a:lvl1pPr marL="0" marR="0" indent="0" algn="l" defTabSz="609570" rtl="0" eaLnBrk="1" fontAlgn="auto" latinLnBrk="0" hangingPunct="1">
              <a:lnSpc>
                <a:spcPct val="100000"/>
              </a:lnSpc>
              <a:spcBef>
                <a:spcPts val="0"/>
              </a:spcBef>
              <a:spcAft>
                <a:spcPts val="0"/>
              </a:spcAft>
              <a:buClrTx/>
              <a:buSzTx/>
              <a:buFontTx/>
              <a:buNone/>
              <a:tabLst/>
              <a:defRPr sz="1067" b="0" i="0">
                <a:solidFill>
                  <a:schemeClr val="tx1"/>
                </a:solidFill>
                <a:latin typeface="Arial" panose="020B0604020202020204" pitchFamily="34" charset="0"/>
                <a:cs typeface="Arial" panose="020B0604020202020204" pitchFamily="34" charset="0"/>
              </a:defRPr>
            </a:lvl1pPr>
          </a:lstStyle>
          <a:p>
            <a:r>
              <a:rPr lang="en-US"/>
              <a:t>© 2018 Land O’Lakes, Inc.</a:t>
            </a:r>
          </a:p>
        </p:txBody>
      </p:sp>
      <p:sp>
        <p:nvSpPr>
          <p:cNvPr id="11" name="Title 6">
            <a:extLst>
              <a:ext uri="{FF2B5EF4-FFF2-40B4-BE49-F238E27FC236}">
                <a16:creationId xmlns:a16="http://schemas.microsoft.com/office/drawing/2014/main" id="{EFE852F4-AB63-7547-BC89-26DEDF6BBA40}"/>
              </a:ext>
            </a:extLst>
          </p:cNvPr>
          <p:cNvSpPr>
            <a:spLocks noGrp="1"/>
          </p:cNvSpPr>
          <p:nvPr>
            <p:ph type="title"/>
          </p:nvPr>
        </p:nvSpPr>
        <p:spPr>
          <a:xfrm>
            <a:off x="609600" y="172281"/>
            <a:ext cx="10911840" cy="992713"/>
          </a:xfrm>
          <a:prstGeom prst="rect">
            <a:avLst/>
          </a:prstGeom>
        </p:spPr>
        <p:txBody>
          <a:bodyPr lIns="0" anchor="b">
            <a:normAutofit/>
          </a:bodyPr>
          <a:lstStyle>
            <a:lvl1pPr>
              <a:defRPr sz="3467" b="1" i="0">
                <a:solidFill>
                  <a:schemeClr val="tx1"/>
                </a:solidFill>
                <a:latin typeface="Arial Bold"/>
              </a:defRPr>
            </a:lvl1pPr>
          </a:lstStyle>
          <a:p>
            <a:r>
              <a:rPr lang="en-US"/>
              <a:t>Click to edit Master title style</a:t>
            </a:r>
          </a:p>
        </p:txBody>
      </p:sp>
      <p:sp>
        <p:nvSpPr>
          <p:cNvPr id="12" name="Text Placeholder 2">
            <a:extLst>
              <a:ext uri="{FF2B5EF4-FFF2-40B4-BE49-F238E27FC236}">
                <a16:creationId xmlns:a16="http://schemas.microsoft.com/office/drawing/2014/main" id="{3CC38D49-EA08-3E47-9EDD-A7703EAB31F4}"/>
              </a:ext>
            </a:extLst>
          </p:cNvPr>
          <p:cNvSpPr>
            <a:spLocks noGrp="1"/>
          </p:cNvSpPr>
          <p:nvPr>
            <p:ph type="body" sz="quarter" idx="12" hasCustomPrompt="1"/>
          </p:nvPr>
        </p:nvSpPr>
        <p:spPr>
          <a:xfrm>
            <a:off x="609600" y="1173004"/>
            <a:ext cx="10911840" cy="334433"/>
          </a:xfrm>
        </p:spPr>
        <p:txBody>
          <a:bodyPr/>
          <a:lstStyle>
            <a:lvl1pPr>
              <a:defRPr sz="2133">
                <a:solidFill>
                  <a:schemeClr val="tx1"/>
                </a:solidFill>
              </a:defRPr>
            </a:lvl1pPr>
          </a:lstStyle>
          <a:p>
            <a:pPr lvl="0"/>
            <a:r>
              <a:rPr lang="en-US"/>
              <a:t>Click to edit subhead</a:t>
            </a:r>
          </a:p>
        </p:txBody>
      </p:sp>
      <p:sp>
        <p:nvSpPr>
          <p:cNvPr id="8" name="Rectangle 7">
            <a:extLst>
              <a:ext uri="{FF2B5EF4-FFF2-40B4-BE49-F238E27FC236}">
                <a16:creationId xmlns:a16="http://schemas.microsoft.com/office/drawing/2014/main" id="{4319DFF1-C689-8843-B4DC-DB712ACA1C4E}"/>
              </a:ext>
            </a:extLst>
          </p:cNvPr>
          <p:cNvSpPr/>
          <p:nvPr userDrawn="1"/>
        </p:nvSpPr>
        <p:spPr>
          <a:xfrm>
            <a:off x="1" y="0"/>
            <a:ext cx="18756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CBC9BB"/>
              </a:solidFill>
              <a:effectLst/>
              <a:uLnTx/>
              <a:uFillTx/>
              <a:latin typeface="Arial" panose="020B0604020202020204"/>
              <a:ea typeface="+mn-ea"/>
              <a:cs typeface="+mn-cs"/>
            </a:endParaRPr>
          </a:p>
        </p:txBody>
      </p:sp>
      <p:sp>
        <p:nvSpPr>
          <p:cNvPr id="7" name="Text Placeholder 3">
            <a:extLst>
              <a:ext uri="{FF2B5EF4-FFF2-40B4-BE49-F238E27FC236}">
                <a16:creationId xmlns:a16="http://schemas.microsoft.com/office/drawing/2014/main" id="{9F69C455-D593-6248-B4A5-C3B7F134DAA3}"/>
              </a:ext>
            </a:extLst>
          </p:cNvPr>
          <p:cNvSpPr>
            <a:spLocks noGrp="1"/>
          </p:cNvSpPr>
          <p:nvPr>
            <p:ph type="body" sz="quarter" idx="13" hasCustomPrompt="1"/>
          </p:nvPr>
        </p:nvSpPr>
        <p:spPr>
          <a:xfrm>
            <a:off x="609600" y="1720850"/>
            <a:ext cx="10911416" cy="4381043"/>
          </a:xfrm>
        </p:spPr>
        <p:txBody>
          <a:bodyPr/>
          <a:lstStyle/>
          <a:p>
            <a:pPr lvl="0"/>
            <a:r>
              <a:rPr lang="en-US"/>
              <a:t>Click to add text</a:t>
            </a:r>
          </a:p>
        </p:txBody>
      </p:sp>
    </p:spTree>
    <p:extLst>
      <p:ext uri="{BB962C8B-B14F-4D97-AF65-F5344CB8AC3E}">
        <p14:creationId xmlns:p14="http://schemas.microsoft.com/office/powerpoint/2010/main" val="337905510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O' Title + Subhead Orange">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Slide Number Placeholder 4">
            <a:extLst>
              <a:ext uri="{FF2B5EF4-FFF2-40B4-BE49-F238E27FC236}">
                <a16:creationId xmlns:a16="http://schemas.microsoft.com/office/drawing/2014/main" id="{7410A390-FD65-274F-B376-CED06693AA32}"/>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chemeClr val="tx1"/>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1" name="Title 6">
            <a:extLst>
              <a:ext uri="{FF2B5EF4-FFF2-40B4-BE49-F238E27FC236}">
                <a16:creationId xmlns:a16="http://schemas.microsoft.com/office/drawing/2014/main" id="{EFE852F4-AB63-7547-BC89-26DEDF6BBA40}"/>
              </a:ext>
            </a:extLst>
          </p:cNvPr>
          <p:cNvSpPr>
            <a:spLocks noGrp="1"/>
          </p:cNvSpPr>
          <p:nvPr>
            <p:ph type="title" hasCustomPrompt="1"/>
          </p:nvPr>
        </p:nvSpPr>
        <p:spPr>
          <a:xfrm>
            <a:off x="1466127" y="243841"/>
            <a:ext cx="9738903" cy="748873"/>
          </a:xfrm>
          <a:prstGeom prst="rect">
            <a:avLst/>
          </a:prstGeom>
        </p:spPr>
        <p:txBody>
          <a:bodyPr lIns="0" anchor="b">
            <a:normAutofit/>
          </a:bodyPr>
          <a:lstStyle>
            <a:lvl1pPr marL="0" marR="0" indent="0" algn="l" defTabSz="1219140" rtl="0" eaLnBrk="1" fontAlgn="auto" latinLnBrk="0" hangingPunct="1">
              <a:lnSpc>
                <a:spcPct val="90000"/>
              </a:lnSpc>
              <a:spcBef>
                <a:spcPct val="0"/>
              </a:spcBef>
              <a:spcAft>
                <a:spcPts val="0"/>
              </a:spcAft>
              <a:buClrTx/>
              <a:buSzTx/>
              <a:buFontTx/>
              <a:buNone/>
              <a:tabLst/>
              <a:defRPr sz="3333" b="1" i="0">
                <a:solidFill>
                  <a:schemeClr val="tx1"/>
                </a:solidFill>
                <a:latin typeface="Arial Bold"/>
              </a:defRPr>
            </a:lvl1pPr>
          </a:lstStyle>
          <a:p>
            <a:r>
              <a:rPr lang="en-US"/>
              <a:t>CLICK TO EDIT MASTER TITLE STYLE</a:t>
            </a:r>
          </a:p>
        </p:txBody>
      </p:sp>
      <p:sp>
        <p:nvSpPr>
          <p:cNvPr id="13" name="Rectangle 12">
            <a:extLst>
              <a:ext uri="{FF2B5EF4-FFF2-40B4-BE49-F238E27FC236}">
                <a16:creationId xmlns:a16="http://schemas.microsoft.com/office/drawing/2014/main" id="{A4E78545-8042-0B4D-BE68-9E40B8A97EC1}"/>
              </a:ext>
            </a:extLst>
          </p:cNvPr>
          <p:cNvSpPr/>
          <p:nvPr userDrawn="1"/>
        </p:nvSpPr>
        <p:spPr>
          <a:xfrm>
            <a:off x="1" y="0"/>
            <a:ext cx="1111168" cy="6858000"/>
          </a:xfrm>
          <a:prstGeom prst="rect">
            <a:avLst/>
          </a:prstGeom>
          <a:solidFill>
            <a:srgbClr val="E876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CBC9BB"/>
              </a:solidFill>
              <a:effectLst/>
              <a:uLnTx/>
              <a:uFillTx/>
              <a:latin typeface="Arial" panose="020B0604020202020204"/>
              <a:ea typeface="+mn-ea"/>
              <a:cs typeface="+mn-cs"/>
            </a:endParaRPr>
          </a:p>
        </p:txBody>
      </p:sp>
      <p:cxnSp>
        <p:nvCxnSpPr>
          <p:cNvPr id="14" name="Straight Connector 13">
            <a:extLst>
              <a:ext uri="{FF2B5EF4-FFF2-40B4-BE49-F238E27FC236}">
                <a16:creationId xmlns:a16="http://schemas.microsoft.com/office/drawing/2014/main" id="{ADACAEC1-DC34-E94D-A3E3-466678B75049}"/>
              </a:ext>
            </a:extLst>
          </p:cNvPr>
          <p:cNvCxnSpPr>
            <a:cxnSpLocks/>
          </p:cNvCxnSpPr>
          <p:nvPr userDrawn="1"/>
        </p:nvCxnSpPr>
        <p:spPr>
          <a:xfrm>
            <a:off x="246928" y="1157475"/>
            <a:ext cx="11682715" cy="0"/>
          </a:xfrm>
          <a:prstGeom prst="line">
            <a:avLst/>
          </a:prstGeom>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9D55A9BE-5CAE-624A-B9C5-9C5ADD40E6B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6929" y="461565"/>
            <a:ext cx="586451" cy="484163"/>
          </a:xfrm>
          <a:prstGeom prst="rect">
            <a:avLst/>
          </a:prstGeom>
        </p:spPr>
      </p:pic>
      <p:sp>
        <p:nvSpPr>
          <p:cNvPr id="8" name="Text Placeholder 3">
            <a:extLst>
              <a:ext uri="{FF2B5EF4-FFF2-40B4-BE49-F238E27FC236}">
                <a16:creationId xmlns:a16="http://schemas.microsoft.com/office/drawing/2014/main" id="{55A9E884-4C75-CE4E-BFD8-6ECF7ABA8790}"/>
              </a:ext>
            </a:extLst>
          </p:cNvPr>
          <p:cNvSpPr>
            <a:spLocks noGrp="1"/>
          </p:cNvSpPr>
          <p:nvPr>
            <p:ph type="body" sz="quarter" idx="13" hasCustomPrompt="1"/>
          </p:nvPr>
        </p:nvSpPr>
        <p:spPr>
          <a:xfrm>
            <a:off x="1466125" y="1720850"/>
            <a:ext cx="10054891" cy="4381043"/>
          </a:xfrm>
        </p:spPr>
        <p:txBody>
          <a:bodyPr/>
          <a:lstStyle/>
          <a:p>
            <a:pPr lvl="0"/>
            <a:r>
              <a:rPr lang="en-US"/>
              <a:t>Click to add text</a:t>
            </a:r>
          </a:p>
        </p:txBody>
      </p:sp>
      <p:sp>
        <p:nvSpPr>
          <p:cNvPr id="12" name="Date Placeholder 2">
            <a:extLst>
              <a:ext uri="{FF2B5EF4-FFF2-40B4-BE49-F238E27FC236}">
                <a16:creationId xmlns:a16="http://schemas.microsoft.com/office/drawing/2014/main" id="{C9501423-8640-46D9-B5CE-2A739FE8C0ED}"/>
              </a:ext>
            </a:extLst>
          </p:cNvPr>
          <p:cNvSpPr txBox="1">
            <a:spLocks/>
          </p:cNvSpPr>
          <p:nvPr userDrawn="1"/>
        </p:nvSpPr>
        <p:spPr>
          <a:xfrm>
            <a:off x="209551" y="6538913"/>
            <a:ext cx="3000375" cy="366712"/>
          </a:xfrm>
          <a:prstGeom prst="rect">
            <a:avLst/>
          </a:prstGeom>
        </p:spPr>
        <p:txBody>
          <a:bodyPr vert="horz" lIns="0" tIns="45720" rIns="0" bIns="45720" rtlCol="0" anchor="b"/>
          <a:lstStyle>
            <a:defPPr>
              <a:defRPr lang="en-US"/>
            </a:defPPr>
            <a:lvl1pPr marL="0" marR="0" indent="0" algn="l" defTabSz="609585" rtl="0" eaLnBrk="1" fontAlgn="auto" latinLnBrk="0" hangingPunct="1">
              <a:lnSpc>
                <a:spcPct val="100000"/>
              </a:lnSpc>
              <a:spcBef>
                <a:spcPts val="0"/>
              </a:spcBef>
              <a:spcAft>
                <a:spcPts val="0"/>
              </a:spcAft>
              <a:buClrTx/>
              <a:buSzTx/>
              <a:buFontTx/>
              <a:buNone/>
              <a:tabLst/>
              <a:defRPr sz="1067"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7"/>
              <a:t>© 2020 Land O’Lakes, Inc.</a:t>
            </a:r>
          </a:p>
        </p:txBody>
      </p:sp>
    </p:spTree>
    <p:extLst>
      <p:ext uri="{BB962C8B-B14F-4D97-AF65-F5344CB8AC3E}">
        <p14:creationId xmlns:p14="http://schemas.microsoft.com/office/powerpoint/2010/main" val="35143551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blue">
    <p:bg>
      <p:bgPr>
        <a:solidFill>
          <a:schemeClr val="accent4">
            <a:lumMod val="40000"/>
            <a:lumOff val="60000"/>
          </a:schemeClr>
        </a:solidFill>
        <a:effectLst/>
      </p:bgPr>
    </p:bg>
    <p:spTree>
      <p:nvGrpSpPr>
        <p:cNvPr id="1" name=""/>
        <p:cNvGrpSpPr/>
        <p:nvPr/>
      </p:nvGrpSpPr>
      <p:grpSpPr>
        <a:xfrm>
          <a:off x="0" y="0"/>
          <a:ext cx="0" cy="0"/>
          <a:chOff x="0" y="0"/>
          <a:chExt cx="0" cy="0"/>
        </a:xfrm>
      </p:grpSpPr>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DBCC3F24-BF53-4EF0-8FC2-26C4B364170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4960" t="33254" r="14942" b="33412"/>
          <a:stretch/>
        </p:blipFill>
        <p:spPr>
          <a:xfrm>
            <a:off x="428682" y="3204862"/>
            <a:ext cx="2102988" cy="448276"/>
          </a:xfrm>
          <a:prstGeom prst="rect">
            <a:avLst/>
          </a:prstGeom>
        </p:spPr>
      </p:pic>
    </p:spTree>
    <p:extLst>
      <p:ext uri="{BB962C8B-B14F-4D97-AF65-F5344CB8AC3E}">
        <p14:creationId xmlns:p14="http://schemas.microsoft.com/office/powerpoint/2010/main" val="33695982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Subhead Yellow">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Slide Number Placeholder 4">
            <a:extLst>
              <a:ext uri="{FF2B5EF4-FFF2-40B4-BE49-F238E27FC236}">
                <a16:creationId xmlns:a16="http://schemas.microsoft.com/office/drawing/2014/main" id="{7410A390-FD65-274F-B376-CED06693AA32}"/>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chemeClr val="tx1"/>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1" name="Title 6">
            <a:extLst>
              <a:ext uri="{FF2B5EF4-FFF2-40B4-BE49-F238E27FC236}">
                <a16:creationId xmlns:a16="http://schemas.microsoft.com/office/drawing/2014/main" id="{EFE852F4-AB63-7547-BC89-26DEDF6BBA40}"/>
              </a:ext>
            </a:extLst>
          </p:cNvPr>
          <p:cNvSpPr>
            <a:spLocks noGrp="1"/>
          </p:cNvSpPr>
          <p:nvPr>
            <p:ph type="title"/>
          </p:nvPr>
        </p:nvSpPr>
        <p:spPr>
          <a:xfrm>
            <a:off x="609600" y="172281"/>
            <a:ext cx="10911840" cy="992713"/>
          </a:xfrm>
          <a:prstGeom prst="rect">
            <a:avLst/>
          </a:prstGeom>
        </p:spPr>
        <p:txBody>
          <a:bodyPr lIns="0" anchor="b">
            <a:normAutofit/>
          </a:bodyPr>
          <a:lstStyle>
            <a:lvl1pPr>
              <a:defRPr sz="3467" b="1" i="0">
                <a:solidFill>
                  <a:schemeClr val="tx1"/>
                </a:solidFill>
                <a:latin typeface="Arial Bold"/>
              </a:defRPr>
            </a:lvl1pPr>
          </a:lstStyle>
          <a:p>
            <a:r>
              <a:rPr lang="en-US"/>
              <a:t>Click to edit Master title style</a:t>
            </a:r>
          </a:p>
        </p:txBody>
      </p:sp>
      <p:sp>
        <p:nvSpPr>
          <p:cNvPr id="12" name="Text Placeholder 2">
            <a:extLst>
              <a:ext uri="{FF2B5EF4-FFF2-40B4-BE49-F238E27FC236}">
                <a16:creationId xmlns:a16="http://schemas.microsoft.com/office/drawing/2014/main" id="{3CC38D49-EA08-3E47-9EDD-A7703EAB31F4}"/>
              </a:ext>
            </a:extLst>
          </p:cNvPr>
          <p:cNvSpPr>
            <a:spLocks noGrp="1"/>
          </p:cNvSpPr>
          <p:nvPr>
            <p:ph type="body" sz="quarter" idx="12" hasCustomPrompt="1"/>
          </p:nvPr>
        </p:nvSpPr>
        <p:spPr>
          <a:xfrm>
            <a:off x="609600" y="1173004"/>
            <a:ext cx="10911840" cy="334433"/>
          </a:xfrm>
        </p:spPr>
        <p:txBody>
          <a:bodyPr/>
          <a:lstStyle>
            <a:lvl1pPr>
              <a:defRPr sz="2133">
                <a:solidFill>
                  <a:schemeClr val="tx1"/>
                </a:solidFill>
              </a:defRPr>
            </a:lvl1pPr>
          </a:lstStyle>
          <a:p>
            <a:pPr lvl="0"/>
            <a:r>
              <a:rPr lang="en-US"/>
              <a:t>Click to edit subhead</a:t>
            </a:r>
          </a:p>
        </p:txBody>
      </p:sp>
      <p:sp>
        <p:nvSpPr>
          <p:cNvPr id="8" name="Rectangle 7">
            <a:extLst>
              <a:ext uri="{FF2B5EF4-FFF2-40B4-BE49-F238E27FC236}">
                <a16:creationId xmlns:a16="http://schemas.microsoft.com/office/drawing/2014/main" id="{4319DFF1-C689-8843-B4DC-DB712ACA1C4E}"/>
              </a:ext>
            </a:extLst>
          </p:cNvPr>
          <p:cNvSpPr/>
          <p:nvPr userDrawn="1"/>
        </p:nvSpPr>
        <p:spPr>
          <a:xfrm>
            <a:off x="1" y="0"/>
            <a:ext cx="18756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CBC9BB"/>
              </a:solidFill>
              <a:effectLst/>
              <a:uLnTx/>
              <a:uFillTx/>
              <a:latin typeface="Arial" panose="020B0604020202020204"/>
              <a:ea typeface="+mn-ea"/>
              <a:cs typeface="+mn-cs"/>
            </a:endParaRPr>
          </a:p>
        </p:txBody>
      </p:sp>
      <p:sp>
        <p:nvSpPr>
          <p:cNvPr id="7" name="Text Placeholder 3">
            <a:extLst>
              <a:ext uri="{FF2B5EF4-FFF2-40B4-BE49-F238E27FC236}">
                <a16:creationId xmlns:a16="http://schemas.microsoft.com/office/drawing/2014/main" id="{8087655E-824E-2F4A-9BFF-93D68E9D4281}"/>
              </a:ext>
            </a:extLst>
          </p:cNvPr>
          <p:cNvSpPr>
            <a:spLocks noGrp="1"/>
          </p:cNvSpPr>
          <p:nvPr>
            <p:ph type="body" sz="quarter" idx="13" hasCustomPrompt="1"/>
          </p:nvPr>
        </p:nvSpPr>
        <p:spPr>
          <a:xfrm>
            <a:off x="609600" y="1720850"/>
            <a:ext cx="10911416" cy="4381043"/>
          </a:xfrm>
        </p:spPr>
        <p:txBody>
          <a:bodyPr/>
          <a:lstStyle/>
          <a:p>
            <a:pPr lvl="0"/>
            <a:r>
              <a:rPr lang="en-US"/>
              <a:t>Click to add text</a:t>
            </a:r>
          </a:p>
        </p:txBody>
      </p:sp>
      <p:sp>
        <p:nvSpPr>
          <p:cNvPr id="13" name="Date Placeholder 2">
            <a:extLst>
              <a:ext uri="{FF2B5EF4-FFF2-40B4-BE49-F238E27FC236}">
                <a16:creationId xmlns:a16="http://schemas.microsoft.com/office/drawing/2014/main" id="{0904B1CB-9E4C-4DA8-80E3-7C4E29674737}"/>
              </a:ext>
            </a:extLst>
          </p:cNvPr>
          <p:cNvSpPr txBox="1">
            <a:spLocks/>
          </p:cNvSpPr>
          <p:nvPr userDrawn="1"/>
        </p:nvSpPr>
        <p:spPr>
          <a:xfrm>
            <a:off x="209551" y="6538913"/>
            <a:ext cx="3000375" cy="366712"/>
          </a:xfrm>
          <a:prstGeom prst="rect">
            <a:avLst/>
          </a:prstGeom>
        </p:spPr>
        <p:txBody>
          <a:bodyPr vert="horz" lIns="0" tIns="45720" rIns="0" bIns="45720" rtlCol="0" anchor="b"/>
          <a:lstStyle>
            <a:defPPr>
              <a:defRPr lang="en-US"/>
            </a:defPPr>
            <a:lvl1pPr marL="0" marR="0" indent="0" algn="l" defTabSz="609585" rtl="0" eaLnBrk="1" fontAlgn="auto" latinLnBrk="0" hangingPunct="1">
              <a:lnSpc>
                <a:spcPct val="100000"/>
              </a:lnSpc>
              <a:spcBef>
                <a:spcPts val="0"/>
              </a:spcBef>
              <a:spcAft>
                <a:spcPts val="0"/>
              </a:spcAft>
              <a:buClrTx/>
              <a:buSzTx/>
              <a:buFontTx/>
              <a:buNone/>
              <a:tabLst/>
              <a:defRPr sz="1067"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7"/>
              <a:t>© 2020 Land O’Lakes, Inc.</a:t>
            </a:r>
          </a:p>
        </p:txBody>
      </p:sp>
    </p:spTree>
    <p:extLst>
      <p:ext uri="{BB962C8B-B14F-4D97-AF65-F5344CB8AC3E}">
        <p14:creationId xmlns:p14="http://schemas.microsoft.com/office/powerpoint/2010/main" val="190636269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O' Title + Subhead Yellow">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Slide Number Placeholder 4">
            <a:extLst>
              <a:ext uri="{FF2B5EF4-FFF2-40B4-BE49-F238E27FC236}">
                <a16:creationId xmlns:a16="http://schemas.microsoft.com/office/drawing/2014/main" id="{7410A390-FD65-274F-B376-CED06693AA32}"/>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chemeClr val="tx1"/>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1" name="Title 6">
            <a:extLst>
              <a:ext uri="{FF2B5EF4-FFF2-40B4-BE49-F238E27FC236}">
                <a16:creationId xmlns:a16="http://schemas.microsoft.com/office/drawing/2014/main" id="{EFE852F4-AB63-7547-BC89-26DEDF6BBA40}"/>
              </a:ext>
            </a:extLst>
          </p:cNvPr>
          <p:cNvSpPr>
            <a:spLocks noGrp="1"/>
          </p:cNvSpPr>
          <p:nvPr>
            <p:ph type="title" hasCustomPrompt="1"/>
          </p:nvPr>
        </p:nvSpPr>
        <p:spPr>
          <a:xfrm>
            <a:off x="1466127" y="243841"/>
            <a:ext cx="9738903" cy="748873"/>
          </a:xfrm>
          <a:prstGeom prst="rect">
            <a:avLst/>
          </a:prstGeom>
        </p:spPr>
        <p:txBody>
          <a:bodyPr lIns="0" anchor="b">
            <a:normAutofit/>
          </a:bodyPr>
          <a:lstStyle>
            <a:lvl1pPr>
              <a:defRPr sz="3333" b="1" i="0">
                <a:solidFill>
                  <a:schemeClr val="tx1"/>
                </a:solidFill>
                <a:latin typeface="Arial Bold"/>
              </a:defRPr>
            </a:lvl1pPr>
          </a:lstStyle>
          <a:p>
            <a:r>
              <a:rPr lang="en-US"/>
              <a:t>CLICK TO EDIT MASTER TITLE STYLE</a:t>
            </a:r>
          </a:p>
        </p:txBody>
      </p:sp>
      <p:sp>
        <p:nvSpPr>
          <p:cNvPr id="13" name="Rectangle 12">
            <a:extLst>
              <a:ext uri="{FF2B5EF4-FFF2-40B4-BE49-F238E27FC236}">
                <a16:creationId xmlns:a16="http://schemas.microsoft.com/office/drawing/2014/main" id="{A4E78545-8042-0B4D-BE68-9E40B8A97EC1}"/>
              </a:ext>
            </a:extLst>
          </p:cNvPr>
          <p:cNvSpPr/>
          <p:nvPr userDrawn="1"/>
        </p:nvSpPr>
        <p:spPr>
          <a:xfrm>
            <a:off x="1" y="0"/>
            <a:ext cx="1111168" cy="6858000"/>
          </a:xfrm>
          <a:prstGeom prst="rect">
            <a:avLst/>
          </a:prstGeom>
          <a:solidFill>
            <a:srgbClr val="E5A6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CBC9BB"/>
              </a:solidFill>
              <a:effectLst/>
              <a:uLnTx/>
              <a:uFillTx/>
              <a:latin typeface="Arial" panose="020B0604020202020204"/>
              <a:ea typeface="+mn-ea"/>
              <a:cs typeface="+mn-cs"/>
            </a:endParaRPr>
          </a:p>
        </p:txBody>
      </p:sp>
      <p:cxnSp>
        <p:nvCxnSpPr>
          <p:cNvPr id="14" name="Straight Connector 13">
            <a:extLst>
              <a:ext uri="{FF2B5EF4-FFF2-40B4-BE49-F238E27FC236}">
                <a16:creationId xmlns:a16="http://schemas.microsoft.com/office/drawing/2014/main" id="{ADACAEC1-DC34-E94D-A3E3-466678B75049}"/>
              </a:ext>
            </a:extLst>
          </p:cNvPr>
          <p:cNvCxnSpPr>
            <a:cxnSpLocks/>
          </p:cNvCxnSpPr>
          <p:nvPr userDrawn="1"/>
        </p:nvCxnSpPr>
        <p:spPr>
          <a:xfrm>
            <a:off x="246928" y="1157475"/>
            <a:ext cx="11682715" cy="0"/>
          </a:xfrm>
          <a:prstGeom prst="line">
            <a:avLst/>
          </a:prstGeom>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9D55A9BE-5CAE-624A-B9C5-9C5ADD40E6B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6929" y="461565"/>
            <a:ext cx="586451" cy="484163"/>
          </a:xfrm>
          <a:prstGeom prst="rect">
            <a:avLst/>
          </a:prstGeom>
        </p:spPr>
      </p:pic>
      <p:sp>
        <p:nvSpPr>
          <p:cNvPr id="8" name="Text Placeholder 3">
            <a:extLst>
              <a:ext uri="{FF2B5EF4-FFF2-40B4-BE49-F238E27FC236}">
                <a16:creationId xmlns:a16="http://schemas.microsoft.com/office/drawing/2014/main" id="{79DEFB9C-269B-1144-AA45-49521A51BD03}"/>
              </a:ext>
            </a:extLst>
          </p:cNvPr>
          <p:cNvSpPr>
            <a:spLocks noGrp="1"/>
          </p:cNvSpPr>
          <p:nvPr>
            <p:ph type="body" sz="quarter" idx="13" hasCustomPrompt="1"/>
          </p:nvPr>
        </p:nvSpPr>
        <p:spPr>
          <a:xfrm>
            <a:off x="1466125" y="1720850"/>
            <a:ext cx="10054891" cy="4381043"/>
          </a:xfrm>
        </p:spPr>
        <p:txBody>
          <a:bodyPr/>
          <a:lstStyle/>
          <a:p>
            <a:pPr lvl="0"/>
            <a:r>
              <a:rPr lang="en-US"/>
              <a:t>Click to add text</a:t>
            </a:r>
          </a:p>
        </p:txBody>
      </p:sp>
      <p:sp>
        <p:nvSpPr>
          <p:cNvPr id="12" name="Date Placeholder 2">
            <a:extLst>
              <a:ext uri="{FF2B5EF4-FFF2-40B4-BE49-F238E27FC236}">
                <a16:creationId xmlns:a16="http://schemas.microsoft.com/office/drawing/2014/main" id="{57588A4B-0D2B-49F8-9CD2-81C5BD9C7E09}"/>
              </a:ext>
            </a:extLst>
          </p:cNvPr>
          <p:cNvSpPr txBox="1">
            <a:spLocks/>
          </p:cNvSpPr>
          <p:nvPr userDrawn="1"/>
        </p:nvSpPr>
        <p:spPr>
          <a:xfrm>
            <a:off x="209551" y="6538913"/>
            <a:ext cx="3000375" cy="366712"/>
          </a:xfrm>
          <a:prstGeom prst="rect">
            <a:avLst/>
          </a:prstGeom>
        </p:spPr>
        <p:txBody>
          <a:bodyPr vert="horz" lIns="0" tIns="45720" rIns="0" bIns="45720" rtlCol="0" anchor="b"/>
          <a:lstStyle>
            <a:defPPr>
              <a:defRPr lang="en-US"/>
            </a:defPPr>
            <a:lvl1pPr marL="0" marR="0" indent="0" algn="l" defTabSz="609585" rtl="0" eaLnBrk="1" fontAlgn="auto" latinLnBrk="0" hangingPunct="1">
              <a:lnSpc>
                <a:spcPct val="100000"/>
              </a:lnSpc>
              <a:spcBef>
                <a:spcPts val="0"/>
              </a:spcBef>
              <a:spcAft>
                <a:spcPts val="0"/>
              </a:spcAft>
              <a:buClrTx/>
              <a:buSzTx/>
              <a:buFontTx/>
              <a:buNone/>
              <a:tabLst/>
              <a:defRPr sz="1067"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7"/>
              <a:t>© 2020 Land O’Lakes, Inc.</a:t>
            </a:r>
          </a:p>
        </p:txBody>
      </p:sp>
    </p:spTree>
    <p:extLst>
      <p:ext uri="{BB962C8B-B14F-4D97-AF65-F5344CB8AC3E}">
        <p14:creationId xmlns:p14="http://schemas.microsoft.com/office/powerpoint/2010/main" val="1776772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 Subhead Lt Green">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Slide Number Placeholder 4">
            <a:extLst>
              <a:ext uri="{FF2B5EF4-FFF2-40B4-BE49-F238E27FC236}">
                <a16:creationId xmlns:a16="http://schemas.microsoft.com/office/drawing/2014/main" id="{7410A390-FD65-274F-B376-CED06693AA32}"/>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chemeClr val="tx1"/>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1" name="Title 6">
            <a:extLst>
              <a:ext uri="{FF2B5EF4-FFF2-40B4-BE49-F238E27FC236}">
                <a16:creationId xmlns:a16="http://schemas.microsoft.com/office/drawing/2014/main" id="{EFE852F4-AB63-7547-BC89-26DEDF6BBA40}"/>
              </a:ext>
            </a:extLst>
          </p:cNvPr>
          <p:cNvSpPr>
            <a:spLocks noGrp="1"/>
          </p:cNvSpPr>
          <p:nvPr>
            <p:ph type="title"/>
          </p:nvPr>
        </p:nvSpPr>
        <p:spPr>
          <a:xfrm>
            <a:off x="609600" y="172281"/>
            <a:ext cx="10911840" cy="992713"/>
          </a:xfrm>
          <a:prstGeom prst="rect">
            <a:avLst/>
          </a:prstGeom>
        </p:spPr>
        <p:txBody>
          <a:bodyPr lIns="0" anchor="b">
            <a:normAutofit/>
          </a:bodyPr>
          <a:lstStyle>
            <a:lvl1pPr>
              <a:defRPr sz="3467" b="1" i="0">
                <a:solidFill>
                  <a:schemeClr val="tx1"/>
                </a:solidFill>
                <a:latin typeface="Arial Bold"/>
              </a:defRPr>
            </a:lvl1pPr>
          </a:lstStyle>
          <a:p>
            <a:r>
              <a:rPr lang="en-US"/>
              <a:t>Click to edit Master title style</a:t>
            </a:r>
          </a:p>
        </p:txBody>
      </p:sp>
      <p:sp>
        <p:nvSpPr>
          <p:cNvPr id="12" name="Text Placeholder 2">
            <a:extLst>
              <a:ext uri="{FF2B5EF4-FFF2-40B4-BE49-F238E27FC236}">
                <a16:creationId xmlns:a16="http://schemas.microsoft.com/office/drawing/2014/main" id="{3CC38D49-EA08-3E47-9EDD-A7703EAB31F4}"/>
              </a:ext>
            </a:extLst>
          </p:cNvPr>
          <p:cNvSpPr>
            <a:spLocks noGrp="1"/>
          </p:cNvSpPr>
          <p:nvPr>
            <p:ph type="body" sz="quarter" idx="12" hasCustomPrompt="1"/>
          </p:nvPr>
        </p:nvSpPr>
        <p:spPr>
          <a:xfrm>
            <a:off x="609600" y="1173004"/>
            <a:ext cx="10911840" cy="334433"/>
          </a:xfrm>
        </p:spPr>
        <p:txBody>
          <a:bodyPr/>
          <a:lstStyle>
            <a:lvl1pPr>
              <a:defRPr sz="2133">
                <a:solidFill>
                  <a:schemeClr val="tx1"/>
                </a:solidFill>
              </a:defRPr>
            </a:lvl1pPr>
          </a:lstStyle>
          <a:p>
            <a:pPr lvl="0"/>
            <a:r>
              <a:rPr lang="en-US"/>
              <a:t>Click to edit subhead</a:t>
            </a:r>
          </a:p>
        </p:txBody>
      </p:sp>
      <p:sp>
        <p:nvSpPr>
          <p:cNvPr id="8" name="Rectangle 7">
            <a:extLst>
              <a:ext uri="{FF2B5EF4-FFF2-40B4-BE49-F238E27FC236}">
                <a16:creationId xmlns:a16="http://schemas.microsoft.com/office/drawing/2014/main" id="{4319DFF1-C689-8843-B4DC-DB712ACA1C4E}"/>
              </a:ext>
            </a:extLst>
          </p:cNvPr>
          <p:cNvSpPr/>
          <p:nvPr userDrawn="1"/>
        </p:nvSpPr>
        <p:spPr>
          <a:xfrm>
            <a:off x="1" y="0"/>
            <a:ext cx="18756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CBC9BB"/>
              </a:solidFill>
              <a:effectLst/>
              <a:uLnTx/>
              <a:uFillTx/>
              <a:latin typeface="Arial" panose="020B0604020202020204"/>
              <a:ea typeface="+mn-ea"/>
              <a:cs typeface="+mn-cs"/>
            </a:endParaRPr>
          </a:p>
        </p:txBody>
      </p:sp>
      <p:sp>
        <p:nvSpPr>
          <p:cNvPr id="7" name="Text Placeholder 3">
            <a:extLst>
              <a:ext uri="{FF2B5EF4-FFF2-40B4-BE49-F238E27FC236}">
                <a16:creationId xmlns:a16="http://schemas.microsoft.com/office/drawing/2014/main" id="{04038E11-6E8B-CF4A-9657-1D1B82A3604E}"/>
              </a:ext>
            </a:extLst>
          </p:cNvPr>
          <p:cNvSpPr>
            <a:spLocks noGrp="1"/>
          </p:cNvSpPr>
          <p:nvPr>
            <p:ph type="body" sz="quarter" idx="13" hasCustomPrompt="1"/>
          </p:nvPr>
        </p:nvSpPr>
        <p:spPr>
          <a:xfrm>
            <a:off x="609600" y="1720850"/>
            <a:ext cx="10911416" cy="4381043"/>
          </a:xfrm>
        </p:spPr>
        <p:txBody>
          <a:bodyPr/>
          <a:lstStyle/>
          <a:p>
            <a:pPr lvl="0"/>
            <a:r>
              <a:rPr lang="en-US"/>
              <a:t>Click to add text</a:t>
            </a:r>
          </a:p>
        </p:txBody>
      </p:sp>
      <p:sp>
        <p:nvSpPr>
          <p:cNvPr id="13" name="Date Placeholder 2">
            <a:extLst>
              <a:ext uri="{FF2B5EF4-FFF2-40B4-BE49-F238E27FC236}">
                <a16:creationId xmlns:a16="http://schemas.microsoft.com/office/drawing/2014/main" id="{BAD7A7C1-AD79-4ACC-A9BB-BC4C1FE4D59D}"/>
              </a:ext>
            </a:extLst>
          </p:cNvPr>
          <p:cNvSpPr txBox="1">
            <a:spLocks/>
          </p:cNvSpPr>
          <p:nvPr userDrawn="1"/>
        </p:nvSpPr>
        <p:spPr>
          <a:xfrm>
            <a:off x="209551" y="6538913"/>
            <a:ext cx="3000375" cy="366712"/>
          </a:xfrm>
          <a:prstGeom prst="rect">
            <a:avLst/>
          </a:prstGeom>
        </p:spPr>
        <p:txBody>
          <a:bodyPr vert="horz" lIns="0" tIns="45720" rIns="0" bIns="45720" rtlCol="0" anchor="b"/>
          <a:lstStyle>
            <a:defPPr>
              <a:defRPr lang="en-US"/>
            </a:defPPr>
            <a:lvl1pPr marL="0" marR="0" indent="0" algn="l" defTabSz="609585" rtl="0" eaLnBrk="1" fontAlgn="auto" latinLnBrk="0" hangingPunct="1">
              <a:lnSpc>
                <a:spcPct val="100000"/>
              </a:lnSpc>
              <a:spcBef>
                <a:spcPts val="0"/>
              </a:spcBef>
              <a:spcAft>
                <a:spcPts val="0"/>
              </a:spcAft>
              <a:buClrTx/>
              <a:buSzTx/>
              <a:buFontTx/>
              <a:buNone/>
              <a:tabLst/>
              <a:defRPr sz="1067"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7"/>
              <a:t>© 2020 Land O’Lakes, Inc.</a:t>
            </a:r>
          </a:p>
        </p:txBody>
      </p:sp>
    </p:spTree>
    <p:extLst>
      <p:ext uri="{BB962C8B-B14F-4D97-AF65-F5344CB8AC3E}">
        <p14:creationId xmlns:p14="http://schemas.microsoft.com/office/powerpoint/2010/main" val="361095850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O' Title + Subhead Lt Green">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Slide Number Placeholder 4">
            <a:extLst>
              <a:ext uri="{FF2B5EF4-FFF2-40B4-BE49-F238E27FC236}">
                <a16:creationId xmlns:a16="http://schemas.microsoft.com/office/drawing/2014/main" id="{7410A390-FD65-274F-B376-CED06693AA32}"/>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chemeClr val="tx1"/>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1" name="Title 6">
            <a:extLst>
              <a:ext uri="{FF2B5EF4-FFF2-40B4-BE49-F238E27FC236}">
                <a16:creationId xmlns:a16="http://schemas.microsoft.com/office/drawing/2014/main" id="{EFE852F4-AB63-7547-BC89-26DEDF6BBA40}"/>
              </a:ext>
            </a:extLst>
          </p:cNvPr>
          <p:cNvSpPr>
            <a:spLocks noGrp="1"/>
          </p:cNvSpPr>
          <p:nvPr>
            <p:ph type="title" hasCustomPrompt="1"/>
          </p:nvPr>
        </p:nvSpPr>
        <p:spPr>
          <a:xfrm>
            <a:off x="1466127" y="243841"/>
            <a:ext cx="9738903" cy="748873"/>
          </a:xfrm>
          <a:prstGeom prst="rect">
            <a:avLst/>
          </a:prstGeom>
        </p:spPr>
        <p:txBody>
          <a:bodyPr lIns="0" anchor="b">
            <a:normAutofit/>
          </a:bodyPr>
          <a:lstStyle>
            <a:lvl1pPr>
              <a:defRPr sz="3333" b="1" i="0">
                <a:solidFill>
                  <a:schemeClr val="tx1"/>
                </a:solidFill>
                <a:latin typeface="Arial Bold"/>
              </a:defRPr>
            </a:lvl1pPr>
          </a:lstStyle>
          <a:p>
            <a:r>
              <a:rPr lang="en-US"/>
              <a:t>CLICK TO EDIT MASTER TITLE STYLE</a:t>
            </a:r>
          </a:p>
        </p:txBody>
      </p:sp>
      <p:sp>
        <p:nvSpPr>
          <p:cNvPr id="13" name="Rectangle 12">
            <a:extLst>
              <a:ext uri="{FF2B5EF4-FFF2-40B4-BE49-F238E27FC236}">
                <a16:creationId xmlns:a16="http://schemas.microsoft.com/office/drawing/2014/main" id="{A4E78545-8042-0B4D-BE68-9E40B8A97EC1}"/>
              </a:ext>
            </a:extLst>
          </p:cNvPr>
          <p:cNvSpPr/>
          <p:nvPr userDrawn="1"/>
        </p:nvSpPr>
        <p:spPr>
          <a:xfrm>
            <a:off x="1" y="0"/>
            <a:ext cx="1111168" cy="6858000"/>
          </a:xfrm>
          <a:prstGeom prst="rect">
            <a:avLst/>
          </a:prstGeom>
          <a:solidFill>
            <a:srgbClr val="97C0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CBC9BB"/>
              </a:solidFill>
              <a:effectLst/>
              <a:uLnTx/>
              <a:uFillTx/>
              <a:latin typeface="Arial" panose="020B0604020202020204"/>
              <a:ea typeface="+mn-ea"/>
              <a:cs typeface="+mn-cs"/>
            </a:endParaRPr>
          </a:p>
        </p:txBody>
      </p:sp>
      <p:cxnSp>
        <p:nvCxnSpPr>
          <p:cNvPr id="14" name="Straight Connector 13">
            <a:extLst>
              <a:ext uri="{FF2B5EF4-FFF2-40B4-BE49-F238E27FC236}">
                <a16:creationId xmlns:a16="http://schemas.microsoft.com/office/drawing/2014/main" id="{ADACAEC1-DC34-E94D-A3E3-466678B75049}"/>
              </a:ext>
            </a:extLst>
          </p:cNvPr>
          <p:cNvCxnSpPr>
            <a:cxnSpLocks/>
          </p:cNvCxnSpPr>
          <p:nvPr userDrawn="1"/>
        </p:nvCxnSpPr>
        <p:spPr>
          <a:xfrm>
            <a:off x="246928" y="1157475"/>
            <a:ext cx="11682715" cy="0"/>
          </a:xfrm>
          <a:prstGeom prst="line">
            <a:avLst/>
          </a:prstGeom>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9D55A9BE-5CAE-624A-B9C5-9C5ADD40E6B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6929" y="461565"/>
            <a:ext cx="586451" cy="484163"/>
          </a:xfrm>
          <a:prstGeom prst="rect">
            <a:avLst/>
          </a:prstGeom>
        </p:spPr>
      </p:pic>
      <p:sp>
        <p:nvSpPr>
          <p:cNvPr id="8" name="Text Placeholder 3">
            <a:extLst>
              <a:ext uri="{FF2B5EF4-FFF2-40B4-BE49-F238E27FC236}">
                <a16:creationId xmlns:a16="http://schemas.microsoft.com/office/drawing/2014/main" id="{72D3F86D-B887-0944-B30B-654B24611DF0}"/>
              </a:ext>
            </a:extLst>
          </p:cNvPr>
          <p:cNvSpPr>
            <a:spLocks noGrp="1"/>
          </p:cNvSpPr>
          <p:nvPr>
            <p:ph type="body" sz="quarter" idx="13" hasCustomPrompt="1"/>
          </p:nvPr>
        </p:nvSpPr>
        <p:spPr>
          <a:xfrm>
            <a:off x="1466125" y="1720850"/>
            <a:ext cx="10054891" cy="4381043"/>
          </a:xfrm>
        </p:spPr>
        <p:txBody>
          <a:bodyPr/>
          <a:lstStyle/>
          <a:p>
            <a:pPr lvl="0"/>
            <a:r>
              <a:rPr lang="en-US"/>
              <a:t>Click to add text</a:t>
            </a:r>
          </a:p>
        </p:txBody>
      </p:sp>
      <p:sp>
        <p:nvSpPr>
          <p:cNvPr id="12" name="Date Placeholder 2">
            <a:extLst>
              <a:ext uri="{FF2B5EF4-FFF2-40B4-BE49-F238E27FC236}">
                <a16:creationId xmlns:a16="http://schemas.microsoft.com/office/drawing/2014/main" id="{1C6C9E7D-F1FA-43CB-AE57-1AEF332198F7}"/>
              </a:ext>
            </a:extLst>
          </p:cNvPr>
          <p:cNvSpPr txBox="1">
            <a:spLocks/>
          </p:cNvSpPr>
          <p:nvPr userDrawn="1"/>
        </p:nvSpPr>
        <p:spPr>
          <a:xfrm>
            <a:off x="209551" y="6538913"/>
            <a:ext cx="3000375" cy="366712"/>
          </a:xfrm>
          <a:prstGeom prst="rect">
            <a:avLst/>
          </a:prstGeom>
        </p:spPr>
        <p:txBody>
          <a:bodyPr vert="horz" lIns="0" tIns="45720" rIns="0" bIns="45720" rtlCol="0" anchor="b"/>
          <a:lstStyle>
            <a:defPPr>
              <a:defRPr lang="en-US"/>
            </a:defPPr>
            <a:lvl1pPr marL="0" marR="0" indent="0" algn="l" defTabSz="609585" rtl="0" eaLnBrk="1" fontAlgn="auto" latinLnBrk="0" hangingPunct="1">
              <a:lnSpc>
                <a:spcPct val="100000"/>
              </a:lnSpc>
              <a:spcBef>
                <a:spcPts val="0"/>
              </a:spcBef>
              <a:spcAft>
                <a:spcPts val="0"/>
              </a:spcAft>
              <a:buClrTx/>
              <a:buSzTx/>
              <a:buFontTx/>
              <a:buNone/>
              <a:tabLst/>
              <a:defRPr sz="1067"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7"/>
              <a:t>© 2020 Land O’Lakes, Inc.</a:t>
            </a:r>
          </a:p>
        </p:txBody>
      </p:sp>
    </p:spTree>
    <p:extLst>
      <p:ext uri="{BB962C8B-B14F-4D97-AF65-F5344CB8AC3E}">
        <p14:creationId xmlns:p14="http://schemas.microsoft.com/office/powerpoint/2010/main" val="213766672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ntact Page">
    <p:bg>
      <p:bgPr>
        <a:solidFill>
          <a:schemeClr val="accent4"/>
        </a:solidFill>
        <a:effectLst/>
      </p:bgPr>
    </p:bg>
    <p:spTree>
      <p:nvGrpSpPr>
        <p:cNvPr id="1" name=""/>
        <p:cNvGrpSpPr/>
        <p:nvPr/>
      </p:nvGrpSpPr>
      <p:grpSpPr>
        <a:xfrm>
          <a:off x="0" y="0"/>
          <a:ext cx="0" cy="0"/>
          <a:chOff x="0" y="0"/>
          <a:chExt cx="0" cy="0"/>
        </a:xfrm>
      </p:grpSpPr>
      <p:cxnSp>
        <p:nvCxnSpPr>
          <p:cNvPr id="6" name="Straight Connector 5"/>
          <p:cNvCxnSpPr/>
          <p:nvPr userDrawn="1"/>
        </p:nvCxnSpPr>
        <p:spPr>
          <a:xfrm>
            <a:off x="4319064" y="5523981"/>
            <a:ext cx="3336744" cy="0"/>
          </a:xfrm>
          <a:prstGeom prst="line">
            <a:avLst/>
          </a:prstGeom>
          <a:ln w="12700">
            <a:solidFill>
              <a:srgbClr val="FFFFFF"/>
            </a:solidFill>
            <a:prstDash val="solid"/>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2700244" y="5843780"/>
            <a:ext cx="6574384" cy="756685"/>
          </a:xfrm>
        </p:spPr>
        <p:txBody>
          <a:bodyPr>
            <a:noAutofit/>
          </a:bodyPr>
          <a:lstStyle>
            <a:lvl1pPr marL="0" indent="0" algn="ctr">
              <a:buNone/>
              <a:defRPr sz="2133" b="0" i="0">
                <a:solidFill>
                  <a:srgbClr val="FFFFFF"/>
                </a:solidFill>
                <a:latin typeface="Arial" panose="020B0604020202020204" pitchFamily="34" charset="0"/>
                <a:cs typeface="Arial" panose="020B0604020202020204" pitchFamily="34" charset="0"/>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Click to edit Master subtitle style</a:t>
            </a:r>
          </a:p>
        </p:txBody>
      </p:sp>
      <p:sp>
        <p:nvSpPr>
          <p:cNvPr id="4" name="Title 3"/>
          <p:cNvSpPr>
            <a:spLocks noGrp="1"/>
          </p:cNvSpPr>
          <p:nvPr>
            <p:ph type="title"/>
          </p:nvPr>
        </p:nvSpPr>
        <p:spPr>
          <a:xfrm>
            <a:off x="969417" y="4440236"/>
            <a:ext cx="10036043" cy="1083747"/>
          </a:xfrm>
          <a:prstGeom prst="rect">
            <a:avLst/>
          </a:prstGeom>
        </p:spPr>
        <p:txBody>
          <a:bodyPr anchor="ctr" anchorCtr="0"/>
          <a:lstStyle>
            <a:lvl1pPr algn="ctr">
              <a:defRPr sz="3333" b="1" i="0">
                <a:solidFill>
                  <a:srgbClr val="FFFFFF"/>
                </a:solidFill>
                <a:latin typeface="Arial Bold"/>
              </a:defRPr>
            </a:lvl1pPr>
          </a:lstStyle>
          <a:p>
            <a:r>
              <a:rPr lang="en-US"/>
              <a:t>Click to edit Master title style</a:t>
            </a:r>
          </a:p>
        </p:txBody>
      </p:sp>
      <p:sp>
        <p:nvSpPr>
          <p:cNvPr id="5" name="Slide Number Placeholder 4">
            <a:extLst>
              <a:ext uri="{FF2B5EF4-FFF2-40B4-BE49-F238E27FC236}">
                <a16:creationId xmlns:a16="http://schemas.microsoft.com/office/drawing/2014/main" id="{1CE56976-B794-454A-B4F8-15213B2E1753}"/>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rgbClr val="FFFFFF"/>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7" name="Date Placeholder 5">
            <a:extLst>
              <a:ext uri="{FF2B5EF4-FFF2-40B4-BE49-F238E27FC236}">
                <a16:creationId xmlns:a16="http://schemas.microsoft.com/office/drawing/2014/main" id="{5E6642AD-3009-664B-A827-B6D44FF591A8}"/>
              </a:ext>
            </a:extLst>
          </p:cNvPr>
          <p:cNvSpPr>
            <a:spLocks noGrp="1"/>
          </p:cNvSpPr>
          <p:nvPr>
            <p:ph type="dt" sz="half" idx="2"/>
          </p:nvPr>
        </p:nvSpPr>
        <p:spPr>
          <a:xfrm>
            <a:off x="406402" y="6444338"/>
            <a:ext cx="3000831" cy="366183"/>
          </a:xfrm>
          <a:prstGeom prst="rect">
            <a:avLst/>
          </a:prstGeom>
        </p:spPr>
        <p:txBody>
          <a:bodyPr vert="horz" lIns="0" tIns="45720" rIns="0" bIns="45720" rtlCol="0" anchor="b"/>
          <a:lstStyle>
            <a:lvl1pPr marL="0" marR="0" indent="0" algn="l" defTabSz="609570" rtl="0" eaLnBrk="1" fontAlgn="auto" latinLnBrk="0" hangingPunct="1">
              <a:lnSpc>
                <a:spcPct val="100000"/>
              </a:lnSpc>
              <a:spcBef>
                <a:spcPts val="0"/>
              </a:spcBef>
              <a:spcAft>
                <a:spcPts val="0"/>
              </a:spcAft>
              <a:buClrTx/>
              <a:buSzTx/>
              <a:buFontTx/>
              <a:buNone/>
              <a:tabLst/>
              <a:defRPr sz="1067" b="0" i="0">
                <a:solidFill>
                  <a:srgbClr val="FFFFFF"/>
                </a:solidFill>
                <a:latin typeface="Arial" panose="020B0604020202020204" pitchFamily="34" charset="0"/>
                <a:cs typeface="Arial" panose="020B0604020202020204" pitchFamily="34" charset="0"/>
              </a:defRPr>
            </a:lvl1pPr>
          </a:lstStyle>
          <a:p>
            <a:r>
              <a:rPr lang="en-US"/>
              <a:t>© 2018 Land O’Lakes, Inc.</a:t>
            </a:r>
          </a:p>
        </p:txBody>
      </p:sp>
    </p:spTree>
    <p:extLst>
      <p:ext uri="{BB962C8B-B14F-4D97-AF65-F5344CB8AC3E}">
        <p14:creationId xmlns:p14="http://schemas.microsoft.com/office/powerpoint/2010/main" val="67377783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C7F6D88-6FB6-43DB-AA4F-A043A61B9BA7}"/>
              </a:ext>
            </a:extLst>
          </p:cNvPr>
          <p:cNvSpPr>
            <a:spLocks noGrp="1"/>
          </p:cNvSpPr>
          <p:nvPr>
            <p:ph type="dt" sz="half" idx="10"/>
          </p:nvPr>
        </p:nvSpPr>
        <p:spPr/>
        <p:txBody>
          <a:bodyPr/>
          <a:lstStyle/>
          <a:p>
            <a:fld id="{AA6B0CA1-6DC5-4DD7-B5E6-2DBB3F889A21}" type="datetimeFigureOut">
              <a:rPr lang="en-US" smtClean="0"/>
              <a:t>6/24/2020</a:t>
            </a:fld>
            <a:endParaRPr lang="en-US"/>
          </a:p>
        </p:txBody>
      </p:sp>
      <p:sp>
        <p:nvSpPr>
          <p:cNvPr id="3" name="Footer Placeholder 2">
            <a:extLst>
              <a:ext uri="{FF2B5EF4-FFF2-40B4-BE49-F238E27FC236}">
                <a16:creationId xmlns:a16="http://schemas.microsoft.com/office/drawing/2014/main" id="{DE66E9D1-8344-49C2-8DE2-85200B03B92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106C2F8-15B3-45ED-AE73-79E6DADA6CC2}"/>
              </a:ext>
            </a:extLst>
          </p:cNvPr>
          <p:cNvSpPr>
            <a:spLocks noGrp="1"/>
          </p:cNvSpPr>
          <p:nvPr>
            <p:ph type="sldNum" sz="quarter" idx="12"/>
          </p:nvPr>
        </p:nvSpPr>
        <p:spPr/>
        <p:txBody>
          <a:bodyPr/>
          <a:lstStyle/>
          <a:p>
            <a:fld id="{A7AAC32A-BF39-45EB-9EDF-E3AE147C7117}" type="slidenum">
              <a:rPr lang="en-US" smtClean="0"/>
              <a:t>‹#›</a:t>
            </a:fld>
            <a:endParaRPr lang="en-US"/>
          </a:p>
        </p:txBody>
      </p:sp>
    </p:spTree>
    <p:extLst>
      <p:ext uri="{BB962C8B-B14F-4D97-AF65-F5344CB8AC3E}">
        <p14:creationId xmlns:p14="http://schemas.microsoft.com/office/powerpoint/2010/main" val="301452130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Title + Subhead Lt Green">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Slide Number Placeholder 4">
            <a:extLst>
              <a:ext uri="{FF2B5EF4-FFF2-40B4-BE49-F238E27FC236}">
                <a16:creationId xmlns:a16="http://schemas.microsoft.com/office/drawing/2014/main" id="{7410A390-FD65-274F-B376-CED06693AA32}"/>
              </a:ext>
            </a:extLst>
          </p:cNvPr>
          <p:cNvSpPr>
            <a:spLocks noGrp="1"/>
          </p:cNvSpPr>
          <p:nvPr>
            <p:ph type="sldNum" sz="quarter" idx="4"/>
          </p:nvPr>
        </p:nvSpPr>
        <p:spPr>
          <a:xfrm>
            <a:off x="9042400" y="6444339"/>
            <a:ext cx="2743200" cy="366183"/>
          </a:xfrm>
          <a:prstGeom prst="rect">
            <a:avLst/>
          </a:prstGeom>
        </p:spPr>
        <p:txBody>
          <a:bodyPr vert="horz" lIns="0" tIns="45720" rIns="0" bIns="45720" rtlCol="0" anchor="b"/>
          <a:lstStyle>
            <a:lvl1pPr algn="r">
              <a:defRPr sz="1200">
                <a:solidFill>
                  <a:schemeClr val="tx1"/>
                </a:solidFill>
                <a:latin typeface="DIN Next LT Pro" panose="020B0503020203050203" pitchFamily="34" charset="77"/>
              </a:defRPr>
            </a:lvl1pPr>
          </a:lstStyle>
          <a:p>
            <a:fld id="{BA19D0F6-5B80-F543-AF4F-7B18B9728D74}" type="slidenum">
              <a:rPr lang="en-US" smtClean="0"/>
              <a:pPr/>
              <a:t>‹#›</a:t>
            </a:fld>
            <a:endParaRPr lang="en-US"/>
          </a:p>
        </p:txBody>
      </p:sp>
      <p:sp>
        <p:nvSpPr>
          <p:cNvPr id="11" name="Title 6">
            <a:extLst>
              <a:ext uri="{FF2B5EF4-FFF2-40B4-BE49-F238E27FC236}">
                <a16:creationId xmlns:a16="http://schemas.microsoft.com/office/drawing/2014/main" id="{EFE852F4-AB63-7547-BC89-26DEDF6BBA40}"/>
              </a:ext>
            </a:extLst>
          </p:cNvPr>
          <p:cNvSpPr>
            <a:spLocks noGrp="1"/>
          </p:cNvSpPr>
          <p:nvPr>
            <p:ph type="title"/>
          </p:nvPr>
        </p:nvSpPr>
        <p:spPr>
          <a:xfrm>
            <a:off x="609600" y="172282"/>
            <a:ext cx="10911840" cy="992713"/>
          </a:xfrm>
          <a:prstGeom prst="rect">
            <a:avLst/>
          </a:prstGeom>
        </p:spPr>
        <p:txBody>
          <a:bodyPr lIns="0" anchor="b">
            <a:normAutofit/>
          </a:bodyPr>
          <a:lstStyle>
            <a:lvl1pPr>
              <a:defRPr sz="3467" b="1" i="0">
                <a:solidFill>
                  <a:schemeClr val="tx1"/>
                </a:solidFill>
                <a:latin typeface="Cervo Neue Bold Neue" pitchFamily="2" charset="77"/>
              </a:defRPr>
            </a:lvl1pPr>
          </a:lstStyle>
          <a:p>
            <a:r>
              <a:rPr lang="en-US"/>
              <a:t>Click to edit Master title style</a:t>
            </a:r>
          </a:p>
        </p:txBody>
      </p:sp>
      <p:sp>
        <p:nvSpPr>
          <p:cNvPr id="12" name="Text Placeholder 2">
            <a:extLst>
              <a:ext uri="{FF2B5EF4-FFF2-40B4-BE49-F238E27FC236}">
                <a16:creationId xmlns:a16="http://schemas.microsoft.com/office/drawing/2014/main" id="{3CC38D49-EA08-3E47-9EDD-A7703EAB31F4}"/>
              </a:ext>
            </a:extLst>
          </p:cNvPr>
          <p:cNvSpPr>
            <a:spLocks noGrp="1"/>
          </p:cNvSpPr>
          <p:nvPr>
            <p:ph type="body" sz="quarter" idx="12" hasCustomPrompt="1"/>
          </p:nvPr>
        </p:nvSpPr>
        <p:spPr>
          <a:xfrm>
            <a:off x="609600" y="1173005"/>
            <a:ext cx="10911840" cy="334433"/>
          </a:xfrm>
        </p:spPr>
        <p:txBody>
          <a:bodyPr/>
          <a:lstStyle>
            <a:lvl1pPr>
              <a:defRPr sz="2133">
                <a:solidFill>
                  <a:schemeClr val="tx1"/>
                </a:solidFill>
              </a:defRPr>
            </a:lvl1pPr>
          </a:lstStyle>
          <a:p>
            <a:pPr lvl="0"/>
            <a:r>
              <a:rPr lang="en-US"/>
              <a:t>Click to edit subhead</a:t>
            </a:r>
          </a:p>
        </p:txBody>
      </p:sp>
      <p:sp>
        <p:nvSpPr>
          <p:cNvPr id="8" name="Rectangle 7">
            <a:extLst>
              <a:ext uri="{FF2B5EF4-FFF2-40B4-BE49-F238E27FC236}">
                <a16:creationId xmlns:a16="http://schemas.microsoft.com/office/drawing/2014/main" id="{4319DFF1-C689-8843-B4DC-DB712ACA1C4E}"/>
              </a:ext>
            </a:extLst>
          </p:cNvPr>
          <p:cNvSpPr/>
          <p:nvPr userDrawn="1"/>
        </p:nvSpPr>
        <p:spPr>
          <a:xfrm>
            <a:off x="1" y="0"/>
            <a:ext cx="18756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CBC9BB"/>
              </a:solidFill>
              <a:effectLst/>
              <a:uLnTx/>
              <a:uFillTx/>
              <a:latin typeface="Arial" panose="020B0604020202020204"/>
              <a:ea typeface="+mn-ea"/>
              <a:cs typeface="+mn-cs"/>
            </a:endParaRPr>
          </a:p>
        </p:txBody>
      </p:sp>
      <p:sp>
        <p:nvSpPr>
          <p:cNvPr id="7" name="Date Placeholder 2">
            <a:extLst>
              <a:ext uri="{FF2B5EF4-FFF2-40B4-BE49-F238E27FC236}">
                <a16:creationId xmlns:a16="http://schemas.microsoft.com/office/drawing/2014/main" id="{38F01C94-2891-4F4A-8F7C-731DEDA0F037}"/>
              </a:ext>
            </a:extLst>
          </p:cNvPr>
          <p:cNvSpPr txBox="1">
            <a:spLocks/>
          </p:cNvSpPr>
          <p:nvPr userDrawn="1"/>
        </p:nvSpPr>
        <p:spPr>
          <a:xfrm>
            <a:off x="209551" y="6538913"/>
            <a:ext cx="3000375" cy="366712"/>
          </a:xfrm>
          <a:prstGeom prst="rect">
            <a:avLst/>
          </a:prstGeom>
        </p:spPr>
        <p:txBody>
          <a:bodyPr vert="horz" lIns="0" tIns="45720" rIns="0" bIns="45720" rtlCol="0" anchor="b"/>
          <a:lstStyle>
            <a:defPPr>
              <a:defRPr lang="en-US"/>
            </a:defPPr>
            <a:lvl1pPr marL="0" marR="0" indent="0" algn="l" defTabSz="609585" rtl="0" eaLnBrk="1" fontAlgn="auto" latinLnBrk="0" hangingPunct="1">
              <a:lnSpc>
                <a:spcPct val="100000"/>
              </a:lnSpc>
              <a:spcBef>
                <a:spcPts val="0"/>
              </a:spcBef>
              <a:spcAft>
                <a:spcPts val="0"/>
              </a:spcAft>
              <a:buClrTx/>
              <a:buSzTx/>
              <a:buFontTx/>
              <a:buNone/>
              <a:tabLst/>
              <a:defRPr sz="1067"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7"/>
              <a:t>© 2020 Land O’Lakes, Inc.</a:t>
            </a:r>
          </a:p>
        </p:txBody>
      </p:sp>
    </p:spTree>
    <p:extLst>
      <p:ext uri="{BB962C8B-B14F-4D97-AF65-F5344CB8AC3E}">
        <p14:creationId xmlns:p14="http://schemas.microsoft.com/office/powerpoint/2010/main" val="279381587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 Subhead Orange">
    <p:bg>
      <p:bgPr>
        <a:solidFill>
          <a:srgbClr val="FFFFFF"/>
        </a:solidFill>
        <a:effectLst/>
      </p:bgPr>
    </p:bg>
    <p:spTree>
      <p:nvGrpSpPr>
        <p:cNvPr id="1" name=""/>
        <p:cNvGrpSpPr/>
        <p:nvPr/>
      </p:nvGrpSpPr>
      <p:grpSpPr>
        <a:xfrm>
          <a:off x="0" y="0"/>
          <a:ext cx="0" cy="0"/>
          <a:chOff x="0" y="0"/>
          <a:chExt cx="0" cy="0"/>
        </a:xfrm>
      </p:grpSpPr>
      <p:sp>
        <p:nvSpPr>
          <p:cNvPr id="9" name="Slide Number Placeholder 4">
            <a:extLst>
              <a:ext uri="{FF2B5EF4-FFF2-40B4-BE49-F238E27FC236}">
                <a16:creationId xmlns:a16="http://schemas.microsoft.com/office/drawing/2014/main" id="{7410A390-FD65-274F-B376-CED06693AA32}"/>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200">
                <a:solidFill>
                  <a:schemeClr val="tx1"/>
                </a:solidFill>
                <a:latin typeface="DIN Next LT Pro" panose="020B0503020203050203" pitchFamily="34" charset="77"/>
              </a:defRPr>
            </a:lvl1pPr>
          </a:lstStyle>
          <a:p>
            <a:fld id="{BA19D0F6-5B80-F543-AF4F-7B18B9728D74}" type="slidenum">
              <a:rPr lang="en-US" smtClean="0"/>
              <a:pPr/>
              <a:t>‹#›</a:t>
            </a:fld>
            <a:endParaRPr lang="en-US"/>
          </a:p>
        </p:txBody>
      </p:sp>
      <p:sp>
        <p:nvSpPr>
          <p:cNvPr id="11" name="Title 6">
            <a:extLst>
              <a:ext uri="{FF2B5EF4-FFF2-40B4-BE49-F238E27FC236}">
                <a16:creationId xmlns:a16="http://schemas.microsoft.com/office/drawing/2014/main" id="{EFE852F4-AB63-7547-BC89-26DEDF6BBA40}"/>
              </a:ext>
            </a:extLst>
          </p:cNvPr>
          <p:cNvSpPr>
            <a:spLocks noGrp="1"/>
          </p:cNvSpPr>
          <p:nvPr>
            <p:ph type="title"/>
          </p:nvPr>
        </p:nvSpPr>
        <p:spPr>
          <a:xfrm>
            <a:off x="609600" y="172281"/>
            <a:ext cx="10911840" cy="992713"/>
          </a:xfrm>
          <a:prstGeom prst="rect">
            <a:avLst/>
          </a:prstGeom>
        </p:spPr>
        <p:txBody>
          <a:bodyPr lIns="0" anchor="b">
            <a:normAutofit/>
          </a:bodyPr>
          <a:lstStyle>
            <a:lvl1pPr>
              <a:defRPr sz="3467" b="1" i="0">
                <a:solidFill>
                  <a:schemeClr val="tx1"/>
                </a:solidFill>
                <a:latin typeface="Cervo Neue Bold Neue" pitchFamily="2" charset="77"/>
              </a:defRPr>
            </a:lvl1pPr>
          </a:lstStyle>
          <a:p>
            <a:r>
              <a:rPr lang="en-US"/>
              <a:t>Click to edit Master title style</a:t>
            </a:r>
          </a:p>
        </p:txBody>
      </p:sp>
      <p:sp>
        <p:nvSpPr>
          <p:cNvPr id="12" name="Text Placeholder 2">
            <a:extLst>
              <a:ext uri="{FF2B5EF4-FFF2-40B4-BE49-F238E27FC236}">
                <a16:creationId xmlns:a16="http://schemas.microsoft.com/office/drawing/2014/main" id="{3CC38D49-EA08-3E47-9EDD-A7703EAB31F4}"/>
              </a:ext>
            </a:extLst>
          </p:cNvPr>
          <p:cNvSpPr>
            <a:spLocks noGrp="1"/>
          </p:cNvSpPr>
          <p:nvPr>
            <p:ph type="body" sz="quarter" idx="12" hasCustomPrompt="1"/>
          </p:nvPr>
        </p:nvSpPr>
        <p:spPr>
          <a:xfrm>
            <a:off x="609600" y="1173004"/>
            <a:ext cx="10911840" cy="334433"/>
          </a:xfrm>
        </p:spPr>
        <p:txBody>
          <a:bodyPr/>
          <a:lstStyle>
            <a:lvl1pPr>
              <a:defRPr sz="2133">
                <a:solidFill>
                  <a:schemeClr val="tx1"/>
                </a:solidFill>
              </a:defRPr>
            </a:lvl1pPr>
          </a:lstStyle>
          <a:p>
            <a:pPr lvl="0"/>
            <a:r>
              <a:rPr lang="en-US"/>
              <a:t>Click to edit subhead</a:t>
            </a:r>
          </a:p>
        </p:txBody>
      </p:sp>
      <p:sp>
        <p:nvSpPr>
          <p:cNvPr id="8" name="Rectangle 7">
            <a:extLst>
              <a:ext uri="{FF2B5EF4-FFF2-40B4-BE49-F238E27FC236}">
                <a16:creationId xmlns:a16="http://schemas.microsoft.com/office/drawing/2014/main" id="{4319DFF1-C689-8843-B4DC-DB712ACA1C4E}"/>
              </a:ext>
            </a:extLst>
          </p:cNvPr>
          <p:cNvSpPr/>
          <p:nvPr userDrawn="1"/>
        </p:nvSpPr>
        <p:spPr>
          <a:xfrm>
            <a:off x="1" y="0"/>
            <a:ext cx="18756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CBC9BB"/>
              </a:solidFill>
              <a:effectLst/>
              <a:uLnTx/>
              <a:uFillTx/>
              <a:latin typeface="Arial" panose="020B0604020202020204"/>
              <a:ea typeface="+mn-ea"/>
              <a:cs typeface="+mn-cs"/>
            </a:endParaRPr>
          </a:p>
        </p:txBody>
      </p:sp>
      <p:sp>
        <p:nvSpPr>
          <p:cNvPr id="7" name="Date Placeholder 2">
            <a:extLst>
              <a:ext uri="{FF2B5EF4-FFF2-40B4-BE49-F238E27FC236}">
                <a16:creationId xmlns:a16="http://schemas.microsoft.com/office/drawing/2014/main" id="{7408171E-B412-48B9-8A5A-538DC18AC8A9}"/>
              </a:ext>
            </a:extLst>
          </p:cNvPr>
          <p:cNvSpPr txBox="1">
            <a:spLocks/>
          </p:cNvSpPr>
          <p:nvPr userDrawn="1"/>
        </p:nvSpPr>
        <p:spPr>
          <a:xfrm>
            <a:off x="209551" y="6538913"/>
            <a:ext cx="3000375" cy="366712"/>
          </a:xfrm>
          <a:prstGeom prst="rect">
            <a:avLst/>
          </a:prstGeom>
        </p:spPr>
        <p:txBody>
          <a:bodyPr vert="horz" lIns="0" tIns="45720" rIns="0" bIns="45720" rtlCol="0" anchor="b"/>
          <a:lstStyle>
            <a:defPPr>
              <a:defRPr lang="en-US"/>
            </a:defPPr>
            <a:lvl1pPr marL="0" marR="0" indent="0" algn="l" defTabSz="609585" rtl="0" eaLnBrk="1" fontAlgn="auto" latinLnBrk="0" hangingPunct="1">
              <a:lnSpc>
                <a:spcPct val="100000"/>
              </a:lnSpc>
              <a:spcBef>
                <a:spcPts val="0"/>
              </a:spcBef>
              <a:spcAft>
                <a:spcPts val="0"/>
              </a:spcAft>
              <a:buClrTx/>
              <a:buSzTx/>
              <a:buFontTx/>
              <a:buNone/>
              <a:tabLst/>
              <a:defRPr sz="1067"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7"/>
              <a:t>© 2020 Land O’Lakes, Inc.</a:t>
            </a:r>
          </a:p>
        </p:txBody>
      </p:sp>
    </p:spTree>
    <p:extLst>
      <p:ext uri="{BB962C8B-B14F-4D97-AF65-F5344CB8AC3E}">
        <p14:creationId xmlns:p14="http://schemas.microsoft.com/office/powerpoint/2010/main" val="160968089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Title + Subhead Dk Green">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Slide Number Placeholder 4">
            <a:extLst>
              <a:ext uri="{FF2B5EF4-FFF2-40B4-BE49-F238E27FC236}">
                <a16:creationId xmlns:a16="http://schemas.microsoft.com/office/drawing/2014/main" id="{7410A390-FD65-274F-B376-CED06693AA32}"/>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200">
                <a:solidFill>
                  <a:schemeClr val="tx1"/>
                </a:solidFill>
                <a:latin typeface="DIN Next LT Pro" panose="020B0503020203050203" pitchFamily="34" charset="77"/>
              </a:defRPr>
            </a:lvl1pPr>
          </a:lstStyle>
          <a:p>
            <a:fld id="{BA19D0F6-5B80-F543-AF4F-7B18B9728D74}" type="slidenum">
              <a:rPr lang="en-US" smtClean="0"/>
              <a:pPr/>
              <a:t>‹#›</a:t>
            </a:fld>
            <a:endParaRPr lang="en-US"/>
          </a:p>
        </p:txBody>
      </p:sp>
      <p:sp>
        <p:nvSpPr>
          <p:cNvPr id="11" name="Title 6">
            <a:extLst>
              <a:ext uri="{FF2B5EF4-FFF2-40B4-BE49-F238E27FC236}">
                <a16:creationId xmlns:a16="http://schemas.microsoft.com/office/drawing/2014/main" id="{EFE852F4-AB63-7547-BC89-26DEDF6BBA40}"/>
              </a:ext>
            </a:extLst>
          </p:cNvPr>
          <p:cNvSpPr>
            <a:spLocks noGrp="1"/>
          </p:cNvSpPr>
          <p:nvPr>
            <p:ph type="title"/>
          </p:nvPr>
        </p:nvSpPr>
        <p:spPr>
          <a:xfrm>
            <a:off x="609600" y="172281"/>
            <a:ext cx="10911840" cy="992713"/>
          </a:xfrm>
          <a:prstGeom prst="rect">
            <a:avLst/>
          </a:prstGeom>
        </p:spPr>
        <p:txBody>
          <a:bodyPr lIns="0" anchor="b">
            <a:normAutofit/>
          </a:bodyPr>
          <a:lstStyle>
            <a:lvl1pPr>
              <a:defRPr sz="3467" b="1" i="0">
                <a:solidFill>
                  <a:schemeClr val="tx1"/>
                </a:solidFill>
                <a:latin typeface="Cervo Neue Bold Neue" pitchFamily="2" charset="77"/>
              </a:defRPr>
            </a:lvl1pPr>
          </a:lstStyle>
          <a:p>
            <a:r>
              <a:rPr lang="en-US"/>
              <a:t>Click to edit Master title style</a:t>
            </a:r>
          </a:p>
        </p:txBody>
      </p:sp>
      <p:sp>
        <p:nvSpPr>
          <p:cNvPr id="12" name="Text Placeholder 2">
            <a:extLst>
              <a:ext uri="{FF2B5EF4-FFF2-40B4-BE49-F238E27FC236}">
                <a16:creationId xmlns:a16="http://schemas.microsoft.com/office/drawing/2014/main" id="{3CC38D49-EA08-3E47-9EDD-A7703EAB31F4}"/>
              </a:ext>
            </a:extLst>
          </p:cNvPr>
          <p:cNvSpPr>
            <a:spLocks noGrp="1"/>
          </p:cNvSpPr>
          <p:nvPr>
            <p:ph type="body" sz="quarter" idx="12" hasCustomPrompt="1"/>
          </p:nvPr>
        </p:nvSpPr>
        <p:spPr>
          <a:xfrm>
            <a:off x="609600" y="1173004"/>
            <a:ext cx="10911840" cy="334433"/>
          </a:xfrm>
        </p:spPr>
        <p:txBody>
          <a:bodyPr/>
          <a:lstStyle>
            <a:lvl1pPr>
              <a:defRPr sz="2133">
                <a:solidFill>
                  <a:schemeClr val="tx1"/>
                </a:solidFill>
              </a:defRPr>
            </a:lvl1pPr>
          </a:lstStyle>
          <a:p>
            <a:pPr lvl="0"/>
            <a:r>
              <a:rPr lang="en-US"/>
              <a:t>Click to edit subhead</a:t>
            </a:r>
          </a:p>
        </p:txBody>
      </p:sp>
      <p:sp>
        <p:nvSpPr>
          <p:cNvPr id="8" name="Rectangle 7">
            <a:extLst>
              <a:ext uri="{FF2B5EF4-FFF2-40B4-BE49-F238E27FC236}">
                <a16:creationId xmlns:a16="http://schemas.microsoft.com/office/drawing/2014/main" id="{4319DFF1-C689-8843-B4DC-DB712ACA1C4E}"/>
              </a:ext>
            </a:extLst>
          </p:cNvPr>
          <p:cNvSpPr/>
          <p:nvPr userDrawn="1"/>
        </p:nvSpPr>
        <p:spPr>
          <a:xfrm>
            <a:off x="1" y="0"/>
            <a:ext cx="18756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CBC9BB"/>
              </a:solidFill>
              <a:effectLst/>
              <a:uLnTx/>
              <a:uFillTx/>
              <a:latin typeface="Arial" panose="020B0604020202020204"/>
              <a:ea typeface="+mn-ea"/>
              <a:cs typeface="+mn-cs"/>
            </a:endParaRPr>
          </a:p>
        </p:txBody>
      </p:sp>
      <p:sp>
        <p:nvSpPr>
          <p:cNvPr id="7" name="Date Placeholder 2">
            <a:extLst>
              <a:ext uri="{FF2B5EF4-FFF2-40B4-BE49-F238E27FC236}">
                <a16:creationId xmlns:a16="http://schemas.microsoft.com/office/drawing/2014/main" id="{937CD742-0316-4E66-8686-AEBDF12F432A}"/>
              </a:ext>
            </a:extLst>
          </p:cNvPr>
          <p:cNvSpPr txBox="1">
            <a:spLocks/>
          </p:cNvSpPr>
          <p:nvPr userDrawn="1"/>
        </p:nvSpPr>
        <p:spPr>
          <a:xfrm>
            <a:off x="209551" y="6538913"/>
            <a:ext cx="3000375" cy="366712"/>
          </a:xfrm>
          <a:prstGeom prst="rect">
            <a:avLst/>
          </a:prstGeom>
        </p:spPr>
        <p:txBody>
          <a:bodyPr vert="horz" lIns="0" tIns="45720" rIns="0" bIns="45720" rtlCol="0" anchor="b"/>
          <a:lstStyle>
            <a:defPPr>
              <a:defRPr lang="en-US"/>
            </a:defPPr>
            <a:lvl1pPr marL="0" marR="0" indent="0" algn="l" defTabSz="609585" rtl="0" eaLnBrk="1" fontAlgn="auto" latinLnBrk="0" hangingPunct="1">
              <a:lnSpc>
                <a:spcPct val="100000"/>
              </a:lnSpc>
              <a:spcBef>
                <a:spcPts val="0"/>
              </a:spcBef>
              <a:spcAft>
                <a:spcPts val="0"/>
              </a:spcAft>
              <a:buClrTx/>
              <a:buSzTx/>
              <a:buFontTx/>
              <a:buNone/>
              <a:tabLst/>
              <a:defRPr sz="1067" b="0" i="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67"/>
              <a:t>© 2020 Land O’Lakes, Inc.</a:t>
            </a:r>
          </a:p>
        </p:txBody>
      </p:sp>
    </p:spTree>
    <p:extLst>
      <p:ext uri="{BB962C8B-B14F-4D97-AF65-F5344CB8AC3E}">
        <p14:creationId xmlns:p14="http://schemas.microsoft.com/office/powerpoint/2010/main" val="203549511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 Subhead Teal">
    <p:bg>
      <p:bgPr>
        <a:solidFill>
          <a:schemeClr val="bg1">
            <a:lumMod val="20000"/>
            <a:lumOff val="80000"/>
          </a:schemeClr>
        </a:solidFill>
        <a:effectLst/>
      </p:bgPr>
    </p:bg>
    <p:spTree>
      <p:nvGrpSpPr>
        <p:cNvPr id="1" name=""/>
        <p:cNvGrpSpPr/>
        <p:nvPr/>
      </p:nvGrpSpPr>
      <p:grpSpPr>
        <a:xfrm>
          <a:off x="0" y="0"/>
          <a:ext cx="0" cy="0"/>
          <a:chOff x="0" y="0"/>
          <a:chExt cx="0" cy="0"/>
        </a:xfrm>
      </p:grpSpPr>
      <p:sp>
        <p:nvSpPr>
          <p:cNvPr id="9" name="Slide Number Placeholder 4">
            <a:extLst>
              <a:ext uri="{FF2B5EF4-FFF2-40B4-BE49-F238E27FC236}">
                <a16:creationId xmlns:a16="http://schemas.microsoft.com/office/drawing/2014/main" id="{7410A390-FD65-274F-B376-CED06693AA32}"/>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200">
                <a:solidFill>
                  <a:schemeClr val="tx1"/>
                </a:solidFill>
                <a:latin typeface="DIN Next LT Pro" panose="020B0503020203050203" pitchFamily="34" charset="77"/>
              </a:defRPr>
            </a:lvl1pPr>
          </a:lstStyle>
          <a:p>
            <a:fld id="{BA19D0F6-5B80-F543-AF4F-7B18B9728D74}" type="slidenum">
              <a:rPr lang="en-US" smtClean="0"/>
              <a:pPr/>
              <a:t>‹#›</a:t>
            </a:fld>
            <a:endParaRPr lang="en-US"/>
          </a:p>
        </p:txBody>
      </p:sp>
      <p:sp>
        <p:nvSpPr>
          <p:cNvPr id="10" name="Date Placeholder 5">
            <a:extLst>
              <a:ext uri="{FF2B5EF4-FFF2-40B4-BE49-F238E27FC236}">
                <a16:creationId xmlns:a16="http://schemas.microsoft.com/office/drawing/2014/main" id="{AEED49A8-31E1-304F-86B7-577233A2ED99}"/>
              </a:ext>
            </a:extLst>
          </p:cNvPr>
          <p:cNvSpPr>
            <a:spLocks noGrp="1"/>
          </p:cNvSpPr>
          <p:nvPr>
            <p:ph type="dt" sz="half" idx="2"/>
          </p:nvPr>
        </p:nvSpPr>
        <p:spPr>
          <a:xfrm>
            <a:off x="406402" y="6444338"/>
            <a:ext cx="3000831" cy="366183"/>
          </a:xfrm>
          <a:prstGeom prst="rect">
            <a:avLst/>
          </a:prstGeom>
        </p:spPr>
        <p:txBody>
          <a:bodyPr vert="horz" lIns="0" tIns="45720" rIns="0" bIns="45720" rtlCol="0" anchor="b"/>
          <a:lstStyle>
            <a:lvl1pPr marL="0" marR="0" indent="0" algn="l" defTabSz="609570" rtl="0" eaLnBrk="1" fontAlgn="auto" latinLnBrk="0" hangingPunct="1">
              <a:lnSpc>
                <a:spcPct val="100000"/>
              </a:lnSpc>
              <a:spcBef>
                <a:spcPts val="0"/>
              </a:spcBef>
              <a:spcAft>
                <a:spcPts val="0"/>
              </a:spcAft>
              <a:buClrTx/>
              <a:buSzTx/>
              <a:buFontTx/>
              <a:buNone/>
              <a:tabLst/>
              <a:defRPr sz="1200">
                <a:solidFill>
                  <a:schemeClr val="tx1"/>
                </a:solidFill>
                <a:latin typeface="DIN Next LT Pro" panose="020B0503020203050203" pitchFamily="34" charset="77"/>
              </a:defRPr>
            </a:lvl1pPr>
          </a:lstStyle>
          <a:p>
            <a:r>
              <a:rPr lang="en-US"/>
              <a:t>© 2018 Land O’Lakes, Inc.</a:t>
            </a:r>
          </a:p>
        </p:txBody>
      </p:sp>
      <p:sp>
        <p:nvSpPr>
          <p:cNvPr id="11" name="Title 6">
            <a:extLst>
              <a:ext uri="{FF2B5EF4-FFF2-40B4-BE49-F238E27FC236}">
                <a16:creationId xmlns:a16="http://schemas.microsoft.com/office/drawing/2014/main" id="{EFE852F4-AB63-7547-BC89-26DEDF6BBA40}"/>
              </a:ext>
            </a:extLst>
          </p:cNvPr>
          <p:cNvSpPr>
            <a:spLocks noGrp="1"/>
          </p:cNvSpPr>
          <p:nvPr>
            <p:ph type="title"/>
          </p:nvPr>
        </p:nvSpPr>
        <p:spPr>
          <a:xfrm>
            <a:off x="609600" y="172281"/>
            <a:ext cx="10911840" cy="992713"/>
          </a:xfrm>
          <a:prstGeom prst="rect">
            <a:avLst/>
          </a:prstGeom>
        </p:spPr>
        <p:txBody>
          <a:bodyPr lIns="0" anchor="b">
            <a:normAutofit/>
          </a:bodyPr>
          <a:lstStyle>
            <a:lvl1pPr>
              <a:defRPr sz="3467" b="1" i="0">
                <a:solidFill>
                  <a:schemeClr val="tx1"/>
                </a:solidFill>
                <a:latin typeface="Cervo Neue Bold Neue" pitchFamily="2" charset="77"/>
              </a:defRPr>
            </a:lvl1pPr>
          </a:lstStyle>
          <a:p>
            <a:r>
              <a:rPr lang="en-US"/>
              <a:t>Click to edit Master title style</a:t>
            </a:r>
          </a:p>
        </p:txBody>
      </p:sp>
      <p:sp>
        <p:nvSpPr>
          <p:cNvPr id="12" name="Text Placeholder 2">
            <a:extLst>
              <a:ext uri="{FF2B5EF4-FFF2-40B4-BE49-F238E27FC236}">
                <a16:creationId xmlns:a16="http://schemas.microsoft.com/office/drawing/2014/main" id="{3CC38D49-EA08-3E47-9EDD-A7703EAB31F4}"/>
              </a:ext>
            </a:extLst>
          </p:cNvPr>
          <p:cNvSpPr>
            <a:spLocks noGrp="1"/>
          </p:cNvSpPr>
          <p:nvPr>
            <p:ph type="body" sz="quarter" idx="12" hasCustomPrompt="1"/>
          </p:nvPr>
        </p:nvSpPr>
        <p:spPr>
          <a:xfrm>
            <a:off x="609600" y="1173004"/>
            <a:ext cx="10911840" cy="334433"/>
          </a:xfrm>
        </p:spPr>
        <p:txBody>
          <a:bodyPr/>
          <a:lstStyle>
            <a:lvl1pPr>
              <a:defRPr sz="2133">
                <a:solidFill>
                  <a:schemeClr val="tx1"/>
                </a:solidFill>
              </a:defRPr>
            </a:lvl1pPr>
          </a:lstStyle>
          <a:p>
            <a:pPr lvl="0"/>
            <a:r>
              <a:rPr lang="en-US"/>
              <a:t>Click to edit subhead</a:t>
            </a:r>
          </a:p>
        </p:txBody>
      </p:sp>
      <p:sp>
        <p:nvSpPr>
          <p:cNvPr id="8" name="Rectangle 7">
            <a:extLst>
              <a:ext uri="{FF2B5EF4-FFF2-40B4-BE49-F238E27FC236}">
                <a16:creationId xmlns:a16="http://schemas.microsoft.com/office/drawing/2014/main" id="{4319DFF1-C689-8843-B4DC-DB712ACA1C4E}"/>
              </a:ext>
            </a:extLst>
          </p:cNvPr>
          <p:cNvSpPr/>
          <p:nvPr userDrawn="1"/>
        </p:nvSpPr>
        <p:spPr>
          <a:xfrm>
            <a:off x="1" y="0"/>
            <a:ext cx="18756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CBC9BB"/>
              </a:solidFill>
              <a:effectLst/>
              <a:uLnTx/>
              <a:uFillTx/>
              <a:latin typeface="Arial" panose="020B0604020202020204"/>
              <a:ea typeface="+mn-ea"/>
              <a:cs typeface="+mn-cs"/>
            </a:endParaRPr>
          </a:p>
        </p:txBody>
      </p:sp>
    </p:spTree>
    <p:extLst>
      <p:ext uri="{BB962C8B-B14F-4D97-AF65-F5344CB8AC3E}">
        <p14:creationId xmlns:p14="http://schemas.microsoft.com/office/powerpoint/2010/main" val="496380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full photo">
    <p:bg>
      <p:bgRef idx="1001">
        <a:schemeClr val="bg1"/>
      </p:bgRef>
    </p:bg>
    <p:spTree>
      <p:nvGrpSpPr>
        <p:cNvPr id="1" name=""/>
        <p:cNvGrpSpPr/>
        <p:nvPr/>
      </p:nvGrpSpPr>
      <p:grpSpPr>
        <a:xfrm>
          <a:off x="0" y="0"/>
          <a:ext cx="0" cy="0"/>
          <a:chOff x="0" y="0"/>
          <a:chExt cx="0" cy="0"/>
        </a:xfrm>
      </p:grpSpPr>
      <p:pic>
        <p:nvPicPr>
          <p:cNvPr id="10" name="Picture 9" descr="A picture containing grass, scene, way, road&#10;&#10;Description generated with high confidence"/>
          <p:cNvPicPr>
            <a:picLocks noChangeAspect="1"/>
          </p:cNvPicPr>
          <p:nvPr userDrawn="1"/>
        </p:nvPicPr>
        <p:blipFill rotWithShape="1">
          <a:blip r:embed="rId2" cstate="print">
            <a:extLst>
              <a:ext uri="{28A0092B-C50C-407E-A947-70E740481C1C}">
                <a14:useLocalDpi xmlns:a14="http://schemas.microsoft.com/office/drawing/2010/main" val="0"/>
              </a:ext>
            </a:extLst>
          </a:blip>
          <a:srcRect l="1449" r="841" b="3474"/>
          <a:stretch/>
        </p:blipFill>
        <p:spPr>
          <a:xfrm>
            <a:off x="-36593" y="0"/>
            <a:ext cx="12339726" cy="6858000"/>
          </a:xfrm>
          <a:prstGeom prst="rect">
            <a:avLst/>
          </a:prstGeom>
        </p:spPr>
      </p:pic>
      <p:sp>
        <p:nvSpPr>
          <p:cNvPr id="9" name="Title 1"/>
          <p:cNvSpPr>
            <a:spLocks noGrp="1"/>
          </p:cNvSpPr>
          <p:nvPr>
            <p:ph type="title" hasCustomPrompt="1"/>
          </p:nvPr>
        </p:nvSpPr>
        <p:spPr bwMode="auto">
          <a:xfrm>
            <a:off x="268928" y="3543134"/>
            <a:ext cx="8234998" cy="848053"/>
          </a:xfrm>
          <a:noFill/>
        </p:spPr>
        <p:txBody>
          <a:bodyPr lIns="146304" tIns="91440" rIns="146304" bIns="91440" anchor="b" anchorCtr="0">
            <a:spAutoFit/>
          </a:bodyPr>
          <a:lstStyle>
            <a:lvl1pPr>
              <a:defRPr sz="4311" b="0" spc="-96" baseline="0">
                <a:gradFill>
                  <a:gsLst>
                    <a:gs pos="1124">
                      <a:srgbClr val="FFFFFF"/>
                    </a:gs>
                    <a:gs pos="17000">
                      <a:srgbClr val="FFFFFF"/>
                    </a:gs>
                  </a:gsLst>
                  <a:lin ang="5400000" scaled="0"/>
                </a:gradFill>
                <a:latin typeface="Segoe UI Semilight" panose="020B0402040204020203" pitchFamily="34" charset="0"/>
                <a:cs typeface="Segoe UI Semilight" panose="020B0402040204020203" pitchFamily="34" charset="0"/>
              </a:defRPr>
            </a:lvl1pPr>
          </a:lstStyle>
          <a:p>
            <a:r>
              <a:rPr lang="en-US"/>
              <a:t>Presentation title</a:t>
            </a:r>
          </a:p>
        </p:txBody>
      </p:sp>
      <p:sp>
        <p:nvSpPr>
          <p:cNvPr id="3" name="Text Placeholder 2"/>
          <p:cNvSpPr>
            <a:spLocks noGrp="1"/>
          </p:cNvSpPr>
          <p:nvPr>
            <p:ph type="body" sz="quarter" idx="14" hasCustomPrompt="1"/>
          </p:nvPr>
        </p:nvSpPr>
        <p:spPr bwMode="auto">
          <a:xfrm>
            <a:off x="268928" y="4594504"/>
            <a:ext cx="8234999" cy="583686"/>
          </a:xfrm>
        </p:spPr>
        <p:txBody>
          <a:bodyPr lIns="164592" tIns="109728" rIns="164592" bIns="109728">
            <a:spAutoFit/>
          </a:bodyPr>
          <a:lstStyle>
            <a:lvl1pPr marL="0" indent="0">
              <a:spcBef>
                <a:spcPts val="0"/>
              </a:spcBef>
              <a:buNone/>
              <a:defRPr sz="2353" baseline="0">
                <a:gradFill>
                  <a:gsLst>
                    <a:gs pos="1124">
                      <a:srgbClr val="FFFFFF"/>
                    </a:gs>
                    <a:gs pos="17000">
                      <a:srgbClr val="FFFFFF"/>
                    </a:gs>
                  </a:gsLst>
                  <a:lin ang="5400000" scaled="0"/>
                </a:gradFill>
                <a:latin typeface="+mn-lt"/>
              </a:defRPr>
            </a:lvl1pPr>
          </a:lstStyle>
          <a:p>
            <a:pPr lvl="0"/>
            <a:r>
              <a:rPr lang="en-US"/>
              <a:t>Speaker name</a:t>
            </a:r>
          </a:p>
        </p:txBody>
      </p:sp>
      <p:grpSp>
        <p:nvGrpSpPr>
          <p:cNvPr id="11" name="Group 10">
            <a:extLst>
              <a:ext uri="{FF2B5EF4-FFF2-40B4-BE49-F238E27FC236}">
                <a16:creationId xmlns:a16="http://schemas.microsoft.com/office/drawing/2014/main" id="{A26AF93F-4D6B-4115-821E-16C3E6D9E02B}"/>
              </a:ext>
            </a:extLst>
          </p:cNvPr>
          <p:cNvGrpSpPr>
            <a:grpSpLocks noChangeAspect="1"/>
          </p:cNvGrpSpPr>
          <p:nvPr userDrawn="1"/>
        </p:nvGrpSpPr>
        <p:grpSpPr bwMode="black">
          <a:xfrm>
            <a:off x="448215" y="6083105"/>
            <a:ext cx="1419662" cy="304828"/>
            <a:chOff x="457200" y="1643393"/>
            <a:chExt cx="4492753" cy="964540"/>
          </a:xfrm>
        </p:grpSpPr>
        <p:pic>
          <p:nvPicPr>
            <p:cNvPr id="13" name="Picture 12">
              <a:extLst>
                <a:ext uri="{FF2B5EF4-FFF2-40B4-BE49-F238E27FC236}">
                  <a16:creationId xmlns:a16="http://schemas.microsoft.com/office/drawing/2014/main" id="{C22BB4D4-7B85-43E7-BC53-88BCEE3341C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6" name="Freeform 12">
              <a:extLst>
                <a:ext uri="{FF2B5EF4-FFF2-40B4-BE49-F238E27FC236}">
                  <a16:creationId xmlns:a16="http://schemas.microsoft.com/office/drawing/2014/main" id="{3DC02014-F76D-4819-AD7B-B35576D3B329}"/>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28"/>
            </a:p>
          </p:txBody>
        </p:sp>
      </p:grpSp>
    </p:spTree>
    <p:extLst>
      <p:ext uri="{BB962C8B-B14F-4D97-AF65-F5344CB8AC3E}">
        <p14:creationId xmlns:p14="http://schemas.microsoft.com/office/powerpoint/2010/main" val="3398546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sub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1"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a:xfrm>
            <a:off x="448212" y="253713"/>
            <a:ext cx="11292463" cy="935463"/>
          </a:xfrm>
        </p:spPr>
        <p:txBody>
          <a:bodyPr/>
          <a:lstStyle>
            <a:lvl1pPr>
              <a:defRPr sz="3600">
                <a:solidFill>
                  <a:schemeClr val="bg1"/>
                </a:solidFill>
              </a:defRPr>
            </a:lvl1pPr>
          </a:lstStyle>
          <a:p>
            <a:r>
              <a:rPr lang="en-US"/>
              <a:t>Click to edit Master title style</a:t>
            </a:r>
          </a:p>
        </p:txBody>
      </p:sp>
      <p:sp>
        <p:nvSpPr>
          <p:cNvPr id="7" name="Text Placeholder 4"/>
          <p:cNvSpPr>
            <a:spLocks noGrp="1"/>
          </p:cNvSpPr>
          <p:nvPr>
            <p:ph type="body" sz="quarter" idx="11"/>
          </p:nvPr>
        </p:nvSpPr>
        <p:spPr>
          <a:xfrm>
            <a:off x="448180" y="957258"/>
            <a:ext cx="11290217" cy="489365"/>
          </a:xfrm>
        </p:spPr>
        <p:txBody>
          <a:bodyPr/>
          <a:lstStyle>
            <a:lvl1pPr marL="0" indent="0">
              <a:buNone/>
              <a:defRPr sz="2200">
                <a:solidFill>
                  <a:schemeClr val="bg1"/>
                </a:solidFill>
                <a:latin typeface="+mn-lt"/>
              </a:defRPr>
            </a:lvl1pPr>
            <a:lvl2pPr>
              <a:defRPr sz="1961">
                <a:latin typeface="+mn-lt"/>
              </a:defRPr>
            </a:lvl2pPr>
            <a:lvl3pPr>
              <a:defRPr sz="1765">
                <a:latin typeface="+mn-lt"/>
              </a:defRPr>
            </a:lvl3pPr>
            <a:lvl4pPr>
              <a:defRPr sz="1567">
                <a:latin typeface="+mn-lt"/>
              </a:defRPr>
            </a:lvl4pPr>
            <a:lvl5pPr>
              <a:defRPr sz="1567">
                <a:latin typeface="+mn-lt"/>
              </a:defRPr>
            </a:lvl5pPr>
          </a:lstStyle>
          <a:p>
            <a:pPr lvl="0"/>
            <a:r>
              <a:rPr lang="en-US"/>
              <a:t>Edit Master text styles</a:t>
            </a:r>
          </a:p>
        </p:txBody>
      </p:sp>
      <p:sp>
        <p:nvSpPr>
          <p:cNvPr id="8" name="Footer Placeholder 6">
            <a:extLst>
              <a:ext uri="{FF2B5EF4-FFF2-40B4-BE49-F238E27FC236}">
                <a16:creationId xmlns:a16="http://schemas.microsoft.com/office/drawing/2014/main" id="{54CE5688-47E9-4BAE-B45E-15108F0D94AC}"/>
              </a:ext>
            </a:extLst>
          </p:cNvPr>
          <p:cNvSpPr>
            <a:spLocks noGrp="1"/>
          </p:cNvSpPr>
          <p:nvPr>
            <p:ph type="ftr" sz="quarter" idx="3"/>
          </p:nvPr>
        </p:nvSpPr>
        <p:spPr>
          <a:xfrm>
            <a:off x="5227545" y="6598568"/>
            <a:ext cx="1867552" cy="123111"/>
          </a:xfrm>
          <a:prstGeom prst="rect">
            <a:avLst/>
          </a:prstGeom>
        </p:spPr>
        <p:txBody>
          <a:bodyPr vert="horz" wrap="square" lIns="0" tIns="0" rIns="0" bIns="0" rtlCol="0" anchor="ctr">
            <a:spAutoFit/>
          </a:bodyPr>
          <a:lstStyle>
            <a:lvl1pPr algn="l">
              <a:defRPr lang="en-US" sz="800" smtClean="0">
                <a:solidFill>
                  <a:schemeClr val="bg1"/>
                </a:solidFill>
              </a:defRPr>
            </a:lvl1pPr>
          </a:lstStyle>
          <a:p>
            <a:r>
              <a:rPr lang="en-IN"/>
              <a:t>Microsoft Confidential - Internal Only</a:t>
            </a:r>
          </a:p>
        </p:txBody>
      </p:sp>
      <p:sp>
        <p:nvSpPr>
          <p:cNvPr id="9" name="Slide Number Placeholder 4">
            <a:extLst>
              <a:ext uri="{FF2B5EF4-FFF2-40B4-BE49-F238E27FC236}">
                <a16:creationId xmlns:a16="http://schemas.microsoft.com/office/drawing/2014/main" id="{743DFA11-7F60-43B6-A51C-5306ABFD01FE}"/>
              </a:ext>
            </a:extLst>
          </p:cNvPr>
          <p:cNvSpPr>
            <a:spLocks noGrp="1"/>
          </p:cNvSpPr>
          <p:nvPr>
            <p:ph type="sldNum" sz="quarter" idx="4"/>
          </p:nvPr>
        </p:nvSpPr>
        <p:spPr>
          <a:xfrm>
            <a:off x="11879419" y="6585883"/>
            <a:ext cx="139862" cy="135796"/>
          </a:xfrm>
          <a:prstGeom prst="rect">
            <a:avLst/>
          </a:prstGeom>
        </p:spPr>
        <p:txBody>
          <a:bodyPr vert="horz" wrap="none" lIns="0" tIns="0" rIns="0" bIns="0" rtlCol="0" anchor="ctr">
            <a:noAutofit/>
          </a:bodyPr>
          <a:lstStyle>
            <a:lvl1pPr>
              <a:defRPr lang="en-US" sz="800" smtClean="0">
                <a:solidFill>
                  <a:schemeClr val="bg1"/>
                </a:solidFill>
              </a:defRPr>
            </a:lvl1pPr>
          </a:lstStyle>
          <a:p>
            <a:pPr algn="r"/>
            <a:fld id="{4F6BF59E-C7AB-4D2C-B602-9844A5FEE556}" type="slidenum">
              <a:rPr lang="en-IN" smtClean="0"/>
              <a:pPr algn="r"/>
              <a:t>‹#›</a:t>
            </a:fld>
            <a:endParaRPr lang="en-IN"/>
          </a:p>
        </p:txBody>
      </p:sp>
    </p:spTree>
    <p:extLst>
      <p:ext uri="{BB962C8B-B14F-4D97-AF65-F5344CB8AC3E}">
        <p14:creationId xmlns:p14="http://schemas.microsoft.com/office/powerpoint/2010/main" val="4111382938"/>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D29312-A621-40BA-A1D6-C60E7F0ECA4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C5D93C-9BA4-4B98-A9A9-7CE1FD840B9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840DB47-73E1-422C-9BCF-416DBE286D58}"/>
              </a:ext>
            </a:extLst>
          </p:cNvPr>
          <p:cNvSpPr>
            <a:spLocks noGrp="1"/>
          </p:cNvSpPr>
          <p:nvPr>
            <p:ph type="dt" sz="half" idx="10"/>
          </p:nvPr>
        </p:nvSpPr>
        <p:spPr/>
        <p:txBody>
          <a:bodyPr/>
          <a:lstStyle/>
          <a:p>
            <a:fld id="{E8D0B672-CA3B-447B-B7AB-2AC7526E5D91}" type="datetimeFigureOut">
              <a:rPr lang="en-US" smtClean="0"/>
              <a:t>6/24/2020</a:t>
            </a:fld>
            <a:endParaRPr lang="en-US"/>
          </a:p>
        </p:txBody>
      </p:sp>
      <p:sp>
        <p:nvSpPr>
          <p:cNvPr id="5" name="Footer Placeholder 4">
            <a:extLst>
              <a:ext uri="{FF2B5EF4-FFF2-40B4-BE49-F238E27FC236}">
                <a16:creationId xmlns:a16="http://schemas.microsoft.com/office/drawing/2014/main" id="{E281C377-7C02-4654-8449-96E0BE66698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CF0E46A-9749-49CA-A99B-9D0B2D572895}"/>
              </a:ext>
            </a:extLst>
          </p:cNvPr>
          <p:cNvSpPr>
            <a:spLocks noGrp="1"/>
          </p:cNvSpPr>
          <p:nvPr>
            <p:ph type="sldNum" sz="quarter" idx="12"/>
          </p:nvPr>
        </p:nvSpPr>
        <p:spPr/>
        <p:txBody>
          <a:bodyPr/>
          <a:lstStyle/>
          <a:p>
            <a:fld id="{2CC82B53-80CF-40C0-90EB-23E6E3D8F25D}" type="slidenum">
              <a:rPr lang="en-US" smtClean="0"/>
              <a:t>‹#›</a:t>
            </a:fld>
            <a:endParaRPr lang="en-US"/>
          </a:p>
        </p:txBody>
      </p:sp>
    </p:spTree>
    <p:extLst>
      <p:ext uri="{BB962C8B-B14F-4D97-AF65-F5344CB8AC3E}">
        <p14:creationId xmlns:p14="http://schemas.microsoft.com/office/powerpoint/2010/main" val="415417559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8F1D2-D4FE-40D6-9862-28F9EB2800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5BF61B7-395C-40C6-9BCD-190FAD093AD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C31CC10-9D14-4194-B8DE-4B89CF064403}"/>
              </a:ext>
            </a:extLst>
          </p:cNvPr>
          <p:cNvSpPr>
            <a:spLocks noGrp="1"/>
          </p:cNvSpPr>
          <p:nvPr>
            <p:ph type="dt" sz="half" idx="10"/>
          </p:nvPr>
        </p:nvSpPr>
        <p:spPr/>
        <p:txBody>
          <a:bodyPr/>
          <a:lstStyle/>
          <a:p>
            <a:fld id="{E8D0B672-CA3B-447B-B7AB-2AC7526E5D91}" type="datetimeFigureOut">
              <a:rPr lang="en-US" smtClean="0"/>
              <a:t>6/24/2020</a:t>
            </a:fld>
            <a:endParaRPr lang="en-US"/>
          </a:p>
        </p:txBody>
      </p:sp>
      <p:sp>
        <p:nvSpPr>
          <p:cNvPr id="5" name="Footer Placeholder 4">
            <a:extLst>
              <a:ext uri="{FF2B5EF4-FFF2-40B4-BE49-F238E27FC236}">
                <a16:creationId xmlns:a16="http://schemas.microsoft.com/office/drawing/2014/main" id="{CFF50503-2C3C-479F-9F2E-1F423EE5B8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1D8C09-F0D2-463F-A790-E8155AB98516}"/>
              </a:ext>
            </a:extLst>
          </p:cNvPr>
          <p:cNvSpPr>
            <a:spLocks noGrp="1"/>
          </p:cNvSpPr>
          <p:nvPr>
            <p:ph type="sldNum" sz="quarter" idx="12"/>
          </p:nvPr>
        </p:nvSpPr>
        <p:spPr/>
        <p:txBody>
          <a:bodyPr/>
          <a:lstStyle/>
          <a:p>
            <a:fld id="{2CC82B53-80CF-40C0-90EB-23E6E3D8F25D}" type="slidenum">
              <a:rPr lang="en-US" smtClean="0"/>
              <a:t>‹#›</a:t>
            </a:fld>
            <a:endParaRPr lang="en-US"/>
          </a:p>
        </p:txBody>
      </p:sp>
    </p:spTree>
    <p:extLst>
      <p:ext uri="{BB962C8B-B14F-4D97-AF65-F5344CB8AC3E}">
        <p14:creationId xmlns:p14="http://schemas.microsoft.com/office/powerpoint/2010/main" val="308366256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692634-9EA3-43AE-A0A2-FC99929055B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88647D-2399-4F1E-BDAC-FD08265F9A1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0B65EC6-3FB5-42D6-8C87-83E71A5AD57F}"/>
              </a:ext>
            </a:extLst>
          </p:cNvPr>
          <p:cNvSpPr>
            <a:spLocks noGrp="1"/>
          </p:cNvSpPr>
          <p:nvPr>
            <p:ph type="dt" sz="half" idx="10"/>
          </p:nvPr>
        </p:nvSpPr>
        <p:spPr/>
        <p:txBody>
          <a:bodyPr/>
          <a:lstStyle/>
          <a:p>
            <a:fld id="{E8D0B672-CA3B-447B-B7AB-2AC7526E5D91}" type="datetimeFigureOut">
              <a:rPr lang="en-US" smtClean="0"/>
              <a:t>6/24/2020</a:t>
            </a:fld>
            <a:endParaRPr lang="en-US"/>
          </a:p>
        </p:txBody>
      </p:sp>
      <p:sp>
        <p:nvSpPr>
          <p:cNvPr id="5" name="Footer Placeholder 4">
            <a:extLst>
              <a:ext uri="{FF2B5EF4-FFF2-40B4-BE49-F238E27FC236}">
                <a16:creationId xmlns:a16="http://schemas.microsoft.com/office/drawing/2014/main" id="{6A56A2EF-7AE8-4E28-BD31-5BB4FC8635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4BB4F4-50F8-4787-8EE3-58F279BF10A4}"/>
              </a:ext>
            </a:extLst>
          </p:cNvPr>
          <p:cNvSpPr>
            <a:spLocks noGrp="1"/>
          </p:cNvSpPr>
          <p:nvPr>
            <p:ph type="sldNum" sz="quarter" idx="12"/>
          </p:nvPr>
        </p:nvSpPr>
        <p:spPr/>
        <p:txBody>
          <a:bodyPr/>
          <a:lstStyle/>
          <a:p>
            <a:fld id="{2CC82B53-80CF-40C0-90EB-23E6E3D8F25D}" type="slidenum">
              <a:rPr lang="en-US" smtClean="0"/>
              <a:t>‹#›</a:t>
            </a:fld>
            <a:endParaRPr lang="en-US"/>
          </a:p>
        </p:txBody>
      </p:sp>
    </p:spTree>
    <p:extLst>
      <p:ext uri="{BB962C8B-B14F-4D97-AF65-F5344CB8AC3E}">
        <p14:creationId xmlns:p14="http://schemas.microsoft.com/office/powerpoint/2010/main" val="108984080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68FF3-CCF8-4623-9F7A-32EE9F963BC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FF4342-EBF4-4AC2-8423-D5B9873D8A6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9CB094D-70C7-42E4-A285-1E0CD70FD5B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42ED3FC-A3AE-46BD-8C2C-1DD2531C3849}"/>
              </a:ext>
            </a:extLst>
          </p:cNvPr>
          <p:cNvSpPr>
            <a:spLocks noGrp="1"/>
          </p:cNvSpPr>
          <p:nvPr>
            <p:ph type="dt" sz="half" idx="10"/>
          </p:nvPr>
        </p:nvSpPr>
        <p:spPr/>
        <p:txBody>
          <a:bodyPr/>
          <a:lstStyle/>
          <a:p>
            <a:fld id="{E8D0B672-CA3B-447B-B7AB-2AC7526E5D91}" type="datetimeFigureOut">
              <a:rPr lang="en-US" smtClean="0"/>
              <a:t>6/24/2020</a:t>
            </a:fld>
            <a:endParaRPr lang="en-US"/>
          </a:p>
        </p:txBody>
      </p:sp>
      <p:sp>
        <p:nvSpPr>
          <p:cNvPr id="6" name="Footer Placeholder 5">
            <a:extLst>
              <a:ext uri="{FF2B5EF4-FFF2-40B4-BE49-F238E27FC236}">
                <a16:creationId xmlns:a16="http://schemas.microsoft.com/office/drawing/2014/main" id="{3E6913E8-B0B0-41DB-9CEF-9829CC6F8C0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C925390-EF08-4D0E-BD9D-84BA36C3C7C7}"/>
              </a:ext>
            </a:extLst>
          </p:cNvPr>
          <p:cNvSpPr>
            <a:spLocks noGrp="1"/>
          </p:cNvSpPr>
          <p:nvPr>
            <p:ph type="sldNum" sz="quarter" idx="12"/>
          </p:nvPr>
        </p:nvSpPr>
        <p:spPr/>
        <p:txBody>
          <a:bodyPr/>
          <a:lstStyle/>
          <a:p>
            <a:fld id="{2CC82B53-80CF-40C0-90EB-23E6E3D8F25D}" type="slidenum">
              <a:rPr lang="en-US" smtClean="0"/>
              <a:t>‹#›</a:t>
            </a:fld>
            <a:endParaRPr lang="en-US"/>
          </a:p>
        </p:txBody>
      </p:sp>
    </p:spTree>
    <p:extLst>
      <p:ext uri="{BB962C8B-B14F-4D97-AF65-F5344CB8AC3E}">
        <p14:creationId xmlns:p14="http://schemas.microsoft.com/office/powerpoint/2010/main" val="220868951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B98DC2-2B49-45D1-980E-657C8784B92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43133C7-80B8-4D68-85B4-98F87F56272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099E746-638A-4C1B-A571-F1F0177ACC5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49066CE-7EB4-47DB-A57D-7A40A5CEB98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DDC7827-DFA0-4967-8E9F-33FAA75A606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43D666D-BCB1-4AC4-9CEB-28E2482E2453}"/>
              </a:ext>
            </a:extLst>
          </p:cNvPr>
          <p:cNvSpPr>
            <a:spLocks noGrp="1"/>
          </p:cNvSpPr>
          <p:nvPr>
            <p:ph type="dt" sz="half" idx="10"/>
          </p:nvPr>
        </p:nvSpPr>
        <p:spPr/>
        <p:txBody>
          <a:bodyPr/>
          <a:lstStyle/>
          <a:p>
            <a:fld id="{E8D0B672-CA3B-447B-B7AB-2AC7526E5D91}" type="datetimeFigureOut">
              <a:rPr lang="en-US" smtClean="0"/>
              <a:t>6/24/2020</a:t>
            </a:fld>
            <a:endParaRPr lang="en-US"/>
          </a:p>
        </p:txBody>
      </p:sp>
      <p:sp>
        <p:nvSpPr>
          <p:cNvPr id="8" name="Footer Placeholder 7">
            <a:extLst>
              <a:ext uri="{FF2B5EF4-FFF2-40B4-BE49-F238E27FC236}">
                <a16:creationId xmlns:a16="http://schemas.microsoft.com/office/drawing/2014/main" id="{741C76EE-2687-48F4-984C-9FBC423C829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AACA9F0-DD25-4851-9F11-438F702FDAC8}"/>
              </a:ext>
            </a:extLst>
          </p:cNvPr>
          <p:cNvSpPr>
            <a:spLocks noGrp="1"/>
          </p:cNvSpPr>
          <p:nvPr>
            <p:ph type="sldNum" sz="quarter" idx="12"/>
          </p:nvPr>
        </p:nvSpPr>
        <p:spPr/>
        <p:txBody>
          <a:bodyPr/>
          <a:lstStyle/>
          <a:p>
            <a:fld id="{2CC82B53-80CF-40C0-90EB-23E6E3D8F25D}" type="slidenum">
              <a:rPr lang="en-US" smtClean="0"/>
              <a:t>‹#›</a:t>
            </a:fld>
            <a:endParaRPr lang="en-US"/>
          </a:p>
        </p:txBody>
      </p:sp>
    </p:spTree>
    <p:extLst>
      <p:ext uri="{BB962C8B-B14F-4D97-AF65-F5344CB8AC3E}">
        <p14:creationId xmlns:p14="http://schemas.microsoft.com/office/powerpoint/2010/main" val="135362521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1CFE8-1871-43FE-946F-019B0E34AF7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8F82BE9-67B8-4D4A-A752-65B1C1D470C4}"/>
              </a:ext>
            </a:extLst>
          </p:cNvPr>
          <p:cNvSpPr>
            <a:spLocks noGrp="1"/>
          </p:cNvSpPr>
          <p:nvPr>
            <p:ph type="dt" sz="half" idx="10"/>
          </p:nvPr>
        </p:nvSpPr>
        <p:spPr/>
        <p:txBody>
          <a:bodyPr/>
          <a:lstStyle/>
          <a:p>
            <a:fld id="{E8D0B672-CA3B-447B-B7AB-2AC7526E5D91}" type="datetimeFigureOut">
              <a:rPr lang="en-US" smtClean="0"/>
              <a:t>6/24/2020</a:t>
            </a:fld>
            <a:endParaRPr lang="en-US"/>
          </a:p>
        </p:txBody>
      </p:sp>
      <p:sp>
        <p:nvSpPr>
          <p:cNvPr id="4" name="Footer Placeholder 3">
            <a:extLst>
              <a:ext uri="{FF2B5EF4-FFF2-40B4-BE49-F238E27FC236}">
                <a16:creationId xmlns:a16="http://schemas.microsoft.com/office/drawing/2014/main" id="{916A4C9D-E258-43C5-8FAD-0ABE00EBFDC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227C799-6805-4ED1-877E-492688500727}"/>
              </a:ext>
            </a:extLst>
          </p:cNvPr>
          <p:cNvSpPr>
            <a:spLocks noGrp="1"/>
          </p:cNvSpPr>
          <p:nvPr>
            <p:ph type="sldNum" sz="quarter" idx="12"/>
          </p:nvPr>
        </p:nvSpPr>
        <p:spPr/>
        <p:txBody>
          <a:bodyPr/>
          <a:lstStyle/>
          <a:p>
            <a:fld id="{2CC82B53-80CF-40C0-90EB-23E6E3D8F25D}" type="slidenum">
              <a:rPr lang="en-US" smtClean="0"/>
              <a:t>‹#›</a:t>
            </a:fld>
            <a:endParaRPr lang="en-US"/>
          </a:p>
        </p:txBody>
      </p:sp>
    </p:spTree>
    <p:extLst>
      <p:ext uri="{BB962C8B-B14F-4D97-AF65-F5344CB8AC3E}">
        <p14:creationId xmlns:p14="http://schemas.microsoft.com/office/powerpoint/2010/main" val="227666188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A1AD238-1EAF-4DBF-8CE1-D1DBBAF5E73B}"/>
              </a:ext>
            </a:extLst>
          </p:cNvPr>
          <p:cNvSpPr>
            <a:spLocks noGrp="1"/>
          </p:cNvSpPr>
          <p:nvPr>
            <p:ph type="dt" sz="half" idx="10"/>
          </p:nvPr>
        </p:nvSpPr>
        <p:spPr/>
        <p:txBody>
          <a:bodyPr/>
          <a:lstStyle/>
          <a:p>
            <a:fld id="{E8D0B672-CA3B-447B-B7AB-2AC7526E5D91}" type="datetimeFigureOut">
              <a:rPr lang="en-US" smtClean="0"/>
              <a:t>6/24/2020</a:t>
            </a:fld>
            <a:endParaRPr lang="en-US"/>
          </a:p>
        </p:txBody>
      </p:sp>
      <p:sp>
        <p:nvSpPr>
          <p:cNvPr id="3" name="Footer Placeholder 2">
            <a:extLst>
              <a:ext uri="{FF2B5EF4-FFF2-40B4-BE49-F238E27FC236}">
                <a16:creationId xmlns:a16="http://schemas.microsoft.com/office/drawing/2014/main" id="{283E85E6-56CD-4A0E-9BF7-AD07F2FC949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45645BA-3BE1-4525-82ED-3851E5092847}"/>
              </a:ext>
            </a:extLst>
          </p:cNvPr>
          <p:cNvSpPr>
            <a:spLocks noGrp="1"/>
          </p:cNvSpPr>
          <p:nvPr>
            <p:ph type="sldNum" sz="quarter" idx="12"/>
          </p:nvPr>
        </p:nvSpPr>
        <p:spPr/>
        <p:txBody>
          <a:bodyPr/>
          <a:lstStyle/>
          <a:p>
            <a:fld id="{2CC82B53-80CF-40C0-90EB-23E6E3D8F25D}" type="slidenum">
              <a:rPr lang="en-US" smtClean="0"/>
              <a:t>‹#›</a:t>
            </a:fld>
            <a:endParaRPr lang="en-US"/>
          </a:p>
        </p:txBody>
      </p:sp>
    </p:spTree>
    <p:extLst>
      <p:ext uri="{BB962C8B-B14F-4D97-AF65-F5344CB8AC3E}">
        <p14:creationId xmlns:p14="http://schemas.microsoft.com/office/powerpoint/2010/main" val="304140802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402B86-7F03-4E43-862E-8E16B8283F0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32149C4-E63B-45F7-BE12-68FB5F59052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3D43A83-EAEA-4387-BC89-C5E170E51C7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C687E8F-D0A0-4ACC-A0DC-1E28F13B11CC}"/>
              </a:ext>
            </a:extLst>
          </p:cNvPr>
          <p:cNvSpPr>
            <a:spLocks noGrp="1"/>
          </p:cNvSpPr>
          <p:nvPr>
            <p:ph type="dt" sz="half" idx="10"/>
          </p:nvPr>
        </p:nvSpPr>
        <p:spPr/>
        <p:txBody>
          <a:bodyPr/>
          <a:lstStyle/>
          <a:p>
            <a:fld id="{E8D0B672-CA3B-447B-B7AB-2AC7526E5D91}" type="datetimeFigureOut">
              <a:rPr lang="en-US" smtClean="0"/>
              <a:t>6/24/2020</a:t>
            </a:fld>
            <a:endParaRPr lang="en-US"/>
          </a:p>
        </p:txBody>
      </p:sp>
      <p:sp>
        <p:nvSpPr>
          <p:cNvPr id="6" name="Footer Placeholder 5">
            <a:extLst>
              <a:ext uri="{FF2B5EF4-FFF2-40B4-BE49-F238E27FC236}">
                <a16:creationId xmlns:a16="http://schemas.microsoft.com/office/drawing/2014/main" id="{860B06AD-7E02-4B38-A7A9-EFF93060D2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E940F1B-F011-4F0B-98EE-5F11D07E03EE}"/>
              </a:ext>
            </a:extLst>
          </p:cNvPr>
          <p:cNvSpPr>
            <a:spLocks noGrp="1"/>
          </p:cNvSpPr>
          <p:nvPr>
            <p:ph type="sldNum" sz="quarter" idx="12"/>
          </p:nvPr>
        </p:nvSpPr>
        <p:spPr/>
        <p:txBody>
          <a:bodyPr/>
          <a:lstStyle/>
          <a:p>
            <a:fld id="{2CC82B53-80CF-40C0-90EB-23E6E3D8F25D}" type="slidenum">
              <a:rPr lang="en-US" smtClean="0"/>
              <a:t>‹#›</a:t>
            </a:fld>
            <a:endParaRPr lang="en-US"/>
          </a:p>
        </p:txBody>
      </p:sp>
    </p:spTree>
    <p:extLst>
      <p:ext uri="{BB962C8B-B14F-4D97-AF65-F5344CB8AC3E}">
        <p14:creationId xmlns:p14="http://schemas.microsoft.com/office/powerpoint/2010/main" val="170450191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F1F0AA-405D-4F85-AAF3-64CF4A904ED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29245ED-CCAE-4012-8245-634A2121907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C05BFCD-FE6B-46BF-B601-D7D1EABC09F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6C2FDA-89F7-4414-928F-784A2A488D09}"/>
              </a:ext>
            </a:extLst>
          </p:cNvPr>
          <p:cNvSpPr>
            <a:spLocks noGrp="1"/>
          </p:cNvSpPr>
          <p:nvPr>
            <p:ph type="dt" sz="half" idx="10"/>
          </p:nvPr>
        </p:nvSpPr>
        <p:spPr/>
        <p:txBody>
          <a:bodyPr/>
          <a:lstStyle/>
          <a:p>
            <a:fld id="{E8D0B672-CA3B-447B-B7AB-2AC7526E5D91}" type="datetimeFigureOut">
              <a:rPr lang="en-US" smtClean="0"/>
              <a:t>6/24/2020</a:t>
            </a:fld>
            <a:endParaRPr lang="en-US"/>
          </a:p>
        </p:txBody>
      </p:sp>
      <p:sp>
        <p:nvSpPr>
          <p:cNvPr id="6" name="Footer Placeholder 5">
            <a:extLst>
              <a:ext uri="{FF2B5EF4-FFF2-40B4-BE49-F238E27FC236}">
                <a16:creationId xmlns:a16="http://schemas.microsoft.com/office/drawing/2014/main" id="{727E5649-1E50-4601-BB60-495EE482DE4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D946D3D-1653-4647-B42D-0FEF248ABA40}"/>
              </a:ext>
            </a:extLst>
          </p:cNvPr>
          <p:cNvSpPr>
            <a:spLocks noGrp="1"/>
          </p:cNvSpPr>
          <p:nvPr>
            <p:ph type="sldNum" sz="quarter" idx="12"/>
          </p:nvPr>
        </p:nvSpPr>
        <p:spPr/>
        <p:txBody>
          <a:bodyPr/>
          <a:lstStyle/>
          <a:p>
            <a:fld id="{2CC82B53-80CF-40C0-90EB-23E6E3D8F25D}" type="slidenum">
              <a:rPr lang="en-US" smtClean="0"/>
              <a:t>‹#›</a:t>
            </a:fld>
            <a:endParaRPr lang="en-US"/>
          </a:p>
        </p:txBody>
      </p:sp>
    </p:spTree>
    <p:extLst>
      <p:ext uri="{BB962C8B-B14F-4D97-AF65-F5344CB8AC3E}">
        <p14:creationId xmlns:p14="http://schemas.microsoft.com/office/powerpoint/2010/main" val="28746472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BC50F-A762-412B-A634-AFD654888EE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558FE4-0A37-4426-AE3D-C0563FC0DB5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9C9B99-11EC-4D92-AB27-24ADDE35B8F9}"/>
              </a:ext>
            </a:extLst>
          </p:cNvPr>
          <p:cNvSpPr>
            <a:spLocks noGrp="1"/>
          </p:cNvSpPr>
          <p:nvPr>
            <p:ph type="dt" sz="half" idx="10"/>
          </p:nvPr>
        </p:nvSpPr>
        <p:spPr/>
        <p:txBody>
          <a:bodyPr/>
          <a:lstStyle/>
          <a:p>
            <a:fld id="{DF3B4EFA-7A65-4AAD-8DC5-3DC00CAC2A15}" type="datetime1">
              <a:rPr lang="en-US" smtClean="0"/>
              <a:t>6/24/2020</a:t>
            </a:fld>
            <a:endParaRPr lang="en-US"/>
          </a:p>
        </p:txBody>
      </p:sp>
      <p:sp>
        <p:nvSpPr>
          <p:cNvPr id="5" name="Footer Placeholder 4">
            <a:extLst>
              <a:ext uri="{FF2B5EF4-FFF2-40B4-BE49-F238E27FC236}">
                <a16:creationId xmlns:a16="http://schemas.microsoft.com/office/drawing/2014/main" id="{D9E44157-5539-48E1-97CA-C3713C0327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EBC1E7-09D6-4F11-9962-6478E92D9997}"/>
              </a:ext>
            </a:extLst>
          </p:cNvPr>
          <p:cNvSpPr>
            <a:spLocks noGrp="1"/>
          </p:cNvSpPr>
          <p:nvPr>
            <p:ph type="sldNum" sz="quarter" idx="12"/>
          </p:nvPr>
        </p:nvSpPr>
        <p:spPr>
          <a:xfrm>
            <a:off x="8610600" y="6356350"/>
            <a:ext cx="2743200" cy="365125"/>
          </a:xfrm>
          <a:prstGeom prst="rect">
            <a:avLst/>
          </a:prstGeom>
        </p:spPr>
        <p:txBody>
          <a:bodyPr/>
          <a:lstStyle/>
          <a:p>
            <a:fld id="{FCAC468B-B10E-43C2-84FE-58F4E9AC7E25}" type="slidenum">
              <a:rPr lang="en-US" smtClean="0"/>
              <a:t>‹#›</a:t>
            </a:fld>
            <a:endParaRPr lang="en-US"/>
          </a:p>
        </p:txBody>
      </p:sp>
    </p:spTree>
    <p:extLst>
      <p:ext uri="{BB962C8B-B14F-4D97-AF65-F5344CB8AC3E}">
        <p14:creationId xmlns:p14="http://schemas.microsoft.com/office/powerpoint/2010/main" val="9329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484EF1-BA45-4990-91E5-6FAC135A863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0C31A20-6543-4648-A996-B4554762D8B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F2599F-EAB0-4F27-8E81-A81B3DC45456}"/>
              </a:ext>
            </a:extLst>
          </p:cNvPr>
          <p:cNvSpPr>
            <a:spLocks noGrp="1"/>
          </p:cNvSpPr>
          <p:nvPr>
            <p:ph type="dt" sz="half" idx="10"/>
          </p:nvPr>
        </p:nvSpPr>
        <p:spPr/>
        <p:txBody>
          <a:bodyPr/>
          <a:lstStyle/>
          <a:p>
            <a:fld id="{E8D0B672-CA3B-447B-B7AB-2AC7526E5D91}" type="datetimeFigureOut">
              <a:rPr lang="en-US" smtClean="0"/>
              <a:t>6/24/2020</a:t>
            </a:fld>
            <a:endParaRPr lang="en-US"/>
          </a:p>
        </p:txBody>
      </p:sp>
      <p:sp>
        <p:nvSpPr>
          <p:cNvPr id="5" name="Footer Placeholder 4">
            <a:extLst>
              <a:ext uri="{FF2B5EF4-FFF2-40B4-BE49-F238E27FC236}">
                <a16:creationId xmlns:a16="http://schemas.microsoft.com/office/drawing/2014/main" id="{2D18A738-D479-4169-83DB-DAEACEBCCB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EF8413-45BC-410F-A8E7-D8EBD256C8B3}"/>
              </a:ext>
            </a:extLst>
          </p:cNvPr>
          <p:cNvSpPr>
            <a:spLocks noGrp="1"/>
          </p:cNvSpPr>
          <p:nvPr>
            <p:ph type="sldNum" sz="quarter" idx="12"/>
          </p:nvPr>
        </p:nvSpPr>
        <p:spPr/>
        <p:txBody>
          <a:bodyPr/>
          <a:lstStyle/>
          <a:p>
            <a:fld id="{2CC82B53-80CF-40C0-90EB-23E6E3D8F25D}" type="slidenum">
              <a:rPr lang="en-US" smtClean="0"/>
              <a:t>‹#›</a:t>
            </a:fld>
            <a:endParaRPr lang="en-US"/>
          </a:p>
        </p:txBody>
      </p:sp>
    </p:spTree>
    <p:extLst>
      <p:ext uri="{BB962C8B-B14F-4D97-AF65-F5344CB8AC3E}">
        <p14:creationId xmlns:p14="http://schemas.microsoft.com/office/powerpoint/2010/main" val="173677331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BAF22A2-3C3F-440B-B89C-71E37701485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1673964-8042-424F-ACEC-F01AE2E4EF2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08C638-EE14-438C-91FD-F6C407E93AEC}"/>
              </a:ext>
            </a:extLst>
          </p:cNvPr>
          <p:cNvSpPr>
            <a:spLocks noGrp="1"/>
          </p:cNvSpPr>
          <p:nvPr>
            <p:ph type="dt" sz="half" idx="10"/>
          </p:nvPr>
        </p:nvSpPr>
        <p:spPr/>
        <p:txBody>
          <a:bodyPr/>
          <a:lstStyle/>
          <a:p>
            <a:fld id="{E8D0B672-CA3B-447B-B7AB-2AC7526E5D91}" type="datetimeFigureOut">
              <a:rPr lang="en-US" smtClean="0"/>
              <a:t>6/24/2020</a:t>
            </a:fld>
            <a:endParaRPr lang="en-US"/>
          </a:p>
        </p:txBody>
      </p:sp>
      <p:sp>
        <p:nvSpPr>
          <p:cNvPr id="5" name="Footer Placeholder 4">
            <a:extLst>
              <a:ext uri="{FF2B5EF4-FFF2-40B4-BE49-F238E27FC236}">
                <a16:creationId xmlns:a16="http://schemas.microsoft.com/office/drawing/2014/main" id="{57A8E7A3-BDA3-469D-B63A-45CACAA9D1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32E33F-A435-4BA9-B2DB-345CA86F9216}"/>
              </a:ext>
            </a:extLst>
          </p:cNvPr>
          <p:cNvSpPr>
            <a:spLocks noGrp="1"/>
          </p:cNvSpPr>
          <p:nvPr>
            <p:ph type="sldNum" sz="quarter" idx="12"/>
          </p:nvPr>
        </p:nvSpPr>
        <p:spPr/>
        <p:txBody>
          <a:bodyPr/>
          <a:lstStyle/>
          <a:p>
            <a:fld id="{2CC82B53-80CF-40C0-90EB-23E6E3D8F25D}" type="slidenum">
              <a:rPr lang="en-US" smtClean="0"/>
              <a:t>‹#›</a:t>
            </a:fld>
            <a:endParaRPr lang="en-US"/>
          </a:p>
        </p:txBody>
      </p:sp>
    </p:spTree>
    <p:extLst>
      <p:ext uri="{BB962C8B-B14F-4D97-AF65-F5344CB8AC3E}">
        <p14:creationId xmlns:p14="http://schemas.microsoft.com/office/powerpoint/2010/main" val="9038039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461153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14" name="Picture 4" descr="Row crops growing in a field beneath a blue sky and clouds.">
            <a:extLst>
              <a:ext uri="{FF2B5EF4-FFF2-40B4-BE49-F238E27FC236}">
                <a16:creationId xmlns:a16="http://schemas.microsoft.com/office/drawing/2014/main" id="{763152AA-62B4-4235-AE83-9EF61FFD944D}"/>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l="16019" t="1941" r="2339" b="1764"/>
          <a:stretch/>
        </p:blipFill>
        <p:spPr bwMode="auto">
          <a:xfrm>
            <a:off x="-1" y="3686628"/>
            <a:ext cx="4031728" cy="3171371"/>
          </a:xfrm>
          <a:prstGeom prst="rect">
            <a:avLst/>
          </a:prstGeom>
          <a:noFill/>
          <a:extLst>
            <a:ext uri="{909E8E84-426E-40DD-AFC4-6F175D3DCCD1}">
              <a14:hiddenFill xmlns:a14="http://schemas.microsoft.com/office/drawing/2010/main">
                <a:solidFill>
                  <a:srgbClr val="FFFFFF"/>
                </a:solidFill>
              </a14:hiddenFill>
            </a:ext>
          </a:extLst>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1789607"/>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2772229"/>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10" name="Picture 9" descr="A picture containing person, building, table, cellphone&#10;&#10;Description generated with high confidence">
            <a:extLst>
              <a:ext uri="{FF2B5EF4-FFF2-40B4-BE49-F238E27FC236}">
                <a16:creationId xmlns:a16="http://schemas.microsoft.com/office/drawing/2014/main" id="{97D61C50-64D7-4391-AA57-5226D30170D6}"/>
              </a:ext>
            </a:extLst>
          </p:cNvPr>
          <p:cNvPicPr>
            <a:picLocks noChangeAspect="1"/>
          </p:cNvPicPr>
          <p:nvPr userDrawn="1"/>
        </p:nvPicPr>
        <p:blipFill rotWithShape="1">
          <a:blip r:embed="rId4"/>
          <a:srcRect l="26769" r="1716"/>
          <a:stretch/>
        </p:blipFill>
        <p:spPr>
          <a:xfrm>
            <a:off x="4079612" y="3686628"/>
            <a:ext cx="4032251" cy="3172534"/>
          </a:xfrm>
          <a:prstGeom prst="rect">
            <a:avLst/>
          </a:prstGeom>
        </p:spPr>
      </p:pic>
      <p:pic>
        <p:nvPicPr>
          <p:cNvPr id="12" name="Picture Placeholder 12" descr="A picture containing mother, child, food, small&#10;&#10;Description generated with very high confidence">
            <a:extLst>
              <a:ext uri="{FF2B5EF4-FFF2-40B4-BE49-F238E27FC236}">
                <a16:creationId xmlns:a16="http://schemas.microsoft.com/office/drawing/2014/main" id="{E15C685B-C51E-4ED2-A7F6-7816848098BE}"/>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l="7634" r="7634"/>
          <a:stretch/>
        </p:blipFill>
        <p:spPr>
          <a:xfrm>
            <a:off x="8159748" y="3685466"/>
            <a:ext cx="4032251" cy="3172534"/>
          </a:xfrm>
          <a:prstGeom prst="rect">
            <a:avLst/>
          </a:prstGeom>
        </p:spPr>
      </p:pic>
    </p:spTree>
    <p:extLst>
      <p:ext uri="{BB962C8B-B14F-4D97-AF65-F5344CB8AC3E}">
        <p14:creationId xmlns:p14="http://schemas.microsoft.com/office/powerpoint/2010/main" val="1976242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98124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65024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27934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57288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7160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9863609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97824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76293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2707463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2234092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2349348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90868" y="351733"/>
            <a:ext cx="11018520" cy="553998"/>
          </a:xfrm>
        </p:spPr>
        <p:txBody>
          <a:bodyPr/>
          <a:lstStyle>
            <a:lvl1pPr>
              <a:defRPr>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586390" y="1354859"/>
            <a:ext cx="11018520" cy="1612749"/>
          </a:xfrm>
        </p:spPr>
        <p:txBody>
          <a:bodyPr wrap="square">
            <a:spAutoFit/>
          </a:bodyPr>
          <a:lstStyle>
            <a:lvl1pPr marL="0" indent="0">
              <a:buNone/>
              <a:defRPr>
                <a:solidFill>
                  <a:schemeClr val="tx1"/>
                </a:solidFill>
                <a:latin typeface="+mn-lt"/>
              </a:defRPr>
            </a:lvl1pPr>
            <a:lvl2pPr marL="228600" indent="0">
              <a:buNone/>
              <a:defRPr>
                <a:solidFill>
                  <a:schemeClr val="tx1"/>
                </a:solidFill>
                <a:latin typeface="+mn-lt"/>
              </a:defRPr>
            </a:lvl2pPr>
            <a:lvl3pPr marL="457200" indent="0">
              <a:buNone/>
              <a:defRPr>
                <a:solidFill>
                  <a:schemeClr val="tx1"/>
                </a:solidFill>
                <a:latin typeface="+mn-lt"/>
              </a:defRPr>
            </a:lvl3pPr>
            <a:lvl4pPr marL="685800" indent="0">
              <a:buNone/>
              <a:defRPr>
                <a:solidFill>
                  <a:schemeClr val="tx1"/>
                </a:solidFill>
                <a:latin typeface="+mn-lt"/>
              </a:defRPr>
            </a:lvl4pPr>
            <a:lvl5pPr marL="914400" indent="0">
              <a:buNone/>
              <a:defRPr>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85470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927720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014643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6420275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5271879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444483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3455106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80244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48720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600975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81808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0" y="353834"/>
            <a:ext cx="11018520" cy="553998"/>
          </a:xfrm>
        </p:spPr>
        <p:txBody>
          <a:bodyPr/>
          <a:lstStyle>
            <a:lvl1pPr>
              <a:defRPr>
                <a:solidFill>
                  <a:schemeClr val="accent1"/>
                </a:solidFill>
              </a:defRPr>
            </a:lvl1pPr>
          </a:lstStyle>
          <a:p>
            <a:r>
              <a:rPr lang="en-US"/>
              <a:t>Click to edit Master title style</a:t>
            </a:r>
          </a:p>
        </p:txBody>
      </p:sp>
      <p:sp>
        <p:nvSpPr>
          <p:cNvPr id="3" name="Text Placeholder 2"/>
          <p:cNvSpPr>
            <a:spLocks noGrp="1"/>
          </p:cNvSpPr>
          <p:nvPr>
            <p:ph type="body" sz="quarter" idx="10"/>
          </p:nvPr>
        </p:nvSpPr>
        <p:spPr>
          <a:xfrm>
            <a:off x="584200" y="1340085"/>
            <a:ext cx="11018520" cy="1612749"/>
          </a:xfrm>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11610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9343544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189176"/>
            <a:ext cx="5361472" cy="1663661"/>
          </a:xfrm>
        </p:spPr>
        <p:txBody>
          <a:bodyPr wrap="square">
            <a:spAutoFit/>
          </a:bodyPr>
          <a:lstStyle>
            <a:lvl1pPr marL="0" indent="0">
              <a:spcBef>
                <a:spcPts val="1200"/>
              </a:spcBef>
              <a:buClr>
                <a:schemeClr val="tx1"/>
              </a:buClr>
              <a:buFont typeface="Wingdings" pitchFamily="2" charset="2"/>
              <a:buNone/>
              <a:defRPr sz="2745"/>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621406"/>
          </a:xfrm>
        </p:spPr>
        <p:txBody>
          <a:bodyPr wrap="square">
            <a:spAutoFit/>
          </a:bodyPr>
          <a:lstStyle>
            <a:lvl1pPr marL="0" indent="0">
              <a:spcBef>
                <a:spcPts val="1200"/>
              </a:spcBef>
              <a:buClr>
                <a:schemeClr val="tx1"/>
              </a:buClr>
              <a:buFont typeface="Wingdings" pitchFamily="2" charset="2"/>
              <a:buNone/>
              <a:defRPr lang="en-US" sz="2745" kern="1200" spc="0" baseline="0" dirty="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0" indent="0">
              <a:buNone/>
              <a:defRPr sz="1961"/>
            </a:lvl2pPr>
            <a:lvl3pPr marL="227209" indent="0">
              <a:buNone/>
              <a:tabLst/>
              <a:defRPr sz="1961"/>
            </a:lvl3pPr>
            <a:lvl4pPr marL="451306" indent="0">
              <a:buNone/>
              <a:defRPr/>
            </a:lvl4pPr>
            <a:lvl5pPr marL="672290" indent="0">
              <a:buNone/>
              <a:tabLst/>
              <a:defRPr/>
            </a:lvl5pPr>
          </a:lstStyle>
          <a:p>
            <a:pPr marL="0" marR="0" lvl="0" indent="0" algn="l" defTabSz="914367" rtl="0" eaLnBrk="1" fontAlgn="auto" latinLnBrk="0" hangingPunct="1">
              <a:lnSpc>
                <a:spcPct val="90000"/>
              </a:lnSpc>
              <a:spcBef>
                <a:spcPts val="1200"/>
              </a:spcBef>
              <a:spcAft>
                <a:spcPts val="0"/>
              </a:spcAft>
              <a:buClr>
                <a:schemeClr val="tx1"/>
              </a:buClr>
              <a:buSzPct val="90000"/>
              <a:buFont typeface="Wingdings" pitchFamily="2" charset="2"/>
              <a:buNone/>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1" name="Group 10">
            <a:extLst>
              <a:ext uri="{FF2B5EF4-FFF2-40B4-BE49-F238E27FC236}">
                <a16:creationId xmlns:a16="http://schemas.microsoft.com/office/drawing/2014/main" id="{CFC1BC48-6084-4F4F-9B19-74581211A614}"/>
              </a:ext>
            </a:extLst>
          </p:cNvPr>
          <p:cNvGrpSpPr/>
          <p:nvPr userDrawn="1"/>
        </p:nvGrpSpPr>
        <p:grpSpPr>
          <a:xfrm>
            <a:off x="592461" y="6376901"/>
            <a:ext cx="3016096" cy="207152"/>
            <a:chOff x="261939" y="6462492"/>
            <a:chExt cx="4033609" cy="276999"/>
          </a:xfrm>
        </p:grpSpPr>
        <p:sp>
          <p:nvSpPr>
            <p:cNvPr id="12" name="TextBox 11">
              <a:extLst>
                <a:ext uri="{FF2B5EF4-FFF2-40B4-BE49-F238E27FC236}">
                  <a16:creationId xmlns:a16="http://schemas.microsoft.com/office/drawing/2014/main" id="{D44C8BC7-B1BD-44DC-85D8-6305A2D52E1D}"/>
                </a:ext>
              </a:extLst>
            </p:cNvPr>
            <p:cNvSpPr txBox="1"/>
            <p:nvPr userDrawn="1"/>
          </p:nvSpPr>
          <p:spPr>
            <a:xfrm>
              <a:off x="1595748" y="6462492"/>
              <a:ext cx="2699800" cy="276999"/>
            </a:xfrm>
            <a:prstGeom prst="rect">
              <a:avLst/>
            </a:prstGeom>
            <a:noFill/>
          </p:spPr>
          <p:txBody>
            <a:bodyPr wrap="square" lIns="0" tIns="0" rIns="0" bIns="0" rtlCol="0">
              <a:noAutofit/>
            </a:bodyPr>
            <a:lstStyle/>
            <a:p>
              <a:r>
                <a:rPr lang="en-US" sz="1372" b="0">
                  <a:gradFill>
                    <a:gsLst>
                      <a:gs pos="11538">
                        <a:schemeClr val="bg2">
                          <a:lumMod val="10000"/>
                        </a:schemeClr>
                      </a:gs>
                      <a:gs pos="47000">
                        <a:schemeClr val="bg2">
                          <a:lumMod val="10000"/>
                        </a:schemeClr>
                      </a:gs>
                    </a:gsLst>
                    <a:lin ang="0" scaled="0"/>
                  </a:gradFill>
                  <a:latin typeface="Segoe UI" panose="020B0502040204020203" pitchFamily="34" charset="0"/>
                  <a:cs typeface="Segoe UI" panose="020B0502040204020203" pitchFamily="34" charset="0"/>
                </a:rPr>
                <a:t>|</a:t>
              </a:r>
              <a:r>
                <a:rPr lang="en-US" sz="1372" b="1">
                  <a:gradFill>
                    <a:gsLst>
                      <a:gs pos="11538">
                        <a:schemeClr val="bg2">
                          <a:lumMod val="10000"/>
                        </a:schemeClr>
                      </a:gs>
                      <a:gs pos="47000">
                        <a:schemeClr val="bg2">
                          <a:lumMod val="10000"/>
                        </a:schemeClr>
                      </a:gs>
                    </a:gsLst>
                    <a:lin ang="0" scaled="0"/>
                  </a:gradFill>
                  <a:latin typeface="Segoe UI" panose="020B0502040204020203" pitchFamily="34" charset="0"/>
                  <a:cs typeface="Segoe UI" panose="020B0502040204020203" pitchFamily="34" charset="0"/>
                </a:rPr>
                <a:t> AI</a:t>
              </a:r>
              <a:r>
                <a:rPr lang="en-US" sz="1372" b="0">
                  <a:gradFill>
                    <a:gsLst>
                      <a:gs pos="11538">
                        <a:schemeClr val="bg2">
                          <a:lumMod val="10000"/>
                        </a:schemeClr>
                      </a:gs>
                      <a:gs pos="47000">
                        <a:schemeClr val="bg2">
                          <a:lumMod val="10000"/>
                        </a:schemeClr>
                      </a:gs>
                    </a:gsLst>
                    <a:lin ang="0" scaled="0"/>
                  </a:gradFill>
                  <a:latin typeface="Segoe UI" panose="020B0502040204020203" pitchFamily="34" charset="0"/>
                  <a:cs typeface="Segoe UI" panose="020B0502040204020203" pitchFamily="34" charset="0"/>
                </a:rPr>
                <a:t> for Accessibility</a:t>
              </a:r>
            </a:p>
          </p:txBody>
        </p:sp>
        <p:grpSp>
          <p:nvGrpSpPr>
            <p:cNvPr id="13" name="Group 12">
              <a:extLst>
                <a:ext uri="{FF2B5EF4-FFF2-40B4-BE49-F238E27FC236}">
                  <a16:creationId xmlns:a16="http://schemas.microsoft.com/office/drawing/2014/main" id="{A43B4F0A-68C1-4C52-83DE-53D7E25C3BF4}"/>
                </a:ext>
              </a:extLst>
            </p:cNvPr>
            <p:cNvGrpSpPr>
              <a:grpSpLocks noChangeAspect="1"/>
            </p:cNvGrpSpPr>
            <p:nvPr userDrawn="1"/>
          </p:nvGrpSpPr>
          <p:grpSpPr bwMode="black">
            <a:xfrm>
              <a:off x="261939" y="6472569"/>
              <a:ext cx="1231182" cy="264320"/>
              <a:chOff x="457200" y="1643393"/>
              <a:chExt cx="4492753" cy="964540"/>
            </a:xfrm>
          </p:grpSpPr>
          <p:pic>
            <p:nvPicPr>
              <p:cNvPr id="14" name="Picture 13">
                <a:extLst>
                  <a:ext uri="{FF2B5EF4-FFF2-40B4-BE49-F238E27FC236}">
                    <a16:creationId xmlns:a16="http://schemas.microsoft.com/office/drawing/2014/main" id="{650A6257-953C-4275-A8C2-38DE01CC3FB8}"/>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5" name="Freeform 12">
                <a:extLst>
                  <a:ext uri="{FF2B5EF4-FFF2-40B4-BE49-F238E27FC236}">
                    <a16:creationId xmlns:a16="http://schemas.microsoft.com/office/drawing/2014/main" id="{AF3F0E2A-C931-4AFE-9BF3-FFFDEBAF8643}"/>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730"/>
              </a:p>
            </p:txBody>
          </p:sp>
        </p:grpSp>
      </p:grpSp>
    </p:spTree>
    <p:extLst>
      <p:ext uri="{BB962C8B-B14F-4D97-AF65-F5344CB8AC3E}">
        <p14:creationId xmlns:p14="http://schemas.microsoft.com/office/powerpoint/2010/main" val="367471241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MS logo white - EMF"/>
          <p:cNvPicPr>
            <a:picLocks noChangeAspect="1"/>
          </p:cNvPicPr>
          <p:nvPr userDrawn="1"/>
        </p:nvPicPr>
        <p:blipFill>
          <a:blip r:embed="rId2"/>
          <a:stretch>
            <a:fillRect/>
          </a:stretch>
        </p:blipFill>
        <p:spPr bwMode="black">
          <a:xfrm>
            <a:off x="448585" y="450002"/>
            <a:ext cx="1423303" cy="304828"/>
          </a:xfrm>
          <a:prstGeom prst="rect">
            <a:avLst/>
          </a:prstGeom>
        </p:spPr>
      </p:pic>
    </p:spTree>
    <p:extLst>
      <p:ext uri="{BB962C8B-B14F-4D97-AF65-F5344CB8AC3E}">
        <p14:creationId xmlns:p14="http://schemas.microsoft.com/office/powerpoint/2010/main" val="6789959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231" t="13567" r="354" b="2595"/>
          <a:stretch/>
        </p:blipFill>
        <p:spPr>
          <a:xfrm>
            <a:off x="-1" y="0"/>
            <a:ext cx="12190271" cy="6858000"/>
          </a:xfrm>
          <a:prstGeom prst="rect">
            <a:avLst/>
          </a:prstGeom>
        </p:spPr>
      </p:pic>
      <p:sp>
        <p:nvSpPr>
          <p:cNvPr id="13" name="Rectangle 12"/>
          <p:cNvSpPr/>
          <p:nvPr userDrawn="1"/>
        </p:nvSpPr>
        <p:spPr bwMode="auto">
          <a:xfrm>
            <a:off x="279764" y="2084171"/>
            <a:ext cx="6274974" cy="3586208"/>
          </a:xfrm>
          <a:prstGeom prst="rect">
            <a:avLst/>
          </a:prstGeom>
          <a:solidFill>
            <a:srgbClr val="FFFFFF">
              <a:alpha val="7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75796">
                      <a:srgbClr val="353535"/>
                    </a:gs>
                    <a:gs pos="57576">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5"/>
            <a:ext cx="6276530" cy="656077"/>
          </a:xfrm>
        </p:spPr>
        <p:txBody>
          <a:bodyPr wrap="square" lIns="164592" tIns="109728" rIns="164592" bIns="109728">
            <a:spAutoFit/>
          </a:bodyPr>
          <a:lstStyle>
            <a:lvl1pPr marL="0" indent="0">
              <a:spcBef>
                <a:spcPts val="0"/>
              </a:spcBef>
              <a:buNone/>
              <a:defRPr sz="3137">
                <a:gradFill>
                  <a:gsLst>
                    <a:gs pos="75796">
                      <a:srgbClr val="353535"/>
                    </a:gs>
                    <a:gs pos="57576">
                      <a:srgbClr val="353535"/>
                    </a:gs>
                  </a:gsLst>
                  <a:lin ang="5400000" scaled="0"/>
                </a:gradFill>
                <a:latin typeface="+mn-lt"/>
              </a:defRPr>
            </a:lvl1pPr>
          </a:lstStyle>
          <a:p>
            <a:pPr lvl="0"/>
            <a:r>
              <a:rPr lang="en-US"/>
              <a:t>Speaker name</a:t>
            </a:r>
          </a:p>
        </p:txBody>
      </p:sp>
      <p:pic>
        <p:nvPicPr>
          <p:cNvPr id="19"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013895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14"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5638644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userDrawn="1"/>
        </p:nvPicPr>
        <p:blipFill>
          <a:blip r:embed="rId2"/>
          <a:stretch>
            <a:fillRect/>
          </a:stretch>
        </p:blipFill>
        <p:spPr bwMode="black">
          <a:xfrm>
            <a:off x="451633" y="470067"/>
            <a:ext cx="1423301" cy="304828"/>
          </a:xfrm>
          <a:prstGeom prst="rect">
            <a:avLst/>
          </a:prstGeom>
        </p:spPr>
      </p:pic>
      <p:pic>
        <p:nvPicPr>
          <p:cNvPr id="6" name="Picture 5"/>
          <p:cNvPicPr>
            <a:picLocks noChangeAspect="1"/>
          </p:cNvPicPr>
          <p:nvPr userDrawn="1"/>
        </p:nvPicPr>
        <p:blipFill rotWithShape="1">
          <a:blip r:embed="rId3"/>
          <a:srcRect l="14994" t="13567" r="29085" b="2595"/>
          <a:stretch/>
        </p:blipFill>
        <p:spPr>
          <a:xfrm>
            <a:off x="5334973" y="0"/>
            <a:ext cx="6857027" cy="6858000"/>
          </a:xfrm>
          <a:prstGeom prst="rect">
            <a:avLst/>
          </a:prstGeom>
        </p:spPr>
      </p:pic>
    </p:spTree>
    <p:extLst>
      <p:ext uri="{BB962C8B-B14F-4D97-AF65-F5344CB8AC3E}">
        <p14:creationId xmlns:p14="http://schemas.microsoft.com/office/powerpoint/2010/main" val="31349393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729266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2374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12551001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98466982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plit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4200" y="361785"/>
            <a:ext cx="5146331" cy="1107996"/>
          </a:xfrm>
        </p:spPr>
        <p:txBody>
          <a:bodyPr>
            <a:spAutoFit/>
          </a:bodyPr>
          <a:lstStyle>
            <a:lvl1pPr>
              <a:defRPr sz="3600">
                <a:solidFill>
                  <a:schemeClr val="accent1"/>
                </a:solidFill>
              </a:defRPr>
            </a:lvl1pPr>
          </a:lstStyle>
          <a:p>
            <a:r>
              <a:rPr lang="en-US"/>
              <a:t>Click to edit Master title style</a:t>
            </a:r>
          </a:p>
        </p:txBody>
      </p:sp>
      <p:sp>
        <p:nvSpPr>
          <p:cNvPr id="3" name="Text Placeholder 2"/>
          <p:cNvSpPr>
            <a:spLocks noGrp="1"/>
          </p:cNvSpPr>
          <p:nvPr>
            <p:ph type="body" sz="quarter" idx="10"/>
          </p:nvPr>
        </p:nvSpPr>
        <p:spPr>
          <a:xfrm>
            <a:off x="588263" y="1780763"/>
            <a:ext cx="5146331" cy="1268039"/>
          </a:xfrm>
        </p:spPr>
        <p:txBody>
          <a:bodyPr/>
          <a:lstStyle>
            <a:lvl1pPr marL="0" indent="0">
              <a:spcBef>
                <a:spcPts val="800"/>
              </a:spcBef>
              <a:buNone/>
              <a:defRPr sz="2000">
                <a:solidFill>
                  <a:schemeClr val="tx1"/>
                </a:solidFill>
                <a:latin typeface="+mn-lt"/>
              </a:defRPr>
            </a:lvl1pPr>
            <a:lvl2pPr marL="228600" indent="0">
              <a:buNone/>
              <a:defRPr sz="1600">
                <a:solidFill>
                  <a:schemeClr val="tx1"/>
                </a:solidFill>
                <a:latin typeface="+mn-lt"/>
              </a:defRPr>
            </a:lvl2pPr>
            <a:lvl3pPr marL="457200" indent="0">
              <a:buNone/>
              <a:defRPr sz="1200">
                <a:solidFill>
                  <a:schemeClr val="tx1"/>
                </a:solidFill>
                <a:latin typeface="+mn-lt"/>
              </a:defRPr>
            </a:lvl3pPr>
            <a:lvl4pPr marL="661988" indent="0">
              <a:buNone/>
              <a:defRPr sz="1100">
                <a:solidFill>
                  <a:schemeClr val="tx1"/>
                </a:solidFill>
                <a:latin typeface="+mn-lt"/>
              </a:defRPr>
            </a:lvl4pPr>
            <a:lvl5pPr marL="855663" indent="0">
              <a:buNone/>
              <a:defRPr sz="110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a:extLst>
              <a:ext uri="{FF2B5EF4-FFF2-40B4-BE49-F238E27FC236}">
                <a16:creationId xmlns:a16="http://schemas.microsoft.com/office/drawing/2014/main" id="{30FB4210-801B-4ED3-BCD7-3A36E6E35036}"/>
              </a:ext>
            </a:extLst>
          </p:cNvPr>
          <p:cNvSpPr>
            <a:spLocks noGrp="1"/>
          </p:cNvSpPr>
          <p:nvPr>
            <p:ph type="pic" sz="quarter" idx="11"/>
          </p:nvPr>
        </p:nvSpPr>
        <p:spPr>
          <a:xfrm>
            <a:off x="6096001" y="0"/>
            <a:ext cx="6096000" cy="6858000"/>
          </a:xfrm>
        </p:spPr>
        <p:txBody>
          <a:bodyPr/>
          <a:lstStyle/>
          <a:p>
            <a:endParaRPr lang="en-US"/>
          </a:p>
        </p:txBody>
      </p:sp>
    </p:spTree>
    <p:extLst>
      <p:ext uri="{BB962C8B-B14F-4D97-AF65-F5344CB8AC3E}">
        <p14:creationId xmlns:p14="http://schemas.microsoft.com/office/powerpoint/2010/main" val="257572491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371806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004193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804151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8156932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51220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18721763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669730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1748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49742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311180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alf-page spli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5279E0-7ADE-4810-B3CF-D2664576264B}"/>
              </a:ext>
            </a:extLst>
          </p:cNvPr>
          <p:cNvSpPr/>
          <p:nvPr userDrawn="1"/>
        </p:nvSpPr>
        <p:spPr bwMode="auto">
          <a:xfrm>
            <a:off x="0" y="0"/>
            <a:ext cx="6096000" cy="6858000"/>
          </a:xfrm>
          <a:prstGeom prst="rect">
            <a:avLst/>
          </a:prstGeom>
          <a:solidFill>
            <a:schemeClr val="accent4">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586390" y="1790820"/>
            <a:ext cx="4898137" cy="1239122"/>
          </a:xfrm>
        </p:spPr>
        <p:txBody>
          <a:bodyPr wrap="square">
            <a:spAutoFit/>
          </a:bodyPr>
          <a:lstStyle>
            <a:lvl1pPr marL="0" indent="0">
              <a:lnSpc>
                <a:spcPct val="110000"/>
              </a:lnSpc>
              <a:spcBef>
                <a:spcPts val="1200"/>
              </a:spcBef>
              <a:buNone/>
              <a:defRPr sz="1800">
                <a:solidFill>
                  <a:schemeClr val="tx1"/>
                </a:solidFill>
                <a:latin typeface="+mn-lt"/>
              </a:defRPr>
            </a:lvl1pPr>
            <a:lvl2pPr marL="228600" indent="0">
              <a:buNone/>
              <a:defRPr sz="1600">
                <a:solidFill>
                  <a:schemeClr val="tx1"/>
                </a:solidFill>
              </a:defRPr>
            </a:lvl2pPr>
            <a:lvl3pPr marL="457200" indent="0">
              <a:buNone/>
              <a:defRPr sz="1200">
                <a:solidFill>
                  <a:schemeClr val="tx1"/>
                </a:solidFill>
              </a:defRPr>
            </a:lvl3pPr>
            <a:lvl4pPr marL="685800" indent="0">
              <a:buNone/>
              <a:defRPr sz="1100">
                <a:solidFill>
                  <a:schemeClr val="tx1"/>
                </a:solidFill>
              </a:defRPr>
            </a:lvl4pPr>
            <a:lvl5pPr marL="914400" indent="0">
              <a:buNone/>
              <a:defRPr sz="11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C4B7896-F978-4D6E-861E-D10AD51486D4}"/>
              </a:ext>
            </a:extLst>
          </p:cNvPr>
          <p:cNvSpPr>
            <a:spLocks noGrp="1"/>
          </p:cNvSpPr>
          <p:nvPr>
            <p:ph type="title"/>
          </p:nvPr>
        </p:nvSpPr>
        <p:spPr>
          <a:xfrm>
            <a:off x="588263" y="362615"/>
            <a:ext cx="4896264" cy="1107996"/>
          </a:xfrm>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3895855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guide id="5" orient="horz" pos="15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8930353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full photo">
    <p:bg>
      <p:bgRef idx="1001">
        <a:schemeClr val="bg1"/>
      </p:bgRef>
    </p:bg>
    <p:spTree>
      <p:nvGrpSpPr>
        <p:cNvPr id="1" name=""/>
        <p:cNvGrpSpPr/>
        <p:nvPr/>
      </p:nvGrpSpPr>
      <p:grpSpPr>
        <a:xfrm>
          <a:off x="0" y="0"/>
          <a:ext cx="0" cy="0"/>
          <a:chOff x="0" y="0"/>
          <a:chExt cx="0" cy="0"/>
        </a:xfrm>
      </p:grpSpPr>
      <p:pic>
        <p:nvPicPr>
          <p:cNvPr id="10" name="Picture 9" descr="A picture containing grass, scene, way, road&#10;&#10;Description generated with high confidence"/>
          <p:cNvPicPr>
            <a:picLocks noChangeAspect="1"/>
          </p:cNvPicPr>
          <p:nvPr userDrawn="1"/>
        </p:nvPicPr>
        <p:blipFill rotWithShape="1">
          <a:blip r:embed="rId2" cstate="print">
            <a:extLst>
              <a:ext uri="{28A0092B-C50C-407E-A947-70E740481C1C}">
                <a14:useLocalDpi xmlns:a14="http://schemas.microsoft.com/office/drawing/2010/main" val="0"/>
              </a:ext>
            </a:extLst>
          </a:blip>
          <a:srcRect l="1449" r="841" b="3474"/>
          <a:stretch/>
        </p:blipFill>
        <p:spPr>
          <a:xfrm>
            <a:off x="-36593" y="0"/>
            <a:ext cx="12339726" cy="6858000"/>
          </a:xfrm>
          <a:prstGeom prst="rect">
            <a:avLst/>
          </a:prstGeom>
        </p:spPr>
      </p:pic>
      <p:sp>
        <p:nvSpPr>
          <p:cNvPr id="9" name="Title 1"/>
          <p:cNvSpPr>
            <a:spLocks noGrp="1"/>
          </p:cNvSpPr>
          <p:nvPr>
            <p:ph type="title" hasCustomPrompt="1"/>
          </p:nvPr>
        </p:nvSpPr>
        <p:spPr bwMode="auto">
          <a:xfrm>
            <a:off x="268928" y="3612622"/>
            <a:ext cx="8234998" cy="778565"/>
          </a:xfrm>
          <a:noFill/>
        </p:spPr>
        <p:txBody>
          <a:bodyPr lIns="146304" tIns="91440" rIns="146304" bIns="91440" anchor="b" anchorCtr="0">
            <a:spAutoFit/>
          </a:bodyPr>
          <a:lstStyle>
            <a:lvl1pPr>
              <a:defRPr sz="4311" b="0" spc="-96" baseline="0">
                <a:gradFill>
                  <a:gsLst>
                    <a:gs pos="1124">
                      <a:srgbClr val="FFFFFF"/>
                    </a:gs>
                    <a:gs pos="17000">
                      <a:srgbClr val="FFFFFF"/>
                    </a:gs>
                  </a:gsLst>
                  <a:lin ang="5400000" scaled="0"/>
                </a:gradFill>
                <a:latin typeface="Segoe UI Semilight" panose="020B0402040204020203" pitchFamily="34" charset="0"/>
                <a:cs typeface="Segoe UI Semilight" panose="020B0402040204020203" pitchFamily="34" charset="0"/>
              </a:defRPr>
            </a:lvl1pPr>
          </a:lstStyle>
          <a:p>
            <a:r>
              <a:rPr lang="en-US"/>
              <a:t>Presentation title</a:t>
            </a:r>
          </a:p>
        </p:txBody>
      </p:sp>
      <p:sp>
        <p:nvSpPr>
          <p:cNvPr id="3" name="Text Placeholder 2"/>
          <p:cNvSpPr>
            <a:spLocks noGrp="1"/>
          </p:cNvSpPr>
          <p:nvPr>
            <p:ph type="body" sz="quarter" idx="14" hasCustomPrompt="1"/>
          </p:nvPr>
        </p:nvSpPr>
        <p:spPr bwMode="auto">
          <a:xfrm>
            <a:off x="268928" y="4594504"/>
            <a:ext cx="8234999" cy="543185"/>
          </a:xfrm>
        </p:spPr>
        <p:txBody>
          <a:bodyPr lIns="164592" tIns="109728" rIns="164592" bIns="109728">
            <a:spAutoFit/>
          </a:bodyPr>
          <a:lstStyle>
            <a:lvl1pPr marL="0" indent="0">
              <a:spcBef>
                <a:spcPts val="0"/>
              </a:spcBef>
              <a:buNone/>
              <a:defRPr sz="2353" baseline="0">
                <a:gradFill>
                  <a:gsLst>
                    <a:gs pos="1124">
                      <a:srgbClr val="FFFFFF"/>
                    </a:gs>
                    <a:gs pos="17000">
                      <a:srgbClr val="FFFFFF"/>
                    </a:gs>
                  </a:gsLst>
                  <a:lin ang="5400000" scaled="0"/>
                </a:gradFill>
                <a:latin typeface="+mn-lt"/>
              </a:defRPr>
            </a:lvl1pPr>
          </a:lstStyle>
          <a:p>
            <a:pPr lvl="0"/>
            <a:r>
              <a:rPr lang="en-US"/>
              <a:t>Speaker name</a:t>
            </a:r>
          </a:p>
        </p:txBody>
      </p:sp>
      <p:grpSp>
        <p:nvGrpSpPr>
          <p:cNvPr id="11" name="Group 10">
            <a:extLst>
              <a:ext uri="{FF2B5EF4-FFF2-40B4-BE49-F238E27FC236}">
                <a16:creationId xmlns:a16="http://schemas.microsoft.com/office/drawing/2014/main" id="{A26AF93F-4D6B-4115-821E-16C3E6D9E02B}"/>
              </a:ext>
            </a:extLst>
          </p:cNvPr>
          <p:cNvGrpSpPr>
            <a:grpSpLocks noChangeAspect="1"/>
          </p:cNvGrpSpPr>
          <p:nvPr userDrawn="1"/>
        </p:nvGrpSpPr>
        <p:grpSpPr bwMode="black">
          <a:xfrm>
            <a:off x="448215" y="6083105"/>
            <a:ext cx="1419662" cy="304828"/>
            <a:chOff x="457200" y="1643393"/>
            <a:chExt cx="4492753" cy="964540"/>
          </a:xfrm>
        </p:grpSpPr>
        <p:pic>
          <p:nvPicPr>
            <p:cNvPr id="13" name="Picture 12">
              <a:extLst>
                <a:ext uri="{FF2B5EF4-FFF2-40B4-BE49-F238E27FC236}">
                  <a16:creationId xmlns:a16="http://schemas.microsoft.com/office/drawing/2014/main" id="{C22BB4D4-7B85-43E7-BC53-88BCEE3341C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6" name="Freeform 12">
              <a:extLst>
                <a:ext uri="{FF2B5EF4-FFF2-40B4-BE49-F238E27FC236}">
                  <a16:creationId xmlns:a16="http://schemas.microsoft.com/office/drawing/2014/main" id="{3DC02014-F76D-4819-AD7B-B35576D3B329}"/>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28"/>
            </a:p>
          </p:txBody>
        </p:sp>
      </p:grpSp>
    </p:spTree>
    <p:extLst>
      <p:ext uri="{BB962C8B-B14F-4D97-AF65-F5344CB8AC3E}">
        <p14:creationId xmlns:p14="http://schemas.microsoft.com/office/powerpoint/2010/main" val="1987370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3"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3" y="2980726"/>
            <a:ext cx="8964186" cy="715931"/>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7"/>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11" name="MS logo white - EMF"/>
          <p:cNvPicPr>
            <a:picLocks noChangeAspect="1"/>
          </p:cNvPicPr>
          <p:nvPr userDrawn="1"/>
        </p:nvPicPr>
        <p:blipFill>
          <a:blip r:embed="rId2"/>
          <a:stretch>
            <a:fillRect/>
          </a:stretch>
        </p:blipFill>
        <p:spPr bwMode="black">
          <a:xfrm>
            <a:off x="448586" y="450002"/>
            <a:ext cx="1423303" cy="304828"/>
          </a:xfrm>
          <a:prstGeom prst="rect">
            <a:avLst/>
          </a:prstGeom>
        </p:spPr>
      </p:pic>
    </p:spTree>
    <p:extLst>
      <p:ext uri="{BB962C8B-B14F-4D97-AF65-F5344CB8AC3E}">
        <p14:creationId xmlns:p14="http://schemas.microsoft.com/office/powerpoint/2010/main" val="28525072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l="231" t="13567" r="354" b="2595"/>
          <a:stretch/>
        </p:blipFill>
        <p:spPr>
          <a:xfrm>
            <a:off x="0" y="0"/>
            <a:ext cx="12190271" cy="6858000"/>
          </a:xfrm>
          <a:prstGeom prst="rect">
            <a:avLst/>
          </a:prstGeom>
        </p:spPr>
      </p:pic>
      <p:sp>
        <p:nvSpPr>
          <p:cNvPr id="13" name="Rectangle 12"/>
          <p:cNvSpPr/>
          <p:nvPr userDrawn="1"/>
        </p:nvSpPr>
        <p:spPr bwMode="auto">
          <a:xfrm>
            <a:off x="279764" y="2084171"/>
            <a:ext cx="6274974" cy="3586208"/>
          </a:xfrm>
          <a:prstGeom prst="rect">
            <a:avLst/>
          </a:prstGeom>
          <a:solidFill>
            <a:srgbClr val="FFFFFF">
              <a:alpha val="76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2077813"/>
            <a:ext cx="6274911" cy="1793104"/>
          </a:xfrm>
          <a:noFill/>
        </p:spPr>
        <p:txBody>
          <a:bodyPr lIns="146304" tIns="91440" rIns="146304" bIns="91440" anchor="t" anchorCtr="0"/>
          <a:lstStyle>
            <a:lvl1pPr>
              <a:defRPr sz="4704" spc="-98" baseline="0">
                <a:gradFill>
                  <a:gsLst>
                    <a:gs pos="75796">
                      <a:srgbClr val="353535"/>
                    </a:gs>
                    <a:gs pos="57576">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6077"/>
          </a:xfrm>
        </p:spPr>
        <p:txBody>
          <a:bodyPr wrap="square" lIns="164592" tIns="109728" rIns="164592" bIns="109728">
            <a:spAutoFit/>
          </a:bodyPr>
          <a:lstStyle>
            <a:lvl1pPr marL="0" indent="0">
              <a:spcBef>
                <a:spcPts val="0"/>
              </a:spcBef>
              <a:buNone/>
              <a:defRPr sz="3136">
                <a:gradFill>
                  <a:gsLst>
                    <a:gs pos="75796">
                      <a:srgbClr val="353535"/>
                    </a:gs>
                    <a:gs pos="57576">
                      <a:srgbClr val="353535"/>
                    </a:gs>
                  </a:gsLst>
                  <a:lin ang="5400000" scaled="0"/>
                </a:gradFill>
                <a:latin typeface="+mn-lt"/>
              </a:defRPr>
            </a:lvl1pPr>
          </a:lstStyle>
          <a:p>
            <a:pPr lvl="0"/>
            <a:r>
              <a:rPr lang="en-US"/>
              <a:t>Speaker name</a:t>
            </a:r>
          </a:p>
        </p:txBody>
      </p:sp>
      <p:pic>
        <p:nvPicPr>
          <p:cNvPr id="19" name="MS logo white - EMF"/>
          <p:cNvPicPr>
            <a:picLocks noChangeAspect="1"/>
          </p:cNvPicPr>
          <p:nvPr userDrawn="1"/>
        </p:nvPicPr>
        <p:blipFill>
          <a:blip r:embed="rId3"/>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51336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Speaker name</a:t>
            </a:r>
          </a:p>
        </p:txBody>
      </p:sp>
      <p:pic>
        <p:nvPicPr>
          <p:cNvPr id="14"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7188141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704"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136"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19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userDrawn="1"/>
        </p:nvPicPr>
        <p:blipFill>
          <a:blip r:embed="rId2"/>
          <a:stretch>
            <a:fillRect/>
          </a:stretch>
        </p:blipFill>
        <p:spPr bwMode="black">
          <a:xfrm>
            <a:off x="451634" y="470067"/>
            <a:ext cx="1423301" cy="304828"/>
          </a:xfrm>
          <a:prstGeom prst="rect">
            <a:avLst/>
          </a:prstGeom>
        </p:spPr>
      </p:pic>
      <p:pic>
        <p:nvPicPr>
          <p:cNvPr id="6" name="Picture 5"/>
          <p:cNvPicPr>
            <a:picLocks noChangeAspect="1"/>
          </p:cNvPicPr>
          <p:nvPr userDrawn="1"/>
        </p:nvPicPr>
        <p:blipFill rotWithShape="1">
          <a:blip r:embed="rId3"/>
          <a:srcRect l="14994" t="13567" r="29085" b="2595"/>
          <a:stretch/>
        </p:blipFill>
        <p:spPr>
          <a:xfrm>
            <a:off x="5334974" y="0"/>
            <a:ext cx="6857027" cy="6858000"/>
          </a:xfrm>
          <a:prstGeom prst="rect">
            <a:avLst/>
          </a:prstGeom>
        </p:spPr>
      </p:pic>
    </p:spTree>
    <p:extLst>
      <p:ext uri="{BB962C8B-B14F-4D97-AF65-F5344CB8AC3E}">
        <p14:creationId xmlns:p14="http://schemas.microsoft.com/office/powerpoint/2010/main" val="33985292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7"/>
            <a:ext cx="11655078" cy="2263268"/>
          </a:xfrm>
        </p:spPr>
        <p:txBody>
          <a:bodyPr>
            <a:spAutoFit/>
          </a:bodyPr>
          <a:lstStyle>
            <a:lvl1pPr marL="0" indent="0">
              <a:buNone/>
              <a:defRPr/>
            </a:lvl1pPr>
            <a:lvl2pPr marL="224054" indent="0">
              <a:buNone/>
              <a:defRPr/>
            </a:lvl2pPr>
            <a:lvl3pPr marL="448107" indent="0">
              <a:buNone/>
              <a:defRPr/>
            </a:lvl3pPr>
            <a:lvl4pPr marL="672161" indent="0">
              <a:buNone/>
              <a:defRPr/>
            </a:lvl4pPr>
            <a:lvl5pPr marL="89621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523816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5"/>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359115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05" indent="0">
              <a:buFont typeface="Wingdings" panose="05000000000000000000" pitchFamily="2" charset="2"/>
              <a:buNone/>
              <a:defRPr sz="2353" b="0"/>
            </a:lvl2pPr>
            <a:lvl3pPr marL="441883" indent="0">
              <a:buFont typeface="Wingdings" panose="05000000000000000000" pitchFamily="2" charset="2"/>
              <a:buNone/>
              <a:tabLst/>
              <a:defRPr sz="2157" b="0"/>
            </a:lvl3pPr>
            <a:lvl4pPr marL="639485" indent="0">
              <a:buFont typeface="Wingdings" panose="05000000000000000000" pitchFamily="2" charset="2"/>
              <a:buNone/>
              <a:defRPr sz="2157" b="0"/>
            </a:lvl4pPr>
            <a:lvl5pPr marL="837089"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05"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88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48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089"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20" marR="0" lvl="0" indent="-504120" algn="l" defTabSz="914192" rtl="0" eaLnBrk="1" fontAlgn="auto" latinLnBrk="0" hangingPunct="1">
              <a:lnSpc>
                <a:spcPct val="90000"/>
              </a:lnSpc>
              <a:spcBef>
                <a:spcPts val="1200"/>
              </a:spcBef>
              <a:spcAft>
                <a:spcPts val="0"/>
              </a:spcAft>
              <a:buClr>
                <a:schemeClr val="tx1"/>
              </a:buClr>
              <a:buSzPct val="90000"/>
              <a:tabLst/>
            </a:pPr>
            <a:r>
              <a:rPr lang="en-US"/>
              <a:t>Edit Master text styles</a:t>
            </a:r>
          </a:p>
          <a:p>
            <a:pPr marL="504120" marR="0" lvl="1" indent="-504120" algn="l" defTabSz="914192" rtl="0" eaLnBrk="1" fontAlgn="auto" latinLnBrk="0" hangingPunct="1">
              <a:lnSpc>
                <a:spcPct val="90000"/>
              </a:lnSpc>
              <a:spcBef>
                <a:spcPts val="1200"/>
              </a:spcBef>
              <a:spcAft>
                <a:spcPts val="0"/>
              </a:spcAft>
              <a:buClr>
                <a:schemeClr val="tx1"/>
              </a:buClr>
              <a:buSzPct val="90000"/>
              <a:tabLst/>
            </a:pPr>
            <a:r>
              <a:rPr lang="en-US"/>
              <a:t>Second level</a:t>
            </a:r>
          </a:p>
          <a:p>
            <a:pPr marL="504120" marR="0" lvl="2" indent="-504120" algn="l" defTabSz="914192" rtl="0" eaLnBrk="1" fontAlgn="auto" latinLnBrk="0" hangingPunct="1">
              <a:lnSpc>
                <a:spcPct val="90000"/>
              </a:lnSpc>
              <a:spcBef>
                <a:spcPts val="1200"/>
              </a:spcBef>
              <a:spcAft>
                <a:spcPts val="0"/>
              </a:spcAft>
              <a:buClr>
                <a:schemeClr val="tx1"/>
              </a:buClr>
              <a:buSzPct val="90000"/>
              <a:tabLst/>
            </a:pPr>
            <a:r>
              <a:rPr lang="en-US"/>
              <a:t>Third level</a:t>
            </a:r>
          </a:p>
          <a:p>
            <a:pPr marL="504120" marR="0" lvl="3" indent="-504120" algn="l" defTabSz="914192" rtl="0" eaLnBrk="1" fontAlgn="auto" latinLnBrk="0" hangingPunct="1">
              <a:lnSpc>
                <a:spcPct val="90000"/>
              </a:lnSpc>
              <a:spcBef>
                <a:spcPts val="1200"/>
              </a:spcBef>
              <a:spcAft>
                <a:spcPts val="0"/>
              </a:spcAft>
              <a:buClr>
                <a:schemeClr val="tx1"/>
              </a:buClr>
              <a:buSzPct val="90000"/>
              <a:tabLst/>
            </a:pPr>
            <a:r>
              <a:rPr lang="en-US"/>
              <a:t>Fourth level</a:t>
            </a:r>
          </a:p>
          <a:p>
            <a:pPr marL="504120" marR="0" lvl="4" indent="-504120" algn="l" defTabSz="914192"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04731288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65" indent="-227165">
              <a:spcBef>
                <a:spcPts val="1200"/>
              </a:spcBef>
              <a:buClr>
                <a:schemeClr val="tx1"/>
              </a:buClr>
              <a:buFont typeface="Wingdings" panose="05000000000000000000" pitchFamily="2" charset="2"/>
              <a:buChar char=""/>
              <a:defRPr sz="2941" b="0">
                <a:latin typeface="+mn-lt"/>
              </a:defRPr>
            </a:lvl1pPr>
            <a:lvl2pPr marL="418545" indent="-168040">
              <a:buFont typeface="Wingdings" panose="05000000000000000000" pitchFamily="2" charset="2"/>
              <a:buChar char=""/>
              <a:defRPr sz="2353" b="0"/>
            </a:lvl2pPr>
            <a:lvl3pPr marL="627039" indent="-185155">
              <a:buFont typeface="Wingdings" panose="05000000000000000000" pitchFamily="2" charset="2"/>
              <a:buChar char=""/>
              <a:tabLst/>
              <a:defRPr sz="2157" b="0"/>
            </a:lvl3pPr>
            <a:lvl4pPr marL="812194" indent="-172709">
              <a:buFont typeface="Wingdings" panose="05000000000000000000" pitchFamily="2" charset="2"/>
              <a:buChar char=""/>
              <a:defRPr sz="2157" b="0"/>
            </a:lvl4pPr>
            <a:lvl5pPr marL="1003573" indent="-166485">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281623" indent="-281623">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585" indent="-336080">
              <a:defRPr lang="en-US" sz="2353" b="0" kern="1200" spc="0" baseline="0" dirty="0">
                <a:gradFill>
                  <a:gsLst>
                    <a:gs pos="1250">
                      <a:schemeClr val="tx1"/>
                    </a:gs>
                    <a:gs pos="100000">
                      <a:schemeClr val="tx1"/>
                    </a:gs>
                  </a:gsLst>
                  <a:lin ang="5400000" scaled="0"/>
                </a:gradFill>
                <a:latin typeface="+mn-lt"/>
                <a:ea typeface="+mn-ea"/>
                <a:cs typeface="+mn-cs"/>
              </a:defRPr>
            </a:lvl2pPr>
            <a:lvl3pPr marL="777963" indent="-33608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565" indent="-336080">
              <a:defRPr lang="en-US" sz="2157" b="0" kern="1200" spc="0" baseline="0" dirty="0">
                <a:gradFill>
                  <a:gsLst>
                    <a:gs pos="1250">
                      <a:schemeClr val="tx1"/>
                    </a:gs>
                    <a:gs pos="100000">
                      <a:schemeClr val="tx1"/>
                    </a:gs>
                  </a:gsLst>
                  <a:lin ang="5400000" scaled="0"/>
                </a:gradFill>
                <a:latin typeface="+mn-lt"/>
                <a:ea typeface="+mn-ea"/>
                <a:cs typeface="+mn-cs"/>
              </a:defRPr>
            </a:lvl4pPr>
            <a:lvl5pPr marL="1173170" indent="-33608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165" marR="0" lvl="0"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65" marR="0" lvl="1"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65" marR="0" lvl="2"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65" marR="0" lvl="3"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65" marR="0" lvl="4"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5627647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4">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6600068" y="355539"/>
            <a:ext cx="4896264" cy="1107996"/>
          </a:xfrm>
        </p:spPr>
        <p:txBody>
          <a:bodyPr wrap="square" anchor="ctr" anchorCtr="0">
            <a:spAutoFit/>
          </a:bodyPr>
          <a:lstStyle>
            <a:lvl1pPr>
              <a:defRPr>
                <a:solidFill>
                  <a:schemeClr val="accent1"/>
                </a:solidFill>
              </a:defRPr>
            </a:lvl1pPr>
          </a:lstStyle>
          <a:p>
            <a:r>
              <a:rPr lang="en-US"/>
              <a:t>Click to edit Master title style</a:t>
            </a:r>
          </a:p>
        </p:txBody>
      </p:sp>
      <p:sp>
        <p:nvSpPr>
          <p:cNvPr id="3" name="Text Placeholder 2"/>
          <p:cNvSpPr>
            <a:spLocks noGrp="1"/>
          </p:cNvSpPr>
          <p:nvPr>
            <p:ph type="body" sz="quarter" idx="10"/>
          </p:nvPr>
        </p:nvSpPr>
        <p:spPr>
          <a:xfrm>
            <a:off x="6600068" y="1754685"/>
            <a:ext cx="4616560" cy="1268039"/>
          </a:xfrm>
        </p:spPr>
        <p:txBody>
          <a:bodyPr anchor="ctr"/>
          <a:lstStyle>
            <a:lvl1pPr marL="0" indent="0">
              <a:spcBef>
                <a:spcPts val="1800"/>
              </a:spcBef>
              <a:buNone/>
              <a:defRPr sz="2000" b="0" i="0">
                <a:solidFill>
                  <a:schemeClr val="tx1"/>
                </a:solidFill>
                <a:latin typeface="Segoe UI" panose="020B0502040204020203" pitchFamily="34" charset="0"/>
                <a:cs typeface="Segoe UI" panose="020B0502040204020203" pitchFamily="34" charset="0"/>
              </a:defRPr>
            </a:lvl1pPr>
            <a:lvl2pPr marL="228600" indent="0">
              <a:buNone/>
              <a:defRPr sz="1600" b="0" i="0">
                <a:solidFill>
                  <a:schemeClr val="tx1"/>
                </a:solidFill>
                <a:latin typeface="Segoe UI" panose="020B0502040204020203" pitchFamily="34" charset="0"/>
                <a:cs typeface="Segoe UI" panose="020B0502040204020203" pitchFamily="34" charset="0"/>
              </a:defRPr>
            </a:lvl2pPr>
            <a:lvl3pPr marL="457200" indent="0">
              <a:buNone/>
              <a:defRPr sz="1200" b="0" i="0">
                <a:solidFill>
                  <a:schemeClr val="tx1"/>
                </a:solidFill>
                <a:latin typeface="Segoe UI" panose="020B0502040204020203" pitchFamily="34" charset="0"/>
                <a:cs typeface="Segoe UI" panose="020B0502040204020203" pitchFamily="34" charset="0"/>
              </a:defRPr>
            </a:lvl3pPr>
            <a:lvl4pPr marL="661988" indent="0">
              <a:buNone/>
              <a:defRPr sz="1100" b="0" i="0">
                <a:solidFill>
                  <a:schemeClr val="tx1"/>
                </a:solidFill>
                <a:latin typeface="Segoe UI" panose="020B0502040204020203" pitchFamily="34" charset="0"/>
                <a:cs typeface="Segoe UI" panose="020B0502040204020203" pitchFamily="34" charset="0"/>
              </a:defRPr>
            </a:lvl4pPr>
            <a:lvl5pPr marL="855663" indent="0">
              <a:buNone/>
              <a:defRPr sz="1100" b="0" i="0">
                <a:solidFill>
                  <a:schemeClr val="tx1"/>
                </a:soli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73534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893989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6304042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6535134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7880999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866077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36473808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488713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83122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2225866"/>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82310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7200960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plit, 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63D3045-96A6-47EA-8E6C-C98A6581098A}"/>
              </a:ext>
            </a:extLst>
          </p:cNvPr>
          <p:cNvSpPr/>
          <p:nvPr userDrawn="1"/>
        </p:nvSpPr>
        <p:spPr bwMode="auto">
          <a:xfrm>
            <a:off x="0" y="0"/>
            <a:ext cx="6096000" cy="6858000"/>
          </a:xfrm>
          <a:prstGeom prst="rect">
            <a:avLst/>
          </a:prstGeom>
          <a:solidFill>
            <a:schemeClr val="accent4">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2875002"/>
            <a:ext cx="4896264" cy="1107996"/>
          </a:xfrm>
        </p:spPr>
        <p:txBody>
          <a:bodyPr wrap="square" anchor="ctr" anchorCtr="0">
            <a:spAutoFit/>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25271224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829946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Subtitle &amp;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42" y="2092119"/>
            <a:ext cx="11653523" cy="1194503"/>
          </a:xfrm>
        </p:spPr>
        <p:txBody>
          <a:bodyPr>
            <a:spAutoFit/>
          </a:bodyPr>
          <a:lstStyle>
            <a:lvl1pPr marL="0" indent="0">
              <a:buFontTx/>
              <a:buNone/>
              <a:defRPr sz="1567"/>
            </a:lvl1pPr>
            <a:lvl2pPr>
              <a:defRPr sz="1567"/>
            </a:lvl2pPr>
            <a:lvl3pPr>
              <a:defRPr sz="1567"/>
            </a:lvl3pPr>
            <a:lvl4pPr>
              <a:defRPr sz="1567"/>
            </a:lvl4pPr>
            <a:lvl5pPr>
              <a:defRPr sz="1567"/>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2"/>
          <p:cNvSpPr>
            <a:spLocks noGrp="1"/>
          </p:cNvSpPr>
          <p:nvPr>
            <p:ph type="body" sz="quarter" idx="11"/>
          </p:nvPr>
        </p:nvSpPr>
        <p:spPr>
          <a:xfrm>
            <a:off x="269237" y="1189177"/>
            <a:ext cx="11655840" cy="596144"/>
          </a:xfrm>
        </p:spPr>
        <p:txBody>
          <a:bodyPr vert="horz" wrap="square" lIns="146304" tIns="91440" rIns="146304" bIns="91440" rtlCol="0" anchor="t">
            <a:noAutofit/>
          </a:bodyPr>
          <a:lstStyle>
            <a:lvl1pPr marL="0" indent="0">
              <a:buFontTx/>
              <a:buNone/>
              <a:defRPr lang="en-US" sz="1961" b="0" cap="none" spc="-100" dirty="0" smtClean="0">
                <a:ln w="3175">
                  <a:noFill/>
                </a:ln>
                <a:solidFill>
                  <a:schemeClr val="tx1"/>
                </a:solidFill>
                <a:effectLst/>
                <a:latin typeface="+mn-lt"/>
                <a:cs typeface="Segoe UI" pitchFamily="34" charset="0"/>
              </a:defRPr>
            </a:lvl1pPr>
            <a:lvl2pPr>
              <a:defRPr lang="en-US" sz="1567" dirty="0" smtClean="0"/>
            </a:lvl2pPr>
            <a:lvl3pPr>
              <a:defRPr lang="en-US" sz="1567" dirty="0" smtClean="0"/>
            </a:lvl3pPr>
            <a:lvl4pPr>
              <a:defRPr lang="en-US" sz="1369" dirty="0" smtClean="0"/>
            </a:lvl4pPr>
            <a:lvl5pPr>
              <a:defRPr lang="en-US" sz="1369" dirty="0"/>
            </a:lvl5pPr>
          </a:lstStyle>
          <a:p>
            <a:pPr lvl="0">
              <a:spcBef>
                <a:spcPct val="0"/>
              </a:spcBef>
              <a:buNone/>
            </a:pPr>
            <a:r>
              <a:rPr lang="en-US"/>
              <a:t>Click to edit Master text styles</a:t>
            </a:r>
          </a:p>
        </p:txBody>
      </p:sp>
    </p:spTree>
    <p:extLst>
      <p:ext uri="{BB962C8B-B14F-4D97-AF65-F5344CB8AC3E}">
        <p14:creationId xmlns:p14="http://schemas.microsoft.com/office/powerpoint/2010/main" val="129201349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30E5D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A group of people in a meeting sitting at a table using laptops and tablets">
            <a:extLst>
              <a:ext uri="{FF2B5EF4-FFF2-40B4-BE49-F238E27FC236}">
                <a16:creationId xmlns:a16="http://schemas.microsoft.com/office/drawing/2014/main" id="{B7E86158-808E-4536-94E7-35CD205C601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2795497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710399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30E5D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743728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7" name="Picture 6" descr="A flat land covered with grass in between the cross road during a sunset&#10;&#10;Description generated with high confidence">
            <a:extLst>
              <a:ext uri="{FF2B5EF4-FFF2-40B4-BE49-F238E27FC236}">
                <a16:creationId xmlns:a16="http://schemas.microsoft.com/office/drawing/2014/main" id="{2E3C5A9C-418C-4593-AF43-BC3CF674EE3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41" t="-1" r="858" b="1415"/>
          <a:stretch/>
        </p:blipFill>
        <p:spPr>
          <a:xfrm>
            <a:off x="0" y="0"/>
            <a:ext cx="12192000" cy="6858000"/>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bg1"/>
                </a:solidFill>
                <a:latin typeface="+mn-lt"/>
                <a:cs typeface="Segoe UI" panose="020B0502040204020203" pitchFamily="34" charset="0"/>
              </a:defRPr>
            </a:lvl1pPr>
          </a:lstStyle>
          <a:p>
            <a:pPr lvl="0"/>
            <a:r>
              <a:rPr lang="en-US"/>
              <a:t>Speaker name or subtitle text</a:t>
            </a:r>
          </a:p>
        </p:txBody>
      </p:sp>
      <p:grpSp>
        <p:nvGrpSpPr>
          <p:cNvPr id="8" name="Group 7">
            <a:extLst>
              <a:ext uri="{FF2B5EF4-FFF2-40B4-BE49-F238E27FC236}">
                <a16:creationId xmlns:a16="http://schemas.microsoft.com/office/drawing/2014/main" id="{55FDF8DC-8532-4231-A9E6-4EE0AC57FB24}"/>
              </a:ext>
            </a:extLst>
          </p:cNvPr>
          <p:cNvGrpSpPr>
            <a:grpSpLocks noChangeAspect="1"/>
          </p:cNvGrpSpPr>
          <p:nvPr userDrawn="1"/>
        </p:nvGrpSpPr>
        <p:grpSpPr bwMode="black">
          <a:xfrm>
            <a:off x="584200" y="5967384"/>
            <a:ext cx="1419662" cy="304828"/>
            <a:chOff x="457200" y="1643393"/>
            <a:chExt cx="4492753" cy="964540"/>
          </a:xfrm>
        </p:grpSpPr>
        <p:pic>
          <p:nvPicPr>
            <p:cNvPr id="10" name="Picture 9">
              <a:extLst>
                <a:ext uri="{FF2B5EF4-FFF2-40B4-BE49-F238E27FC236}">
                  <a16:creationId xmlns:a16="http://schemas.microsoft.com/office/drawing/2014/main" id="{68B52E06-38BB-4FA2-9FDA-447D814282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1" name="Freeform 12">
              <a:extLst>
                <a:ext uri="{FF2B5EF4-FFF2-40B4-BE49-F238E27FC236}">
                  <a16:creationId xmlns:a16="http://schemas.microsoft.com/office/drawing/2014/main" id="{B87B5D7E-7322-4A3E-9BB9-FE0040E16923}"/>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28"/>
            </a:p>
          </p:txBody>
        </p:sp>
      </p:grpSp>
    </p:spTree>
    <p:extLst>
      <p:ext uri="{BB962C8B-B14F-4D97-AF65-F5344CB8AC3E}">
        <p14:creationId xmlns:p14="http://schemas.microsoft.com/office/powerpoint/2010/main" val="8970059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77D1BBE9-B9D7-46D8-A075-1F48B4541A02}"/>
              </a:ext>
            </a:extLst>
          </p:cNvPr>
          <p:cNvSpPr>
            <a:spLocks noGrp="1"/>
          </p:cNvSpPr>
          <p:nvPr>
            <p:ph type="sldNum" sz="quarter" idx="11"/>
          </p:nvPr>
        </p:nvSpPr>
        <p:spPr/>
        <p:txBody>
          <a:bodyPr/>
          <a:lstStyle/>
          <a:p>
            <a:fld id="{88214BE8-3B67-4CC1-95F1-46B8F6DEEA9B}" type="slidenum">
              <a:rPr lang="en-IN" smtClean="0"/>
              <a:t>‹#›</a:t>
            </a:fld>
            <a:endParaRPr lang="en-IN"/>
          </a:p>
        </p:txBody>
      </p:sp>
    </p:spTree>
    <p:extLst>
      <p:ext uri="{BB962C8B-B14F-4D97-AF65-F5344CB8AC3E}">
        <p14:creationId xmlns:p14="http://schemas.microsoft.com/office/powerpoint/2010/main" val="35142424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7B2B95D1-6E19-4230-9C75-C4428735214A}"/>
              </a:ext>
            </a:extLst>
          </p:cNvPr>
          <p:cNvSpPr>
            <a:spLocks noGrp="1"/>
          </p:cNvSpPr>
          <p:nvPr>
            <p:ph type="sldNum" sz="quarter" idx="11"/>
          </p:nvPr>
        </p:nvSpPr>
        <p:spPr/>
        <p:txBody>
          <a:bodyPr/>
          <a:lstStyle/>
          <a:p>
            <a:fld id="{88214BE8-3B67-4CC1-95F1-46B8F6DEEA9B}" type="slidenum">
              <a:rPr lang="en-IN" smtClean="0"/>
              <a:t>‹#›</a:t>
            </a:fld>
            <a:endParaRPr lang="en-IN"/>
          </a:p>
        </p:txBody>
      </p:sp>
    </p:spTree>
    <p:extLst>
      <p:ext uri="{BB962C8B-B14F-4D97-AF65-F5344CB8AC3E}">
        <p14:creationId xmlns:p14="http://schemas.microsoft.com/office/powerpoint/2010/main" val="4283810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D7C470D4-9401-40E5-AEE7-3E8F50236949}"/>
              </a:ext>
            </a:extLst>
          </p:cNvPr>
          <p:cNvSpPr>
            <a:spLocks noGrp="1"/>
          </p:cNvSpPr>
          <p:nvPr>
            <p:ph type="sldNum" sz="quarter" idx="13"/>
          </p:nvPr>
        </p:nvSpPr>
        <p:spPr/>
        <p:txBody>
          <a:bodyPr/>
          <a:lstStyle/>
          <a:p>
            <a:fld id="{88214BE8-3B67-4CC1-95F1-46B8F6DEEA9B}" type="slidenum">
              <a:rPr lang="en-IN" smtClean="0"/>
              <a:t>‹#›</a:t>
            </a:fld>
            <a:endParaRPr lang="en-IN"/>
          </a:p>
        </p:txBody>
      </p:sp>
    </p:spTree>
    <p:extLst>
      <p:ext uri="{BB962C8B-B14F-4D97-AF65-F5344CB8AC3E}">
        <p14:creationId xmlns:p14="http://schemas.microsoft.com/office/powerpoint/2010/main" val="924782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52608CD2-AC93-49F1-AD2F-B9579071A93C}"/>
              </a:ext>
            </a:extLst>
          </p:cNvPr>
          <p:cNvSpPr>
            <a:spLocks noGrp="1"/>
          </p:cNvSpPr>
          <p:nvPr>
            <p:ph type="sldNum" sz="quarter" idx="14"/>
          </p:nvPr>
        </p:nvSpPr>
        <p:spPr/>
        <p:txBody>
          <a:bodyPr/>
          <a:lstStyle/>
          <a:p>
            <a:fld id="{88214BE8-3B67-4CC1-95F1-46B8F6DEEA9B}" type="slidenum">
              <a:rPr lang="en-IN" smtClean="0"/>
              <a:t>‹#›</a:t>
            </a:fld>
            <a:endParaRPr lang="en-IN"/>
          </a:p>
        </p:txBody>
      </p:sp>
    </p:spTree>
    <p:extLst>
      <p:ext uri="{BB962C8B-B14F-4D97-AF65-F5344CB8AC3E}">
        <p14:creationId xmlns:p14="http://schemas.microsoft.com/office/powerpoint/2010/main" val="37642352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4200" y="357809"/>
            <a:ext cx="11018520" cy="553998"/>
          </a:xfrm>
        </p:spPr>
        <p:txBody>
          <a:bodyPr/>
          <a:lstStyle>
            <a:lvl1pPr>
              <a:defRPr>
                <a:solidFill>
                  <a:schemeClr val="accent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i="0">
                <a:solidFill>
                  <a:schemeClr val="tx1"/>
                </a:solidFill>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i="0">
                <a:solidFill>
                  <a:schemeClr val="tx1"/>
                </a:solidFill>
                <a:latin typeface="Segoe UI" panose="020B0502040204020203" pitchFamily="34" charset="0"/>
                <a:cs typeface="Segoe UI" panose="020B0502040204020203" pitchFamily="34" charset="0"/>
              </a:defRPr>
            </a:lvl2pPr>
            <a:lvl3pPr marL="450850" indent="0">
              <a:buFont typeface="Wingdings" panose="05000000000000000000" pitchFamily="2" charset="2"/>
              <a:buNone/>
              <a:tabLst/>
              <a:defRPr sz="1600" b="0" i="0">
                <a:solidFill>
                  <a:schemeClr val="tx1"/>
                </a:solidFill>
                <a:latin typeface="Segoe UI" panose="020B0502040204020203" pitchFamily="34" charset="0"/>
                <a:cs typeface="Segoe UI" panose="020B0502040204020203" pitchFamily="34" charset="0"/>
              </a:defRPr>
            </a:lvl3pPr>
            <a:lvl4pPr marL="652462" indent="0">
              <a:buFont typeface="Wingdings" panose="05000000000000000000" pitchFamily="2" charset="2"/>
              <a:buNone/>
              <a:defRPr sz="1400" b="0" i="0">
                <a:solidFill>
                  <a:schemeClr val="tx1"/>
                </a:solidFill>
                <a:latin typeface="Segoe UI" panose="020B0502040204020203" pitchFamily="34" charset="0"/>
                <a:cs typeface="Segoe UI" panose="020B0502040204020203" pitchFamily="34" charset="0"/>
              </a:defRPr>
            </a:lvl4pPr>
            <a:lvl5pPr marL="854075" indent="0">
              <a:buFont typeface="Wingdings" panose="05000000000000000000" pitchFamily="2" charset="2"/>
              <a:buNone/>
              <a:tabLst/>
              <a:defRPr sz="1400" b="0" i="0">
                <a:solidFill>
                  <a:schemeClr val="tx1"/>
                </a:soli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solidFill>
                  <a:schemeClr val="tx1"/>
                </a:solidFill>
                <a:latin typeface="+mn-lt"/>
                <a:cs typeface="Segoe UI Semilight" panose="020B0402040204020203" pitchFamily="34" charset="0"/>
              </a:defRPr>
            </a:lvl1pPr>
            <a:lvl2pPr marL="255588" indent="0">
              <a:buFont typeface="Wingdings" panose="05000000000000000000" pitchFamily="2" charset="2"/>
              <a:buNone/>
              <a:defRPr sz="2000" b="0">
                <a:solidFill>
                  <a:schemeClr val="tx1"/>
                </a:solidFill>
                <a:latin typeface="+mn-lt"/>
              </a:defRPr>
            </a:lvl2pPr>
            <a:lvl3pPr marL="450850" indent="0">
              <a:buFont typeface="Wingdings" panose="05000000000000000000" pitchFamily="2" charset="2"/>
              <a:buNone/>
              <a:tabLst/>
              <a:defRPr sz="1600" b="0">
                <a:solidFill>
                  <a:schemeClr val="tx1"/>
                </a:solidFill>
                <a:latin typeface="+mn-lt"/>
              </a:defRPr>
            </a:lvl3pPr>
            <a:lvl4pPr marL="652462" indent="0">
              <a:buFont typeface="Wingdings" panose="05000000000000000000" pitchFamily="2" charset="2"/>
              <a:buNone/>
              <a:defRPr sz="1400" b="0">
                <a:solidFill>
                  <a:schemeClr val="tx1"/>
                </a:solidFill>
                <a:latin typeface="+mn-lt"/>
              </a:defRPr>
            </a:lvl4pPr>
            <a:lvl5pPr marL="854075" indent="0">
              <a:buFont typeface="Wingdings" panose="05000000000000000000" pitchFamily="2" charset="2"/>
              <a:buNone/>
              <a:tabLst/>
              <a:defRPr sz="1400" b="0">
                <a:solidFill>
                  <a:schemeClr val="tx1"/>
                </a:solidFill>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15481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rgbClr val="000000"/>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0B72AFC1-C530-45C8-8E0E-807C2BDE5E49}"/>
              </a:ext>
            </a:extLst>
          </p:cNvPr>
          <p:cNvSpPr>
            <a:spLocks noGrp="1"/>
          </p:cNvSpPr>
          <p:nvPr>
            <p:ph type="sldNum" sz="quarter" idx="10"/>
          </p:nvPr>
        </p:nvSpPr>
        <p:spPr/>
        <p:txBody>
          <a:bodyPr/>
          <a:lstStyle/>
          <a:p>
            <a:fld id="{88214BE8-3B67-4CC1-95F1-46B8F6DEEA9B}" type="slidenum">
              <a:rPr lang="en-IN" smtClean="0"/>
              <a:t>‹#›</a:t>
            </a:fld>
            <a:endParaRPr lang="en-IN"/>
          </a:p>
        </p:txBody>
      </p:sp>
    </p:spTree>
    <p:extLst>
      <p:ext uri="{BB962C8B-B14F-4D97-AF65-F5344CB8AC3E}">
        <p14:creationId xmlns:p14="http://schemas.microsoft.com/office/powerpoint/2010/main" val="397268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6901B8CF-2F7F-4B8D-BCCA-7AC656318A38}"/>
              </a:ext>
            </a:extLst>
          </p:cNvPr>
          <p:cNvSpPr>
            <a:spLocks noGrp="1"/>
          </p:cNvSpPr>
          <p:nvPr>
            <p:ph type="sldNum" sz="quarter" idx="10"/>
          </p:nvPr>
        </p:nvSpPr>
        <p:spPr/>
        <p:txBody>
          <a:bodyPr/>
          <a:lstStyle/>
          <a:p>
            <a:fld id="{88214BE8-3B67-4CC1-95F1-46B8F6DEEA9B}" type="slidenum">
              <a:rPr lang="en-IN" smtClean="0"/>
              <a:t>‹#›</a:t>
            </a:fld>
            <a:endParaRPr lang="en-IN"/>
          </a:p>
        </p:txBody>
      </p:sp>
    </p:spTree>
    <p:extLst>
      <p:ext uri="{BB962C8B-B14F-4D97-AF65-F5344CB8AC3E}">
        <p14:creationId xmlns:p14="http://schemas.microsoft.com/office/powerpoint/2010/main" val="2892082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554"/>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Slide Number Placeholder 2">
            <a:extLst>
              <a:ext uri="{FF2B5EF4-FFF2-40B4-BE49-F238E27FC236}">
                <a16:creationId xmlns:a16="http://schemas.microsoft.com/office/drawing/2014/main" id="{8516732F-F814-4531-A7F3-08D0544E7A0E}"/>
              </a:ext>
            </a:extLst>
          </p:cNvPr>
          <p:cNvSpPr>
            <a:spLocks noGrp="1"/>
          </p:cNvSpPr>
          <p:nvPr>
            <p:ph type="sldNum" sz="quarter" idx="12"/>
          </p:nvPr>
        </p:nvSpPr>
        <p:spPr/>
        <p:txBody>
          <a:bodyPr/>
          <a:lstStyle>
            <a:lvl1pPr>
              <a:defRPr>
                <a:solidFill>
                  <a:schemeClr val="bg1"/>
                </a:solidFill>
              </a:defRPr>
            </a:lvl1pPr>
          </a:lstStyle>
          <a:p>
            <a:fld id="{88214BE8-3B67-4CC1-95F1-46B8F6DEEA9B}" type="slidenum">
              <a:rPr lang="en-IN" smtClean="0"/>
              <a:pPr/>
              <a:t>‹#›</a:t>
            </a:fld>
            <a:endParaRPr lang="en-IN"/>
          </a:p>
        </p:txBody>
      </p:sp>
    </p:spTree>
    <p:extLst>
      <p:ext uri="{BB962C8B-B14F-4D97-AF65-F5344CB8AC3E}">
        <p14:creationId xmlns:p14="http://schemas.microsoft.com/office/powerpoint/2010/main" val="289437998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3152001"/>
            <a:ext cx="4161981" cy="553998"/>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Slide Number Placeholder 2">
            <a:extLst>
              <a:ext uri="{FF2B5EF4-FFF2-40B4-BE49-F238E27FC236}">
                <a16:creationId xmlns:a16="http://schemas.microsoft.com/office/drawing/2014/main" id="{E222F7A4-23FC-4032-9072-D659DB5B0608}"/>
              </a:ext>
            </a:extLst>
          </p:cNvPr>
          <p:cNvSpPr>
            <a:spLocks noGrp="1"/>
          </p:cNvSpPr>
          <p:nvPr>
            <p:ph type="sldNum" sz="quarter" idx="12"/>
          </p:nvPr>
        </p:nvSpPr>
        <p:spPr/>
        <p:txBody>
          <a:bodyPr/>
          <a:lstStyle>
            <a:lvl1pPr>
              <a:defRPr>
                <a:solidFill>
                  <a:schemeClr val="bg1"/>
                </a:solidFill>
              </a:defRPr>
            </a:lvl1pPr>
          </a:lstStyle>
          <a:p>
            <a:fld id="{88214BE8-3B67-4CC1-95F1-46B8F6DEEA9B}" type="slidenum">
              <a:rPr lang="en-IN" smtClean="0"/>
              <a:pPr/>
              <a:t>‹#›</a:t>
            </a:fld>
            <a:endParaRPr lang="en-IN"/>
          </a:p>
        </p:txBody>
      </p:sp>
    </p:spTree>
    <p:extLst>
      <p:ext uri="{BB962C8B-B14F-4D97-AF65-F5344CB8AC3E}">
        <p14:creationId xmlns:p14="http://schemas.microsoft.com/office/powerpoint/2010/main" val="378718966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panose="020B0502040204020203" pitchFamily="34" charset="0"/>
              </a:defRPr>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Slide Number Placeholder 2">
            <a:extLst>
              <a:ext uri="{FF2B5EF4-FFF2-40B4-BE49-F238E27FC236}">
                <a16:creationId xmlns:a16="http://schemas.microsoft.com/office/drawing/2014/main" id="{D38E993A-8FA8-4483-BD9B-946349BF0B6F}"/>
              </a:ext>
            </a:extLst>
          </p:cNvPr>
          <p:cNvSpPr>
            <a:spLocks noGrp="1"/>
          </p:cNvSpPr>
          <p:nvPr>
            <p:ph type="sldNum" sz="quarter" idx="12"/>
          </p:nvPr>
        </p:nvSpPr>
        <p:spPr/>
        <p:txBody>
          <a:bodyPr/>
          <a:lstStyle>
            <a:lvl1pPr>
              <a:defRPr>
                <a:solidFill>
                  <a:schemeClr val="bg1"/>
                </a:solidFill>
              </a:defRPr>
            </a:lvl1pPr>
          </a:lstStyle>
          <a:p>
            <a:fld id="{88214BE8-3B67-4CC1-95F1-46B8F6DEEA9B}" type="slidenum">
              <a:rPr lang="en-IN" smtClean="0"/>
              <a:pPr/>
              <a:t>‹#›</a:t>
            </a:fld>
            <a:endParaRPr lang="en-IN"/>
          </a:p>
        </p:txBody>
      </p:sp>
    </p:spTree>
    <p:extLst>
      <p:ext uri="{BB962C8B-B14F-4D97-AF65-F5344CB8AC3E}">
        <p14:creationId xmlns:p14="http://schemas.microsoft.com/office/powerpoint/2010/main" val="387055299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5438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Slide Number Placeholder 1">
            <a:extLst>
              <a:ext uri="{FF2B5EF4-FFF2-40B4-BE49-F238E27FC236}">
                <a16:creationId xmlns:a16="http://schemas.microsoft.com/office/drawing/2014/main" id="{96B3AA71-5F4D-4AC2-B983-6E9C8AC98CA5}"/>
              </a:ext>
            </a:extLst>
          </p:cNvPr>
          <p:cNvSpPr>
            <a:spLocks noGrp="1"/>
          </p:cNvSpPr>
          <p:nvPr>
            <p:ph type="sldNum" sz="quarter" idx="12"/>
          </p:nvPr>
        </p:nvSpPr>
        <p:spPr/>
        <p:txBody>
          <a:bodyPr/>
          <a:lstStyle/>
          <a:p>
            <a:fld id="{88214BE8-3B67-4CC1-95F1-46B8F6DEEA9B}" type="slidenum">
              <a:rPr lang="en-IN" smtClean="0"/>
              <a:t>‹#›</a:t>
            </a:fld>
            <a:endParaRPr lang="en-IN"/>
          </a:p>
        </p:txBody>
      </p:sp>
    </p:spTree>
    <p:extLst>
      <p:ext uri="{BB962C8B-B14F-4D97-AF65-F5344CB8AC3E}">
        <p14:creationId xmlns:p14="http://schemas.microsoft.com/office/powerpoint/2010/main" val="166359541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40F29D-C5E8-44D2-9526-FDD92F645402}"/>
              </a:ext>
            </a:extLst>
          </p:cNvPr>
          <p:cNvSpPr>
            <a:spLocks noGrp="1"/>
          </p:cNvSpPr>
          <p:nvPr>
            <p:ph type="title"/>
          </p:nvPr>
        </p:nvSpPr>
        <p:spPr>
          <a:xfrm>
            <a:off x="588263" y="866001"/>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Slide Number Placeholder 1">
            <a:extLst>
              <a:ext uri="{FF2B5EF4-FFF2-40B4-BE49-F238E27FC236}">
                <a16:creationId xmlns:a16="http://schemas.microsoft.com/office/drawing/2014/main" id="{ED0457A8-71A0-4441-935E-302F2FE53B77}"/>
              </a:ext>
            </a:extLst>
          </p:cNvPr>
          <p:cNvSpPr>
            <a:spLocks noGrp="1"/>
          </p:cNvSpPr>
          <p:nvPr>
            <p:ph type="sldNum" sz="quarter" idx="12"/>
          </p:nvPr>
        </p:nvSpPr>
        <p:spPr/>
        <p:txBody>
          <a:bodyPr/>
          <a:lstStyle>
            <a:lvl1pPr>
              <a:defRPr>
                <a:solidFill>
                  <a:schemeClr val="bg1"/>
                </a:solidFill>
              </a:defRPr>
            </a:lvl1pPr>
          </a:lstStyle>
          <a:p>
            <a:fld id="{88214BE8-3B67-4CC1-95F1-46B8F6DEEA9B}" type="slidenum">
              <a:rPr lang="en-IN" smtClean="0"/>
              <a:pPr/>
              <a:t>‹#›</a:t>
            </a:fld>
            <a:endParaRPr lang="en-IN"/>
          </a:p>
        </p:txBody>
      </p:sp>
    </p:spTree>
    <p:extLst>
      <p:ext uri="{BB962C8B-B14F-4D97-AF65-F5344CB8AC3E}">
        <p14:creationId xmlns:p14="http://schemas.microsoft.com/office/powerpoint/2010/main" val="215937803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307777"/>
          </a:xfrm>
        </p:spPr>
        <p:txBody>
          <a:bodyPr/>
          <a:lstStyle>
            <a:lvl1pPr marL="0" indent="0" algn="ctr">
              <a:spcBef>
                <a:spcPts val="0"/>
              </a:spcBef>
              <a:buNone/>
              <a:defRPr sz="2000"/>
            </a:lvl1pPr>
          </a:lstStyle>
          <a:p>
            <a:pPr lvl="0"/>
            <a:r>
              <a:rPr lang="en-US"/>
              <a:t>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307777"/>
          </a:xfrm>
        </p:spPr>
        <p:txBody>
          <a:bodyPr/>
          <a:lstStyle>
            <a:lvl1pPr marL="0" indent="0" algn="ctr">
              <a:spcBef>
                <a:spcPts val="0"/>
              </a:spcBef>
              <a:buNone/>
              <a:defRPr sz="2000"/>
            </a:lvl1pPr>
          </a:lstStyle>
          <a:p>
            <a:pPr lvl="0"/>
            <a:r>
              <a:rPr lang="en-US"/>
              <a:t>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Slide Number Placeholder 2">
            <a:extLst>
              <a:ext uri="{FF2B5EF4-FFF2-40B4-BE49-F238E27FC236}">
                <a16:creationId xmlns:a16="http://schemas.microsoft.com/office/drawing/2014/main" id="{D1CCE78F-B310-4879-AB52-499136527D60}"/>
              </a:ext>
            </a:extLst>
          </p:cNvPr>
          <p:cNvSpPr>
            <a:spLocks noGrp="1"/>
          </p:cNvSpPr>
          <p:nvPr>
            <p:ph type="sldNum" sz="quarter" idx="19"/>
          </p:nvPr>
        </p:nvSpPr>
        <p:spPr/>
        <p:txBody>
          <a:bodyPr/>
          <a:lstStyle/>
          <a:p>
            <a:fld id="{88214BE8-3B67-4CC1-95F1-46B8F6DEEA9B}" type="slidenum">
              <a:rPr lang="en-IN" smtClean="0"/>
              <a:t>‹#›</a:t>
            </a:fld>
            <a:endParaRPr lang="en-IN"/>
          </a:p>
        </p:txBody>
      </p:sp>
    </p:spTree>
    <p:extLst>
      <p:ext uri="{BB962C8B-B14F-4D97-AF65-F5344CB8AC3E}">
        <p14:creationId xmlns:p14="http://schemas.microsoft.com/office/powerpoint/2010/main" val="25281454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307777"/>
          </a:xfrm>
        </p:spPr>
        <p:txBody>
          <a:bodyPr/>
          <a:lstStyle>
            <a:lvl1pPr marL="0" indent="0" algn="ctr">
              <a:spcBef>
                <a:spcPts val="0"/>
              </a:spcBef>
              <a:buNone/>
              <a:defRPr sz="2000"/>
            </a:lvl1pPr>
          </a:lstStyle>
          <a:p>
            <a:pPr lvl="0"/>
            <a:r>
              <a:rPr lang="en-US"/>
              <a:t>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307777"/>
          </a:xfrm>
        </p:spPr>
        <p:txBody>
          <a:bodyPr/>
          <a:lstStyle>
            <a:lvl1pPr marL="0" indent="0" algn="ctr">
              <a:spcBef>
                <a:spcPts val="0"/>
              </a:spcBef>
              <a:buNone/>
              <a:defRPr sz="2000"/>
            </a:lvl1pPr>
          </a:lstStyle>
          <a:p>
            <a:pPr lvl="0"/>
            <a:r>
              <a:rPr lang="en-US"/>
              <a:t>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307777"/>
          </a:xfrm>
        </p:spPr>
        <p:txBody>
          <a:bodyPr/>
          <a:lstStyle>
            <a:lvl1pPr marL="0" indent="0" algn="ctr">
              <a:spcBef>
                <a:spcPts val="0"/>
              </a:spcBef>
              <a:buNone/>
              <a:defRPr sz="2000"/>
            </a:lvl1pPr>
          </a:lstStyle>
          <a:p>
            <a:pPr lvl="0"/>
            <a:r>
              <a:rPr lang="en-US"/>
              <a:t>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Slide Number Placeholder 2">
            <a:extLst>
              <a:ext uri="{FF2B5EF4-FFF2-40B4-BE49-F238E27FC236}">
                <a16:creationId xmlns:a16="http://schemas.microsoft.com/office/drawing/2014/main" id="{0E52B470-21AB-4575-8223-80FEEDBB192D}"/>
              </a:ext>
            </a:extLst>
          </p:cNvPr>
          <p:cNvSpPr>
            <a:spLocks noGrp="1"/>
          </p:cNvSpPr>
          <p:nvPr>
            <p:ph type="sldNum" sz="quarter" idx="19"/>
          </p:nvPr>
        </p:nvSpPr>
        <p:spPr/>
        <p:txBody>
          <a:bodyPr/>
          <a:lstStyle/>
          <a:p>
            <a:fld id="{88214BE8-3B67-4CC1-95F1-46B8F6DEEA9B}" type="slidenum">
              <a:rPr lang="en-IN" smtClean="0"/>
              <a:t>‹#›</a:t>
            </a:fld>
            <a:endParaRPr lang="en-IN"/>
          </a:p>
        </p:txBody>
      </p:sp>
    </p:spTree>
    <p:extLst>
      <p:ext uri="{BB962C8B-B14F-4D97-AF65-F5344CB8AC3E}">
        <p14:creationId xmlns:p14="http://schemas.microsoft.com/office/powerpoint/2010/main" val="371961984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307777"/>
          </a:xfrm>
        </p:spPr>
        <p:txBody>
          <a:bodyPr/>
          <a:lstStyle>
            <a:lvl1pPr marL="0" indent="0" algn="ctr">
              <a:spcBef>
                <a:spcPts val="0"/>
              </a:spcBef>
              <a:buNone/>
              <a:defRPr sz="2000"/>
            </a:lvl1pPr>
          </a:lstStyle>
          <a:p>
            <a:pPr lvl="0"/>
            <a:r>
              <a:rPr lang="en-US"/>
              <a:t>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307777"/>
          </a:xfrm>
        </p:spPr>
        <p:txBody>
          <a:bodyPr/>
          <a:lstStyle>
            <a:lvl1pPr marL="0" indent="0" algn="ctr">
              <a:spcBef>
                <a:spcPts val="0"/>
              </a:spcBef>
              <a:buNone/>
              <a:defRPr sz="2000"/>
            </a:lvl1pPr>
          </a:lstStyle>
          <a:p>
            <a:pPr lvl="0"/>
            <a:r>
              <a:rPr lang="en-US"/>
              <a:t>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307777"/>
          </a:xfrm>
        </p:spPr>
        <p:txBody>
          <a:bodyPr/>
          <a:lstStyle>
            <a:lvl1pPr marL="0" indent="0" algn="ctr">
              <a:spcBef>
                <a:spcPts val="0"/>
              </a:spcBef>
              <a:buNone/>
              <a:defRPr sz="2000"/>
            </a:lvl1pPr>
          </a:lstStyle>
          <a:p>
            <a:pPr lvl="0"/>
            <a:r>
              <a:rPr lang="en-US"/>
              <a:t>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307777"/>
          </a:xfrm>
        </p:spPr>
        <p:txBody>
          <a:bodyPr/>
          <a:lstStyle>
            <a:lvl1pPr marL="0" indent="0" algn="ctr">
              <a:spcBef>
                <a:spcPts val="0"/>
              </a:spcBef>
              <a:buNone/>
              <a:defRPr sz="2000"/>
            </a:lvl1pPr>
          </a:lstStyle>
          <a:p>
            <a:pPr lvl="0"/>
            <a:r>
              <a:rPr lang="en-US"/>
              <a:t>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Slide Number Placeholder 2">
            <a:extLst>
              <a:ext uri="{FF2B5EF4-FFF2-40B4-BE49-F238E27FC236}">
                <a16:creationId xmlns:a16="http://schemas.microsoft.com/office/drawing/2014/main" id="{2931ADA0-90C1-481F-A440-DB830188F3AF}"/>
              </a:ext>
            </a:extLst>
          </p:cNvPr>
          <p:cNvSpPr>
            <a:spLocks noGrp="1"/>
          </p:cNvSpPr>
          <p:nvPr>
            <p:ph type="sldNum" sz="quarter" idx="21"/>
          </p:nvPr>
        </p:nvSpPr>
        <p:spPr/>
        <p:txBody>
          <a:bodyPr/>
          <a:lstStyle/>
          <a:p>
            <a:fld id="{88214BE8-3B67-4CC1-95F1-46B8F6DEEA9B}" type="slidenum">
              <a:rPr lang="en-IN" smtClean="0"/>
              <a:t>‹#›</a:t>
            </a:fld>
            <a:endParaRPr lang="en-IN"/>
          </a:p>
        </p:txBody>
      </p:sp>
    </p:spTree>
    <p:extLst>
      <p:ext uri="{BB962C8B-B14F-4D97-AF65-F5344CB8AC3E}">
        <p14:creationId xmlns:p14="http://schemas.microsoft.com/office/powerpoint/2010/main" val="20910534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image" Target="../media/image6.png"/><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theme" Target="../theme/theme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theme" Target="../theme/theme3.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image" Target="../media/image1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theme" Target="../theme/theme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image" Target="../media/image1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image" Target="../media/image14.emf"/><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theme" Target="../theme/theme5.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5" Type="http://schemas.openxmlformats.org/officeDocument/2006/relationships/slideLayout" Target="../slideLayouts/slideLayout117.xml"/><Relationship Id="rId4" Type="http://schemas.openxmlformats.org/officeDocument/2006/relationships/slideLayout" Target="../slideLayouts/slideLayout11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slideLayout" Target="../slideLayouts/slideLayout145.xml"/><Relationship Id="rId39" Type="http://schemas.openxmlformats.org/officeDocument/2006/relationships/slideLayout" Target="../slideLayouts/slideLayout158.xml"/><Relationship Id="rId3" Type="http://schemas.openxmlformats.org/officeDocument/2006/relationships/slideLayout" Target="../slideLayouts/slideLayout122.xml"/><Relationship Id="rId21" Type="http://schemas.openxmlformats.org/officeDocument/2006/relationships/slideLayout" Target="../slideLayouts/slideLayout140.xml"/><Relationship Id="rId34" Type="http://schemas.openxmlformats.org/officeDocument/2006/relationships/slideLayout" Target="../slideLayouts/slideLayout153.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33" Type="http://schemas.openxmlformats.org/officeDocument/2006/relationships/slideLayout" Target="../slideLayouts/slideLayout152.xml"/><Relationship Id="rId38" Type="http://schemas.openxmlformats.org/officeDocument/2006/relationships/slideLayout" Target="../slideLayouts/slideLayout157.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29" Type="http://schemas.openxmlformats.org/officeDocument/2006/relationships/slideLayout" Target="../slideLayouts/slideLayout148.xml"/><Relationship Id="rId41" Type="http://schemas.openxmlformats.org/officeDocument/2006/relationships/theme" Target="../theme/theme7.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32" Type="http://schemas.openxmlformats.org/officeDocument/2006/relationships/slideLayout" Target="../slideLayouts/slideLayout151.xml"/><Relationship Id="rId37" Type="http://schemas.openxmlformats.org/officeDocument/2006/relationships/slideLayout" Target="../slideLayouts/slideLayout156.xml"/><Relationship Id="rId40" Type="http://schemas.openxmlformats.org/officeDocument/2006/relationships/slideLayout" Target="../slideLayouts/slideLayout159.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slideLayout" Target="../slideLayouts/slideLayout147.xml"/><Relationship Id="rId36" Type="http://schemas.openxmlformats.org/officeDocument/2006/relationships/slideLayout" Target="../slideLayouts/slideLayout155.xml"/><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31" Type="http://schemas.openxmlformats.org/officeDocument/2006/relationships/slideLayout" Target="../slideLayouts/slideLayout150.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 Id="rId30" Type="http://schemas.openxmlformats.org/officeDocument/2006/relationships/slideLayout" Target="../slideLayouts/slideLayout149.xml"/><Relationship Id="rId35" Type="http://schemas.openxmlformats.org/officeDocument/2006/relationships/slideLayout" Target="../slideLayouts/slideLayout154.xml"/></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34.emf"/><Relationship Id="rId2" Type="http://schemas.openxmlformats.org/officeDocument/2006/relationships/theme" Target="../theme/theme8.xml"/><Relationship Id="rId1" Type="http://schemas.openxmlformats.org/officeDocument/2006/relationships/slideLayout" Target="../slideLayouts/slideLayout160.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ags" Target="../tags/tag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8.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theme" Target="../theme/theme9.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5" Type="http://schemas.openxmlformats.org/officeDocument/2006/relationships/slideLayout" Target="../slideLayouts/slideLayout165.xml"/><Relationship Id="rId10" Type="http://schemas.openxmlformats.org/officeDocument/2006/relationships/slideLayout" Target="../slideLayouts/slideLayout170.xml"/><Relationship Id="rId4" Type="http://schemas.openxmlformats.org/officeDocument/2006/relationships/slideLayout" Target="../slideLayouts/slideLayout164.xml"/><Relationship Id="rId9" Type="http://schemas.openxmlformats.org/officeDocument/2006/relationships/slideLayout" Target="../slideLayouts/slideLayout1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48992159"/>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8" r:id="rId6"/>
    <p:sldLayoutId id="2147484062" r:id="rId7"/>
    <p:sldLayoutId id="2147483732" r:id="rId8"/>
    <p:sldLayoutId id="2147483715" r:id="rId9"/>
    <p:sldLayoutId id="2147483717" r:id="rId10"/>
    <p:sldLayoutId id="2147483724" r:id="rId11"/>
    <p:sldLayoutId id="2147483725" r:id="rId12"/>
    <p:sldLayoutId id="2147483726" r:id="rId13"/>
    <p:sldLayoutId id="2147483729" r:id="rId14"/>
    <p:sldLayoutId id="2147483731" r:id="rId15"/>
    <p:sldLayoutId id="2147483840" r:id="rId16"/>
    <p:sldLayoutId id="2147483841" r:id="rId1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Picture 47">
            <a:extLst>
              <a:ext uri="{FF2B5EF4-FFF2-40B4-BE49-F238E27FC236}">
                <a16:creationId xmlns:a16="http://schemas.microsoft.com/office/drawing/2014/main" id="{4A50B06F-0496-467C-B7D4-A214F0CDE045}"/>
              </a:ext>
            </a:extLst>
          </p:cNvPr>
          <p:cNvPicPr>
            <a:picLocks noChangeAspect="1"/>
          </p:cNvPicPr>
          <p:nvPr userDrawn="1"/>
        </p:nvPicPr>
        <p:blipFill>
          <a:blip r:embed="rId26"/>
          <a:stretch>
            <a:fillRect/>
          </a:stretch>
        </p:blipFill>
        <p:spPr>
          <a:xfrm>
            <a:off x="12330664" y="1827"/>
            <a:ext cx="1157772" cy="6854346"/>
          </a:xfrm>
          <a:prstGeom prst="rect">
            <a:avLst/>
          </a:prstGeom>
        </p:spPr>
      </p:pic>
    </p:spTree>
    <p:extLst>
      <p:ext uri="{BB962C8B-B14F-4D97-AF65-F5344CB8AC3E}">
        <p14:creationId xmlns:p14="http://schemas.microsoft.com/office/powerpoint/2010/main" val="1374591720"/>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79283201"/>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1960726713"/>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xmlns=""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
        <p:nvSpPr>
          <p:cNvPr id="5" name="Slide Number Placeholder 4">
            <a:extLst>
              <a:ext uri="{FF2B5EF4-FFF2-40B4-BE49-F238E27FC236}">
                <a16:creationId xmlns:a16="http://schemas.microsoft.com/office/drawing/2014/main" id="{47E1D2D4-3760-4EEC-9D7C-7FC91273021E}"/>
              </a:ext>
            </a:extLst>
          </p:cNvPr>
          <p:cNvSpPr>
            <a:spLocks noGrp="1"/>
          </p:cNvSpPr>
          <p:nvPr>
            <p:ph type="sldNum" sz="quarter" idx="4"/>
          </p:nvPr>
        </p:nvSpPr>
        <p:spPr>
          <a:xfrm>
            <a:off x="11415169" y="6446579"/>
            <a:ext cx="187551" cy="184666"/>
          </a:xfrm>
          <a:prstGeom prst="rect">
            <a:avLst/>
          </a:prstGeom>
        </p:spPr>
        <p:txBody>
          <a:bodyPr vert="horz" wrap="none" lIns="0" tIns="0" rIns="0" bIns="0" rtlCol="0" anchor="ctr">
            <a:spAutoFit/>
          </a:bodyPr>
          <a:lstStyle>
            <a:lvl1pPr algn="r">
              <a:defRPr sz="1200">
                <a:solidFill>
                  <a:schemeClr val="tx1"/>
                </a:solidFill>
              </a:defRPr>
            </a:lvl1pPr>
          </a:lstStyle>
          <a:p>
            <a:fld id="{88214BE8-3B67-4CC1-95F1-46B8F6DEEA9B}" type="slidenum">
              <a:rPr lang="en-IN" smtClean="0"/>
              <a:pPr/>
              <a:t>‹#›</a:t>
            </a:fld>
            <a:endParaRPr lang="en-IN"/>
          </a:p>
        </p:txBody>
      </p:sp>
    </p:spTree>
    <p:extLst>
      <p:ext uri="{BB962C8B-B14F-4D97-AF65-F5344CB8AC3E}">
        <p14:creationId xmlns:p14="http://schemas.microsoft.com/office/powerpoint/2010/main" val="2070783020"/>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4063" r:id="rId19"/>
    <p:sldLayoutId id="2147484064" r:id="rId20"/>
    <p:sldLayoutId id="2147484065" r:id="rId21"/>
    <p:sldLayoutId id="2147484066" r:id="rId22"/>
    <p:sldLayoutId id="2147484067" r:id="rId23"/>
    <p:sldLayoutId id="2147484068" r:id="rId24"/>
    <p:sldLayoutId id="2147484069" r:id="rId25"/>
    <p:sldLayoutId id="2147484070" r:id="rId26"/>
    <p:sldLayoutId id="2147484071" r:id="rId27"/>
    <p:sldLayoutId id="2147484072" r:id="rId28"/>
    <p:sldLayoutId id="2147484073" r:id="rId29"/>
    <p:sldLayoutId id="2147484074" r:id="rId30"/>
    <p:sldLayoutId id="2147483831" r:id="rId31"/>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4"/>
          </p:nvPr>
        </p:nvSpPr>
        <p:spPr>
          <a:xfrm>
            <a:off x="11297541" y="6395935"/>
            <a:ext cx="454128" cy="108637"/>
          </a:xfrm>
          <a:prstGeom prst="rect">
            <a:avLst/>
          </a:prstGeom>
        </p:spPr>
        <p:txBody>
          <a:bodyPr vert="horz" wrap="square" lIns="0" tIns="0" rIns="0" bIns="0" rtlCol="0" anchor="ctr">
            <a:spAutoFit/>
          </a:bodyPr>
          <a:lstStyle>
            <a:lvl1pPr>
              <a:defRPr lang="en-US" sz="784" b="0" cap="none" spc="0" baseline="0" smtClean="0">
                <a:ln w="3175">
                  <a:noFill/>
                </a:ln>
                <a:gradFill>
                  <a:gsLst>
                    <a:gs pos="0">
                      <a:schemeClr val="tx1">
                        <a:lumMod val="60000"/>
                        <a:lumOff val="40000"/>
                      </a:schemeClr>
                    </a:gs>
                    <a:gs pos="100000">
                      <a:schemeClr val="tx1">
                        <a:lumMod val="60000"/>
                        <a:lumOff val="40000"/>
                      </a:schemeClr>
                    </a:gs>
                  </a:gsLst>
                  <a:lin ang="5400000" scaled="0"/>
                </a:gradFill>
                <a:effectLst/>
                <a:latin typeface="Segoe UI Semibold" panose="020B0702040204020203" pitchFamily="34" charset="0"/>
                <a:cs typeface="Segoe UI Semibold" panose="020B0702040204020203" pitchFamily="34" charset="0"/>
              </a:defRPr>
            </a:lvl1pPr>
          </a:lstStyle>
          <a:p>
            <a:pPr algn="r" defTabSz="914367">
              <a:lnSpc>
                <a:spcPct val="90000"/>
              </a:lnSpc>
              <a:spcBef>
                <a:spcPct val="0"/>
              </a:spcBef>
            </a:pPr>
            <a:fld id="{ED077441-DF17-4513-BACB-525ED94CFAE4}" type="slidenum">
              <a:rPr lang="en-US" smtClean="0"/>
              <a:pPr algn="r" defTabSz="914367">
                <a:lnSpc>
                  <a:spcPct val="90000"/>
                </a:lnSpc>
                <a:spcBef>
                  <a:spcPct val="0"/>
                </a:spcBef>
              </a:pPr>
              <a:t>‹#›</a:t>
            </a:fld>
            <a:endParaRPr lang="en-US"/>
          </a:p>
        </p:txBody>
      </p:sp>
    </p:spTree>
    <p:extLst>
      <p:ext uri="{BB962C8B-B14F-4D97-AF65-F5344CB8AC3E}">
        <p14:creationId xmlns:p14="http://schemas.microsoft.com/office/powerpoint/2010/main" val="2589532391"/>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Lst>
  <p:hf hdr="0" ftr="0" dt="0"/>
  <p:txStyles>
    <p:titleStyle>
      <a:lvl1pPr algn="l" defTabSz="914367" rtl="0" eaLnBrk="1" latinLnBrk="0" hangingPunct="1">
        <a:lnSpc>
          <a:spcPct val="90000"/>
        </a:lnSpc>
        <a:spcBef>
          <a:spcPct val="0"/>
        </a:spcBef>
        <a:buNone/>
        <a:defRPr lang="en-US" sz="431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5" pos="2102">
          <p15:clr>
            <a:srgbClr val="A4A3A4"/>
          </p15:clr>
        </p15:guide>
        <p15:guide id="8" pos="3918">
          <p15:clr>
            <a:srgbClr val="A4A3A4"/>
          </p15:clr>
        </p15:guide>
        <p15:guide id="12" pos="5731">
          <p15:clr>
            <a:srgbClr val="A4A3A4"/>
          </p15:clr>
        </p15:guide>
        <p15:guide id="16" pos="288">
          <p15:clr>
            <a:srgbClr val="A4A3A4"/>
          </p15:clr>
        </p15:guide>
        <p15:guide id="17" pos="7546">
          <p15:clr>
            <a:srgbClr val="A4A3A4"/>
          </p15:clr>
        </p15:guide>
        <p15:guide id="25" orient="horz" pos="287">
          <p15:clr>
            <a:srgbClr val="A4A3A4"/>
          </p15:clr>
        </p15:guide>
        <p15:guide id="26" orient="horz" pos="4118">
          <p15:clr>
            <a:srgbClr val="A4A3A4"/>
          </p15:clr>
        </p15:guide>
        <p15:guide id="27" orient="horz" pos="387">
          <p15:clr>
            <a:srgbClr val="A4A3A4"/>
          </p15:clr>
        </p15:guide>
        <p15:guide id="32" orient="horz" pos="675">
          <p15:clr>
            <a:srgbClr val="A4A3A4"/>
          </p15:clr>
        </p15:guide>
        <p15:guide id="33" orient="horz" pos="965">
          <p15:clr>
            <a:srgbClr val="A4A3A4"/>
          </p15:clr>
        </p15:guide>
        <p15:guide id="34" orient="horz" pos="1253">
          <p15:clr>
            <a:srgbClr val="A4A3A4"/>
          </p15:clr>
        </p15:guide>
        <p15:guide id="35" orient="horz" pos="1538">
          <p15:clr>
            <a:srgbClr val="A4A3A4"/>
          </p15:clr>
        </p15:guide>
        <p15:guide id="36" orient="horz" pos="1826">
          <p15:clr>
            <a:srgbClr val="A4A3A4"/>
          </p15:clr>
        </p15:guide>
        <p15:guide id="37" orient="horz" pos="2115">
          <p15:clr>
            <a:srgbClr val="A4A3A4"/>
          </p15:clr>
        </p15:guide>
        <p15:guide id="38" orient="horz" pos="2406">
          <p15:clr>
            <a:srgbClr val="A4A3A4"/>
          </p15:clr>
        </p15:guide>
        <p15:guide id="39" orient="horz" pos="2694">
          <p15:clr>
            <a:srgbClr val="A4A3A4"/>
          </p15:clr>
        </p15:guide>
        <p15:guide id="40" orient="horz" pos="2981">
          <p15:clr>
            <a:srgbClr val="A4A3A4"/>
          </p15:clr>
        </p15:guide>
        <p15:guide id="41" orient="horz" pos="3267">
          <p15:clr>
            <a:srgbClr val="A4A3A4"/>
          </p15:clr>
        </p15:guide>
        <p15:guide id="42" orient="horz" pos="3557">
          <p15:clr>
            <a:srgbClr val="A4A3A4"/>
          </p15:clr>
        </p15:guide>
        <p15:guide id="43" orient="horz" pos="3842">
          <p15:clr>
            <a:srgbClr val="A4A3A4"/>
          </p15:clr>
        </p15:guide>
        <p15:guide id="44" pos="4824">
          <p15:clr>
            <a:srgbClr val="FBAE4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82360" y="1608964"/>
            <a:ext cx="11085341" cy="434974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4">
            <a:extLst>
              <a:ext uri="{FF2B5EF4-FFF2-40B4-BE49-F238E27FC236}">
                <a16:creationId xmlns:a16="http://schemas.microsoft.com/office/drawing/2014/main" id="{B0D541D2-B55F-9D42-B1D5-0BCACFBBF061}"/>
              </a:ext>
            </a:extLst>
          </p:cNvPr>
          <p:cNvSpPr>
            <a:spLocks noGrp="1"/>
          </p:cNvSpPr>
          <p:nvPr>
            <p:ph type="sldNum" sz="quarter" idx="4"/>
          </p:nvPr>
        </p:nvSpPr>
        <p:spPr>
          <a:xfrm>
            <a:off x="9042400" y="6444338"/>
            <a:ext cx="2743200" cy="366183"/>
          </a:xfrm>
          <a:prstGeom prst="rect">
            <a:avLst/>
          </a:prstGeom>
        </p:spPr>
        <p:txBody>
          <a:bodyPr vert="horz" lIns="0" tIns="45720" rIns="0" bIns="45720" rtlCol="0" anchor="b"/>
          <a:lstStyle>
            <a:lvl1pPr algn="r">
              <a:defRPr sz="1067" b="0" i="0">
                <a:solidFill>
                  <a:schemeClr val="tx1"/>
                </a:solidFill>
                <a:latin typeface="Arial" panose="020B0604020202020204" pitchFamily="34" charset="0"/>
                <a:cs typeface="Arial" panose="020B0604020202020204" pitchFamily="34" charset="0"/>
              </a:defRPr>
            </a:lvl1pPr>
          </a:lstStyle>
          <a:p>
            <a:fld id="{BA19D0F6-5B80-F543-AF4F-7B18B9728D74}" type="slidenum">
              <a:rPr lang="en-US" smtClean="0"/>
              <a:pPr/>
              <a:t>‹#›</a:t>
            </a:fld>
            <a:endParaRPr lang="en-US"/>
          </a:p>
        </p:txBody>
      </p:sp>
      <p:sp>
        <p:nvSpPr>
          <p:cNvPr id="10" name="Date Placeholder 5">
            <a:extLst>
              <a:ext uri="{FF2B5EF4-FFF2-40B4-BE49-F238E27FC236}">
                <a16:creationId xmlns:a16="http://schemas.microsoft.com/office/drawing/2014/main" id="{6F104482-488F-5F43-BF04-FDC97884A615}"/>
              </a:ext>
            </a:extLst>
          </p:cNvPr>
          <p:cNvSpPr>
            <a:spLocks noGrp="1"/>
          </p:cNvSpPr>
          <p:nvPr>
            <p:ph type="dt" sz="half" idx="2"/>
          </p:nvPr>
        </p:nvSpPr>
        <p:spPr>
          <a:xfrm>
            <a:off x="406402" y="6444338"/>
            <a:ext cx="3000831" cy="366183"/>
          </a:xfrm>
          <a:prstGeom prst="rect">
            <a:avLst/>
          </a:prstGeom>
        </p:spPr>
        <p:txBody>
          <a:bodyPr vert="horz" lIns="0" tIns="45720" rIns="0" bIns="45720" rtlCol="0" anchor="b"/>
          <a:lstStyle>
            <a:lvl1pPr marL="0" marR="0" indent="0" algn="l" defTabSz="609570" rtl="0" eaLnBrk="1" fontAlgn="auto" latinLnBrk="0" hangingPunct="1">
              <a:lnSpc>
                <a:spcPct val="100000"/>
              </a:lnSpc>
              <a:spcBef>
                <a:spcPts val="0"/>
              </a:spcBef>
              <a:spcAft>
                <a:spcPts val="0"/>
              </a:spcAft>
              <a:buClrTx/>
              <a:buSzTx/>
              <a:buFontTx/>
              <a:buNone/>
              <a:tabLst/>
              <a:defRPr sz="1067" b="0" i="0">
                <a:solidFill>
                  <a:schemeClr val="tx1"/>
                </a:solidFill>
                <a:latin typeface="Arial" panose="020B0604020202020204" pitchFamily="34" charset="0"/>
                <a:cs typeface="Arial" panose="020B0604020202020204" pitchFamily="34" charset="0"/>
              </a:defRPr>
            </a:lvl1pPr>
          </a:lstStyle>
          <a:p>
            <a:r>
              <a:rPr lang="en-US"/>
              <a:t>© 2018 Land O’Lakes, Inc.</a:t>
            </a:r>
          </a:p>
        </p:txBody>
      </p:sp>
      <p:sp>
        <p:nvSpPr>
          <p:cNvPr id="11" name="Footer Placeholder 10">
            <a:extLst>
              <a:ext uri="{FF2B5EF4-FFF2-40B4-BE49-F238E27FC236}">
                <a16:creationId xmlns:a16="http://schemas.microsoft.com/office/drawing/2014/main" id="{CD4CBCD7-348E-F049-A9F8-497674102D4E}"/>
              </a:ext>
            </a:extLst>
          </p:cNvPr>
          <p:cNvSpPr>
            <a:spLocks noGrp="1"/>
          </p:cNvSpPr>
          <p:nvPr>
            <p:ph type="ftr" sz="quarter" idx="3"/>
          </p:nvPr>
        </p:nvSpPr>
        <p:spPr>
          <a:xfrm>
            <a:off x="4038600" y="6356353"/>
            <a:ext cx="4114800"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12" name="Title Placeholder 11">
            <a:extLst>
              <a:ext uri="{FF2B5EF4-FFF2-40B4-BE49-F238E27FC236}">
                <a16:creationId xmlns:a16="http://schemas.microsoft.com/office/drawing/2014/main" id="{63D2C33A-A518-EB4D-8850-6817DC81C47E}"/>
              </a:ext>
            </a:extLst>
          </p:cNvPr>
          <p:cNvSpPr>
            <a:spLocks noGrp="1"/>
          </p:cNvSpPr>
          <p:nvPr>
            <p:ph type="title"/>
          </p:nvPr>
        </p:nvSpPr>
        <p:spPr>
          <a:xfrm>
            <a:off x="582361" y="366186"/>
            <a:ext cx="10771441" cy="1325033"/>
          </a:xfrm>
          <a:prstGeom prst="rect">
            <a:avLst/>
          </a:prstGeom>
        </p:spPr>
        <p:txBody>
          <a:bodyPr vert="horz" lIns="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620162048"/>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 id="2147484032" r:id="rId12"/>
    <p:sldLayoutId id="2147484033" r:id="rId13"/>
    <p:sldLayoutId id="2147484034" r:id="rId14"/>
    <p:sldLayoutId id="2147484035" r:id="rId15"/>
    <p:sldLayoutId id="2147484036" r:id="rId16"/>
    <p:sldLayoutId id="2147484037" r:id="rId17"/>
    <p:sldLayoutId id="2147484038" r:id="rId18"/>
    <p:sldLayoutId id="2147484039" r:id="rId19"/>
    <p:sldLayoutId id="2147484040" r:id="rId20"/>
    <p:sldLayoutId id="2147484041" r:id="rId21"/>
    <p:sldLayoutId id="2147484042" r:id="rId22"/>
    <p:sldLayoutId id="2147484043" r:id="rId23"/>
    <p:sldLayoutId id="2147484044" r:id="rId24"/>
    <p:sldLayoutId id="2147484045" r:id="rId25"/>
    <p:sldLayoutId id="2147484046" r:id="rId26"/>
    <p:sldLayoutId id="2147484047" r:id="rId27"/>
    <p:sldLayoutId id="2147484048" r:id="rId28"/>
    <p:sldLayoutId id="2147484049" r:id="rId29"/>
    <p:sldLayoutId id="2147484050" r:id="rId30"/>
    <p:sldLayoutId id="2147484051" r:id="rId31"/>
    <p:sldLayoutId id="2147484052" r:id="rId32"/>
    <p:sldLayoutId id="2147484053" r:id="rId33"/>
    <p:sldLayoutId id="2147484054" r:id="rId34"/>
    <p:sldLayoutId id="2147484055" r:id="rId35"/>
    <p:sldLayoutId id="2147484056" r:id="rId36"/>
    <p:sldLayoutId id="2147484057" r:id="rId37"/>
    <p:sldLayoutId id="2147484058" r:id="rId38"/>
    <p:sldLayoutId id="2147484059" r:id="rId39"/>
    <p:sldLayoutId id="2147484060" r:id="rId40"/>
  </p:sldLayoutIdLst>
  <p:hf hdr="0" ftr="0"/>
  <p:txStyles>
    <p:titleStyle>
      <a:lvl1pPr algn="l" defTabSz="1219140" rtl="0" eaLnBrk="1" latinLnBrk="0" hangingPunct="1">
        <a:lnSpc>
          <a:spcPct val="90000"/>
        </a:lnSpc>
        <a:spcBef>
          <a:spcPct val="0"/>
        </a:spcBef>
        <a:buNone/>
        <a:defRPr sz="3333" b="1" i="0" kern="1200">
          <a:solidFill>
            <a:schemeClr val="tx1"/>
          </a:solidFill>
          <a:latin typeface="Arial Bold"/>
          <a:ea typeface="Arial Bold"/>
          <a:cs typeface="Arial Bold"/>
        </a:defRPr>
      </a:lvl1pPr>
    </p:titleStyle>
    <p:bodyStyle>
      <a:lvl1pPr marL="0" indent="0" algn="l" defTabSz="1219140" rtl="0" eaLnBrk="1" latinLnBrk="0" hangingPunct="1">
        <a:lnSpc>
          <a:spcPct val="90000"/>
        </a:lnSpc>
        <a:spcBef>
          <a:spcPts val="1333"/>
        </a:spcBef>
        <a:buFont typeface="Arial" panose="020B0604020202020204" pitchFamily="34" charset="0"/>
        <a:buNone/>
        <a:defRPr sz="1867" b="0" i="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914354" indent="-304784" algn="l" defTabSz="1219140" rtl="0" eaLnBrk="1" latinLnBrk="0" hangingPunct="1">
        <a:lnSpc>
          <a:spcPct val="90000"/>
        </a:lnSpc>
        <a:spcBef>
          <a:spcPts val="667"/>
        </a:spcBef>
        <a:buFont typeface="Arial" panose="020B0604020202020204" pitchFamily="34" charset="0"/>
        <a:buChar char="•"/>
        <a:defRPr sz="1867" b="0" i="0" kern="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523925" indent="-304784" algn="l" defTabSz="1219140" rtl="0" eaLnBrk="1" latinLnBrk="0" hangingPunct="1">
        <a:lnSpc>
          <a:spcPct val="90000"/>
        </a:lnSpc>
        <a:spcBef>
          <a:spcPts val="667"/>
        </a:spcBef>
        <a:buFont typeface="Arial" panose="020B0604020202020204" pitchFamily="34" charset="0"/>
        <a:buChar char="•"/>
        <a:defRPr sz="1867" b="0" i="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2133493" indent="-304784" algn="l" defTabSz="1219140" rtl="0" eaLnBrk="1" latinLnBrk="0" hangingPunct="1">
        <a:lnSpc>
          <a:spcPct val="90000"/>
        </a:lnSpc>
        <a:spcBef>
          <a:spcPts val="667"/>
        </a:spcBef>
        <a:buFont typeface="Arial" panose="020B0604020202020204" pitchFamily="34" charset="0"/>
        <a:buChar char="•"/>
        <a:defRPr sz="1867" b="0" i="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743062" indent="-304784" algn="l" defTabSz="1219140" rtl="0" eaLnBrk="1" latinLnBrk="0" hangingPunct="1">
        <a:lnSpc>
          <a:spcPct val="90000"/>
        </a:lnSpc>
        <a:spcBef>
          <a:spcPts val="667"/>
        </a:spcBef>
        <a:buFont typeface="Arial" panose="020B0604020202020204" pitchFamily="34" charset="0"/>
        <a:buChar char="•"/>
        <a:defRPr sz="1867" b="0" i="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335263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20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772"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341" indent="-304784" algn="l" defTabSz="121914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288">
          <p15:clr>
            <a:srgbClr val="F26B43"/>
          </p15:clr>
        </p15:guide>
        <p15:guide id="4" orient="horz" pos="32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7" name="think-cell Slide" r:id="rId6" imgW="378" imgH="377" progId="TCLayout.ActiveDocument.1">
                  <p:embed/>
                </p:oleObj>
              </mc:Choice>
              <mc:Fallback>
                <p:oleObj name="think-cell Slide" r:id="rId6" imgW="378" imgH="377" progId="TCLayout.ActiveDocument.1">
                  <p:embed/>
                  <p:pic>
                    <p:nvPicPr>
                      <p:cNvPr id="3" name="Object 2" hidden="1"/>
                      <p:cNvPicPr/>
                      <p:nvPr/>
                    </p:nvPicPr>
                    <p:blipFill>
                      <a:blip r:embed="rId7"/>
                      <a:stretch>
                        <a:fillRect/>
                      </a:stretch>
                    </p:blipFill>
                    <p:spPr>
                      <a:xfrm>
                        <a:off x="1557" y="1558"/>
                        <a:ext cx="1556" cy="1556"/>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CE34A77-DE09-491A-B65D-052C359F2E71}"/>
              </a:ext>
            </a:extLst>
          </p:cNvPr>
          <p:cNvSpPr/>
          <p:nvPr userDrawn="1">
            <p:custDataLst>
              <p:tags r:id="rId5"/>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fontAlgn="base">
              <a:lnSpc>
                <a:spcPct val="90000"/>
              </a:lnSpc>
              <a:spcBef>
                <a:spcPct val="0"/>
              </a:spcBef>
              <a:spcAft>
                <a:spcPct val="0"/>
              </a:spcAft>
            </a:pPr>
            <a:endParaRPr lang="en-US" sz="4000" b="0" i="0" baseline="0" err="1">
              <a:gradFill>
                <a:gsLst>
                  <a:gs pos="0">
                    <a:srgbClr val="FFFFFF"/>
                  </a:gs>
                  <a:gs pos="100000">
                    <a:srgbClr val="FFFFFF"/>
                  </a:gs>
                </a:gsLst>
                <a:lin ang="5400000" scaled="0"/>
              </a:gradFill>
              <a:latin typeface="Segoe UI Light" panose="020B0502040204020203" pitchFamily="34" charset="0"/>
              <a:ea typeface="+mn-ea"/>
              <a:cs typeface="Segoe UI" pitchFamily="34" charset="0"/>
              <a:sym typeface="Segoe UI Light" panose="020B0502040204020203" pitchFamily="34" charset="0"/>
            </a:endParaRPr>
          </a:p>
        </p:txBody>
      </p:sp>
      <p:sp>
        <p:nvSpPr>
          <p:cNvPr id="2" name="Title Placeholder 1"/>
          <p:cNvSpPr>
            <a:spLocks noGrp="1"/>
          </p:cNvSpPr>
          <p:nvPr>
            <p:ph type="title"/>
          </p:nvPr>
        </p:nvSpPr>
        <p:spPr>
          <a:xfrm>
            <a:off x="448212" y="253713"/>
            <a:ext cx="11294738" cy="935463"/>
          </a:xfrm>
          <a:prstGeom prst="rect">
            <a:avLst/>
          </a:prstGeom>
        </p:spPr>
        <p:txBody>
          <a:bodyPr vert="horz" wrap="square" lIns="0" tIns="91440" rIns="0" bIns="91440" rtlCol="0" anchor="t">
            <a:noAutofit/>
          </a:bodyPr>
          <a:lstStyle/>
          <a:p>
            <a:pPr lvl="0"/>
            <a:r>
              <a:rPr lang="en-US"/>
              <a:t>Click to edit Master title style</a:t>
            </a:r>
          </a:p>
        </p:txBody>
      </p:sp>
      <p:sp>
        <p:nvSpPr>
          <p:cNvPr id="4" name="Text Placeholder 3"/>
          <p:cNvSpPr>
            <a:spLocks noGrp="1"/>
          </p:cNvSpPr>
          <p:nvPr>
            <p:ph type="body" idx="1"/>
          </p:nvPr>
        </p:nvSpPr>
        <p:spPr>
          <a:xfrm>
            <a:off x="448186" y="1348822"/>
            <a:ext cx="11292490" cy="1457545"/>
          </a:xfrm>
          <a:prstGeom prst="rect">
            <a:avLst/>
          </a:prstGeom>
        </p:spPr>
        <p:txBody>
          <a:bodyPr vert="horz" wrap="square" lIns="0" tIns="91440" rIns="0"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2469294"/>
      </p:ext>
    </p:extLst>
  </p:cSld>
  <p:clrMap bg1="dk1" tx1="lt1" bg2="dk2" tx2="lt2" accent1="accent1" accent2="accent2" accent3="accent3" accent4="accent4" accent5="accent5" accent6="accent6" hlink="hlink" folHlink="folHlink"/>
  <p:sldLayoutIdLst>
    <p:sldLayoutId id="2147483716" r:id="rId1"/>
  </p:sldLayoutIdLst>
  <p:transition>
    <p:fade/>
  </p:transition>
  <p:hf hdr="0" dt="0"/>
  <p:txStyles>
    <p:titleStyle>
      <a:lvl1pPr algn="l" defTabSz="914016" rtl="0" eaLnBrk="1" latinLnBrk="0" hangingPunct="1">
        <a:lnSpc>
          <a:spcPct val="90000"/>
        </a:lnSpc>
        <a:spcBef>
          <a:spcPct val="0"/>
        </a:spcBef>
        <a:buNone/>
        <a:defRPr lang="en-US" sz="4000" b="0" kern="1200" cap="none" spc="-100" baseline="0" dirty="0">
          <a:ln w="3175">
            <a:noFill/>
          </a:ln>
          <a:solidFill>
            <a:schemeClr val="bg1"/>
          </a:solidFill>
          <a:effectLst/>
          <a:latin typeface="+mj-lt"/>
          <a:ea typeface="+mn-ea"/>
          <a:cs typeface="Segoe UI" pitchFamily="34" charset="0"/>
        </a:defRPr>
      </a:lvl1pPr>
    </p:titleStyle>
    <p:bodyStyle>
      <a:lvl1pPr marL="224097" marR="0" indent="-224097" algn="l" defTabSz="914016" rtl="0" eaLnBrk="1" fontAlgn="auto" latinLnBrk="0" hangingPunct="1">
        <a:lnSpc>
          <a:spcPct val="90000"/>
        </a:lnSpc>
        <a:spcBef>
          <a:spcPct val="20000"/>
        </a:spcBef>
        <a:spcAft>
          <a:spcPts val="0"/>
        </a:spcAft>
        <a:buClrTx/>
        <a:buSzPct val="90000"/>
        <a:buFont typeface="Arial" pitchFamily="34" charset="0"/>
        <a:buChar char="•"/>
        <a:tabLst/>
        <a:defRPr sz="2745" kern="1200" spc="0" baseline="0">
          <a:solidFill>
            <a:schemeClr val="bg1"/>
          </a:solidFill>
          <a:latin typeface="+mj-lt"/>
          <a:ea typeface="+mn-ea"/>
          <a:cs typeface="+mn-cs"/>
        </a:defRPr>
      </a:lvl1pPr>
      <a:lvl2pPr marL="507330" marR="0" indent="-182079" algn="l" defTabSz="914016"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solidFill>
            <a:schemeClr val="bg1"/>
          </a:solidFill>
          <a:latin typeface="+mn-lt"/>
          <a:ea typeface="+mn-ea"/>
          <a:cs typeface="+mn-cs"/>
        </a:defRPr>
      </a:lvl2pPr>
      <a:lvl3pPr marL="731426" marR="0" indent="-171185" algn="l" defTabSz="914016" rtl="0" eaLnBrk="1" fontAlgn="auto" latinLnBrk="0" hangingPunct="1">
        <a:lnSpc>
          <a:spcPct val="90000"/>
        </a:lnSpc>
        <a:spcBef>
          <a:spcPct val="20000"/>
        </a:spcBef>
        <a:spcAft>
          <a:spcPts val="0"/>
        </a:spcAft>
        <a:buClrTx/>
        <a:buSzPct val="90000"/>
        <a:buFont typeface="Arial" pitchFamily="34" charset="0"/>
        <a:buChar char="•"/>
        <a:tabLst/>
        <a:defRPr sz="1371" kern="1200" spc="0" baseline="0">
          <a:solidFill>
            <a:schemeClr val="bg1"/>
          </a:solidFill>
          <a:latin typeface="+mn-lt"/>
          <a:ea typeface="+mn-ea"/>
          <a:cs typeface="+mn-cs"/>
        </a:defRPr>
      </a:lvl3pPr>
      <a:lvl4pPr marL="896386" marR="0" indent="-112048" algn="l" defTabSz="914016" rtl="0" eaLnBrk="1" fontAlgn="auto" latinLnBrk="0" hangingPunct="1">
        <a:lnSpc>
          <a:spcPct val="90000"/>
        </a:lnSpc>
        <a:spcBef>
          <a:spcPct val="20000"/>
        </a:spcBef>
        <a:spcAft>
          <a:spcPts val="0"/>
        </a:spcAft>
        <a:buClrTx/>
        <a:buSzPct val="90000"/>
        <a:buFont typeface="Arial" pitchFamily="34" charset="0"/>
        <a:buChar char="•"/>
        <a:tabLst/>
        <a:defRPr sz="1175" kern="1200" spc="0" baseline="0">
          <a:solidFill>
            <a:schemeClr val="bg1"/>
          </a:solidFill>
          <a:latin typeface="+mn-lt"/>
          <a:ea typeface="+mn-ea"/>
          <a:cs typeface="+mn-cs"/>
        </a:defRPr>
      </a:lvl4pPr>
      <a:lvl5pPr marL="1120483" marR="0" indent="-112048" algn="l" defTabSz="914016" rtl="0" eaLnBrk="1" fontAlgn="auto" latinLnBrk="0" hangingPunct="1">
        <a:lnSpc>
          <a:spcPct val="90000"/>
        </a:lnSpc>
        <a:spcBef>
          <a:spcPct val="20000"/>
        </a:spcBef>
        <a:spcAft>
          <a:spcPts val="0"/>
        </a:spcAft>
        <a:buClrTx/>
        <a:buSzPct val="90000"/>
        <a:buFont typeface="Arial" pitchFamily="34" charset="0"/>
        <a:buChar char="•"/>
        <a:tabLst/>
        <a:defRPr sz="1175" kern="1200" spc="0" baseline="0">
          <a:solidFill>
            <a:schemeClr val="bg1"/>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88">
          <p15:clr>
            <a:srgbClr val="C35EA4"/>
          </p15:clr>
        </p15:guide>
        <p15:guide id="17" pos="7392">
          <p15:clr>
            <a:srgbClr val="C35EA4"/>
          </p15:clr>
        </p15:guide>
        <p15:guide id="18" orient="horz" pos="763">
          <p15:clr>
            <a:srgbClr val="C35EA4"/>
          </p15:clr>
        </p15:guide>
        <p15:guide id="25" orient="horz" pos="163">
          <p15:clr>
            <a:srgbClr val="C35EA4"/>
          </p15:clr>
        </p15:guide>
        <p15:guide id="26" orient="horz" pos="4056">
          <p15:clr>
            <a:srgbClr val="C35EA4"/>
          </p15:clr>
        </p15:guide>
        <p15:guide id="27" orient="horz" pos="859">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94F50E2-BD75-4EB6-8231-82E4F3FD344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EB60CEE-B36D-4336-B3A7-E725D6B33D4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497F0D-6E76-4CDC-AF93-CA753E0A19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8D0B672-CA3B-447B-B7AB-2AC7526E5D91}" type="datetimeFigureOut">
              <a:rPr lang="en-US" smtClean="0"/>
              <a:t>6/24/2020</a:t>
            </a:fld>
            <a:endParaRPr lang="en-US"/>
          </a:p>
        </p:txBody>
      </p:sp>
      <p:sp>
        <p:nvSpPr>
          <p:cNvPr id="5" name="Footer Placeholder 4">
            <a:extLst>
              <a:ext uri="{FF2B5EF4-FFF2-40B4-BE49-F238E27FC236}">
                <a16:creationId xmlns:a16="http://schemas.microsoft.com/office/drawing/2014/main" id="{455BA301-115A-4DAC-A0BB-E113C5EF1D1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65BDBF1-D004-4F1A-8AF1-58A49E927CF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C82B53-80CF-40C0-90EB-23E6E3D8F25D}" type="slidenum">
              <a:rPr lang="en-US" smtClean="0"/>
              <a:t>‹#›</a:t>
            </a:fld>
            <a:endParaRPr lang="en-US"/>
          </a:p>
        </p:txBody>
      </p:sp>
    </p:spTree>
    <p:extLst>
      <p:ext uri="{BB962C8B-B14F-4D97-AF65-F5344CB8AC3E}">
        <p14:creationId xmlns:p14="http://schemas.microsoft.com/office/powerpoint/2010/main" val="3469693980"/>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aimees@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hyperlink" Target="https://microsoft.sharepoint.com/:b:/t/AffordableAccessInitiatives/ERlUKDsXNflLsnN5M3Xe2dsByZpM2v0Gx8Q5nGH2ryI4Zg?e=Oh7Yvw" TargetMode="External"/><Relationship Id="rId2" Type="http://schemas.openxmlformats.org/officeDocument/2006/relationships/notesSlide" Target="../notesSlides/notesSlide10.xml"/><Relationship Id="rId1" Type="http://schemas.openxmlformats.org/officeDocument/2006/relationships/slideLayout" Target="../slideLayouts/slideLayout16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hyperlink" Target="https://ecfsapi.fcc.gov/file/60002098542.pdf" TargetMode="External"/><Relationship Id="rId7" Type="http://schemas.openxmlformats.org/officeDocument/2006/relationships/image" Target="../media/image53.png"/><Relationship Id="rId2" Type="http://schemas.openxmlformats.org/officeDocument/2006/relationships/notesSlide" Target="../notesSlides/notesSlide12.xml"/><Relationship Id="rId1" Type="http://schemas.openxmlformats.org/officeDocument/2006/relationships/slideLayout" Target="../slideLayouts/slideLayout1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hyperlink" Target="https://www.usda.gov/reconnect"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56.xml"/></Relationships>
</file>

<file path=ppt/slides/_rels/slide3.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5.xml"/><Relationship Id="rId1" Type="http://schemas.openxmlformats.org/officeDocument/2006/relationships/slideLayout" Target="../slideLayouts/slideLayout108.xml"/><Relationship Id="rId6" Type="http://schemas.openxmlformats.org/officeDocument/2006/relationships/image" Target="../media/image41.png"/><Relationship Id="rId5" Type="http://schemas.openxmlformats.org/officeDocument/2006/relationships/image" Target="../media/image40.jpeg"/><Relationship Id="rId4" Type="http://schemas.openxmlformats.org/officeDocument/2006/relationships/image" Target="../media/image39.jpeg"/></Relationships>
</file>

<file path=ppt/slides/_rels/slide6.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13.xml"/><Relationship Id="rId5" Type="http://schemas.openxmlformats.org/officeDocument/2006/relationships/image" Target="../media/image44.png"/><Relationship Id="rId4" Type="http://schemas.microsoft.com/office/2014/relationships/chartEx" Target="../charts/chartEx1.xml"/></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46.png"/></Relationships>
</file>

<file path=ppt/slides/_rels/slide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4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F5A00018-356A-41DD-B246-3070FF45A5CF}"/>
              </a:ext>
            </a:extLst>
          </p:cNvPr>
          <p:cNvSpPr>
            <a:spLocks noGrp="1"/>
          </p:cNvSpPr>
          <p:nvPr>
            <p:ph type="title"/>
          </p:nvPr>
        </p:nvSpPr>
        <p:spPr>
          <a:xfrm>
            <a:off x="329440" y="2325894"/>
            <a:ext cx="8234998" cy="3430170"/>
          </a:xfrm>
        </p:spPr>
        <p:txBody>
          <a:bodyPr/>
          <a:lstStyle/>
          <a:p>
            <a:r>
              <a:rPr lang="en-US" sz="3600" spc="-49" dirty="0">
                <a:latin typeface="Segoe UI Semibold (Headings)"/>
              </a:rPr>
              <a:t>Airband Initiative</a:t>
            </a:r>
            <a:r>
              <a:rPr lang="en-US" sz="4400" spc="-49" dirty="0"/>
              <a:t/>
            </a:r>
            <a:br>
              <a:rPr lang="en-US" sz="4400" spc="-49" dirty="0"/>
            </a:br>
            <a:r>
              <a:rPr lang="en-US" sz="2745" spc="-49" dirty="0"/>
              <a:t>Connecting the Unconnected</a:t>
            </a:r>
            <a:br>
              <a:rPr lang="en-US" sz="2745" spc="-49" dirty="0"/>
            </a:br>
            <a:r>
              <a:rPr lang="en-US" sz="2745" spc="-49" dirty="0"/>
              <a:t/>
            </a:r>
            <a:br>
              <a:rPr lang="en-US" sz="2745" spc="-49" dirty="0"/>
            </a:br>
            <a:r>
              <a:rPr lang="en-US" sz="2000" spc="-49" dirty="0"/>
              <a:t>Minnesota Governor's Task Force on Broadband</a:t>
            </a:r>
            <a:br>
              <a:rPr lang="en-US" sz="2000" spc="-49" dirty="0"/>
            </a:br>
            <a:r>
              <a:rPr lang="en-US" sz="2000" spc="-49" dirty="0"/>
              <a:t>June 24, 2020</a:t>
            </a:r>
            <a:br>
              <a:rPr lang="en-US" sz="2000" spc="-49" dirty="0"/>
            </a:br>
            <a:r>
              <a:rPr lang="en-US" sz="2000" spc="-49" dirty="0"/>
              <a:t/>
            </a:r>
            <a:br>
              <a:rPr lang="en-US" sz="2000" spc="-49" dirty="0"/>
            </a:br>
            <a:r>
              <a:rPr lang="en-US" sz="2000" spc="-49" dirty="0"/>
              <a:t>Aimee Sprung</a:t>
            </a:r>
            <a:br>
              <a:rPr lang="en-US" sz="2000" spc="-49" dirty="0"/>
            </a:br>
            <a:r>
              <a:rPr lang="en-US" sz="2000" spc="-49" dirty="0"/>
              <a:t>Director, Airband </a:t>
            </a:r>
            <a:br>
              <a:rPr lang="en-US" sz="2000" spc="-49" dirty="0"/>
            </a:br>
            <a:r>
              <a:rPr lang="en-US" sz="2000" spc="-49" dirty="0">
                <a:hlinkClick r:id="rId3"/>
              </a:rPr>
              <a:t>aimees@microsoft.com</a:t>
            </a:r>
            <a:r>
              <a:rPr lang="en-US" sz="2000" spc="-49" dirty="0"/>
              <a:t> </a:t>
            </a:r>
            <a:endParaRPr lang="en-US" sz="4400" dirty="0"/>
          </a:p>
        </p:txBody>
      </p:sp>
    </p:spTree>
    <p:extLst>
      <p:ext uri="{BB962C8B-B14F-4D97-AF65-F5344CB8AC3E}">
        <p14:creationId xmlns:p14="http://schemas.microsoft.com/office/powerpoint/2010/main" val="358617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7D9DD-0E4D-401D-975F-A43088B3B5D8}"/>
              </a:ext>
            </a:extLst>
          </p:cNvPr>
          <p:cNvSpPr>
            <a:spLocks noGrp="1"/>
          </p:cNvSpPr>
          <p:nvPr>
            <p:ph type="title"/>
          </p:nvPr>
        </p:nvSpPr>
        <p:spPr>
          <a:xfrm>
            <a:off x="372979" y="148558"/>
            <a:ext cx="10515600" cy="813970"/>
          </a:xfrm>
        </p:spPr>
        <p:txBody>
          <a:bodyPr>
            <a:normAutofit/>
          </a:bodyPr>
          <a:lstStyle/>
          <a:p>
            <a:r>
              <a:rPr lang="en-US" sz="4000" dirty="0">
                <a:latin typeface="Segoe UI Light" panose="020B0502040204020203" pitchFamily="34" charset="0"/>
                <a:cs typeface="Segoe UI Light" panose="020B0502040204020203" pitchFamily="34" charset="0"/>
              </a:rPr>
              <a:t>Airband COVID Response</a:t>
            </a:r>
          </a:p>
        </p:txBody>
      </p:sp>
      <p:sp>
        <p:nvSpPr>
          <p:cNvPr id="3" name="Content Placeholder 2">
            <a:extLst>
              <a:ext uri="{FF2B5EF4-FFF2-40B4-BE49-F238E27FC236}">
                <a16:creationId xmlns:a16="http://schemas.microsoft.com/office/drawing/2014/main" id="{7C5A9BF3-BFFB-47B3-9249-747BB92A4A7D}"/>
              </a:ext>
            </a:extLst>
          </p:cNvPr>
          <p:cNvSpPr>
            <a:spLocks noGrp="1"/>
          </p:cNvSpPr>
          <p:nvPr>
            <p:ph idx="1"/>
          </p:nvPr>
        </p:nvSpPr>
        <p:spPr>
          <a:xfrm>
            <a:off x="372979" y="936220"/>
            <a:ext cx="11446042" cy="977432"/>
          </a:xfrm>
        </p:spPr>
        <p:txBody>
          <a:bodyPr>
            <a:normAutofit/>
          </a:bodyPr>
          <a:lstStyle/>
          <a:p>
            <a:pPr marL="0" indent="0">
              <a:buNone/>
            </a:pPr>
            <a:r>
              <a:rPr lang="en-US" sz="1800" dirty="0">
                <a:latin typeface="Segoe UI" panose="020B0502040204020203" pitchFamily="34" charset="0"/>
                <a:cs typeface="Segoe UI" panose="020B0502040204020203" pitchFamily="34" charset="0"/>
              </a:rPr>
              <a:t>The Airband COVID response is aligned to our initiative model, consisting of two channels: programmatic actions, and policy actions. Both channels are </a:t>
            </a:r>
            <a:r>
              <a:rPr lang="en-US" sz="1800" b="1" dirty="0">
                <a:latin typeface="Segoe UI" panose="020B0502040204020203" pitchFamily="34" charset="0"/>
                <a:cs typeface="Segoe UI" panose="020B0502040204020203" pitchFamily="34" charset="0"/>
              </a:rPr>
              <a:t>for, with, and through our existing partnerships</a:t>
            </a:r>
            <a:r>
              <a:rPr lang="en-US" sz="1800" dirty="0">
                <a:latin typeface="Segoe UI" panose="020B0502040204020203" pitchFamily="34" charset="0"/>
                <a:cs typeface="Segoe UI" panose="020B0502040204020203" pitchFamily="34" charset="0"/>
              </a:rPr>
              <a:t>. A </a:t>
            </a:r>
            <a:r>
              <a:rPr lang="en-US" sz="1800" dirty="0">
                <a:latin typeface="Segoe UI" panose="020B0502040204020203" pitchFamily="34" charset="0"/>
                <a:cs typeface="Segoe UI" panose="020B0502040204020203" pitchFamily="34" charset="0"/>
                <a:hlinkClick r:id="rId3"/>
              </a:rPr>
              <a:t>customer-ready document</a:t>
            </a:r>
            <a:r>
              <a:rPr lang="en-US" sz="1800" dirty="0">
                <a:latin typeface="Segoe UI" panose="020B0502040204020203" pitchFamily="34" charset="0"/>
                <a:cs typeface="Segoe UI" panose="020B0502040204020203" pitchFamily="34" charset="0"/>
              </a:rPr>
              <a:t> provides more detail.</a:t>
            </a:r>
          </a:p>
        </p:txBody>
      </p:sp>
      <p:graphicFrame>
        <p:nvGraphicFramePr>
          <p:cNvPr id="5" name="Table 16">
            <a:extLst>
              <a:ext uri="{FF2B5EF4-FFF2-40B4-BE49-F238E27FC236}">
                <a16:creationId xmlns:a16="http://schemas.microsoft.com/office/drawing/2014/main" id="{E6AC0172-0862-49F5-ACB3-8BE92337540B}"/>
              </a:ext>
            </a:extLst>
          </p:cNvPr>
          <p:cNvGraphicFramePr>
            <a:graphicFrameLocks noGrp="1"/>
          </p:cNvGraphicFramePr>
          <p:nvPr>
            <p:extLst>
              <p:ext uri="{D42A27DB-BD31-4B8C-83A1-F6EECF244321}">
                <p14:modId xmlns:p14="http://schemas.microsoft.com/office/powerpoint/2010/main" val="3837846056"/>
              </p:ext>
            </p:extLst>
          </p:nvPr>
        </p:nvGraphicFramePr>
        <p:xfrm>
          <a:off x="372979" y="1833644"/>
          <a:ext cx="11446042" cy="4478020"/>
        </p:xfrm>
        <a:graphic>
          <a:graphicData uri="http://schemas.openxmlformats.org/drawingml/2006/table">
            <a:tbl>
              <a:tblPr firstRow="1" bandRow="1">
                <a:tableStyleId>{85BE263C-DBD7-4A20-BB59-AAB30ACAA65A}</a:tableStyleId>
              </a:tblPr>
              <a:tblGrid>
                <a:gridCol w="5510463">
                  <a:extLst>
                    <a:ext uri="{9D8B030D-6E8A-4147-A177-3AD203B41FA5}">
                      <a16:colId xmlns:a16="http://schemas.microsoft.com/office/drawing/2014/main" val="513566813"/>
                    </a:ext>
                  </a:extLst>
                </a:gridCol>
                <a:gridCol w="5935579">
                  <a:extLst>
                    <a:ext uri="{9D8B030D-6E8A-4147-A177-3AD203B41FA5}">
                      <a16:colId xmlns:a16="http://schemas.microsoft.com/office/drawing/2014/main" val="3494249975"/>
                    </a:ext>
                  </a:extLst>
                </a:gridCol>
              </a:tblGrid>
              <a:tr h="370840">
                <a:tc>
                  <a:txBody>
                    <a:bodyPr/>
                    <a:lstStyle/>
                    <a:p>
                      <a:r>
                        <a:rPr lang="en-US">
                          <a:latin typeface="Segoe UI" panose="020B0502040204020203" pitchFamily="34" charset="0"/>
                          <a:cs typeface="Segoe UI" panose="020B0502040204020203" pitchFamily="34" charset="0"/>
                        </a:rPr>
                        <a:t>Programmatic actions</a:t>
                      </a:r>
                    </a:p>
                  </a:txBody>
                  <a:tcPr/>
                </a:tc>
                <a:tc>
                  <a:txBody>
                    <a:bodyPr/>
                    <a:lstStyle/>
                    <a:p>
                      <a:r>
                        <a:rPr lang="en-US">
                          <a:latin typeface="Segoe UI" panose="020B0502040204020203" pitchFamily="34" charset="0"/>
                          <a:cs typeface="Segoe UI" panose="020B0502040204020203" pitchFamily="34" charset="0"/>
                        </a:rPr>
                        <a:t>Policy actions</a:t>
                      </a:r>
                    </a:p>
                  </a:txBody>
                  <a:tcPr/>
                </a:tc>
                <a:extLst>
                  <a:ext uri="{0D108BD9-81ED-4DB2-BD59-A6C34878D82A}">
                    <a16:rowId xmlns:a16="http://schemas.microsoft.com/office/drawing/2014/main" val="4203557588"/>
                  </a:ext>
                </a:extLst>
              </a:tr>
              <a:tr h="370840">
                <a:tc>
                  <a:txBody>
                    <a:bodyPr/>
                    <a:lstStyle/>
                    <a:p>
                      <a:pPr marL="285750" indent="-285750">
                        <a:buFont typeface="Arial" panose="020B0604020202020204" pitchFamily="34" charset="0"/>
                        <a:buChar char="•"/>
                      </a:pPr>
                      <a:r>
                        <a:rPr lang="en-US" sz="1550" b="1" dirty="0">
                          <a:solidFill>
                            <a:schemeClr val="tx1"/>
                          </a:solidFill>
                          <a:latin typeface="Segoe UI" panose="020B0502040204020203" pitchFamily="34" charset="0"/>
                          <a:cs typeface="Segoe UI" panose="020B0502040204020203" pitchFamily="34" charset="0"/>
                        </a:rPr>
                        <a:t>Mobilize Airband partners </a:t>
                      </a:r>
                      <a:r>
                        <a:rPr lang="en-US" sz="1550" dirty="0">
                          <a:solidFill>
                            <a:schemeClr val="tx1"/>
                          </a:solidFill>
                          <a:latin typeface="Segoe UI" panose="020B0502040204020203" pitchFamily="34" charset="0"/>
                          <a:cs typeface="Segoe UI" panose="020B0502040204020203" pitchFamily="34" charset="0"/>
                        </a:rPr>
                        <a:t>to maintain connectivity to customers financially impacted by the crisis.</a:t>
                      </a:r>
                    </a:p>
                    <a:p>
                      <a:pPr marL="0" indent="0">
                        <a:buFont typeface="Arial" panose="020B0604020202020204" pitchFamily="34" charset="0"/>
                        <a:buNone/>
                      </a:pPr>
                      <a:endParaRPr lang="en-US" sz="1550" dirty="0">
                        <a:solidFill>
                          <a:schemeClr val="tx1"/>
                        </a:solidFill>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sz="1550" dirty="0">
                          <a:solidFill>
                            <a:schemeClr val="tx1"/>
                          </a:solidFill>
                          <a:latin typeface="Segoe UI" panose="020B0502040204020203" pitchFamily="34" charset="0"/>
                          <a:cs typeface="Segoe UI" panose="020B0502040204020203" pitchFamily="34" charset="0"/>
                        </a:rPr>
                        <a:t>Support the deployment of hundreds of </a:t>
                      </a:r>
                      <a:r>
                        <a:rPr lang="en-US" sz="1550" b="1" dirty="0">
                          <a:solidFill>
                            <a:schemeClr val="tx1"/>
                          </a:solidFill>
                          <a:latin typeface="Segoe UI" panose="020B0502040204020203" pitchFamily="34" charset="0"/>
                          <a:cs typeface="Segoe UI" panose="020B0502040204020203" pitchFamily="34" charset="0"/>
                        </a:rPr>
                        <a:t>free public Wi-Fi hotspots</a:t>
                      </a:r>
                      <a:r>
                        <a:rPr lang="en-US" sz="1550" dirty="0">
                          <a:solidFill>
                            <a:schemeClr val="tx1"/>
                          </a:solidFill>
                          <a:latin typeface="Segoe UI" panose="020B0502040204020203" pitchFamily="34" charset="0"/>
                          <a:cs typeface="Segoe UI" panose="020B0502040204020203" pitchFamily="34" charset="0"/>
                        </a:rPr>
                        <a:t>. </a:t>
                      </a:r>
                    </a:p>
                    <a:p>
                      <a:pPr marL="0" indent="0">
                        <a:buFont typeface="Arial" panose="020B0604020202020204" pitchFamily="34" charset="0"/>
                        <a:buNone/>
                      </a:pPr>
                      <a:endParaRPr lang="en-US" sz="1550" dirty="0">
                        <a:solidFill>
                          <a:schemeClr val="tx1"/>
                        </a:solidFill>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sz="1550" b="0" dirty="0">
                          <a:solidFill>
                            <a:schemeClr val="tx1"/>
                          </a:solidFill>
                          <a:latin typeface="Segoe UI" panose="020B0502040204020203" pitchFamily="34" charset="0"/>
                          <a:cs typeface="Segoe UI" panose="020B0502040204020203" pitchFamily="34" charset="0"/>
                        </a:rPr>
                        <a:t>Work with Airband partners to develop </a:t>
                      </a:r>
                      <a:r>
                        <a:rPr lang="en-US" sz="1550" b="1" dirty="0">
                          <a:solidFill>
                            <a:schemeClr val="tx1"/>
                          </a:solidFill>
                          <a:latin typeface="Segoe UI" panose="020B0502040204020203" pitchFamily="34" charset="0"/>
                          <a:cs typeface="Segoe UI" panose="020B0502040204020203" pitchFamily="34" charset="0"/>
                        </a:rPr>
                        <a:t>low/no-touch installation protocols </a:t>
                      </a:r>
                      <a:r>
                        <a:rPr lang="en-US" sz="1550" b="0" dirty="0">
                          <a:solidFill>
                            <a:schemeClr val="tx1"/>
                          </a:solidFill>
                          <a:latin typeface="Segoe UI" panose="020B0502040204020203" pitchFamily="34" charset="0"/>
                          <a:cs typeface="Segoe UI" panose="020B0502040204020203" pitchFamily="34" charset="0"/>
                        </a:rPr>
                        <a:t>for socially distant service equipment installation and upgrades. </a:t>
                      </a:r>
                      <a:r>
                        <a:rPr lang="en-US" sz="1550" b="1" dirty="0">
                          <a:solidFill>
                            <a:schemeClr val="tx1"/>
                          </a:solidFill>
                          <a:latin typeface="Segoe UI" panose="020B0502040204020203" pitchFamily="34" charset="0"/>
                          <a:cs typeface="Segoe UI" panose="020B0502040204020203" pitchFamily="34" charset="0"/>
                        </a:rPr>
                        <a:t>Donate PPE </a:t>
                      </a:r>
                      <a:r>
                        <a:rPr lang="en-US" sz="1550" b="0" dirty="0">
                          <a:solidFill>
                            <a:schemeClr val="tx1"/>
                          </a:solidFill>
                          <a:latin typeface="Segoe UI" panose="020B0502040204020203" pitchFamily="34" charset="0"/>
                          <a:cs typeface="Segoe UI" panose="020B0502040204020203" pitchFamily="34" charset="0"/>
                        </a:rPr>
                        <a:t>to Airband partners. </a:t>
                      </a:r>
                    </a:p>
                    <a:p>
                      <a:pPr marL="0" indent="0">
                        <a:buFont typeface="Arial" panose="020B0604020202020204" pitchFamily="34" charset="0"/>
                        <a:buNone/>
                      </a:pPr>
                      <a:endParaRPr lang="en-US" sz="1550" b="0" dirty="0">
                        <a:solidFill>
                          <a:schemeClr val="tx1"/>
                        </a:solidFill>
                        <a:latin typeface="Segoe UI" panose="020B0502040204020203" pitchFamily="34" charset="0"/>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50" b="0" dirty="0">
                          <a:solidFill>
                            <a:schemeClr val="tx1"/>
                          </a:solidFill>
                          <a:latin typeface="Segoe UI" panose="020B0502040204020203" pitchFamily="34" charset="0"/>
                          <a:cs typeface="Segoe UI" panose="020B0502040204020203" pitchFamily="34" charset="0"/>
                        </a:rPr>
                        <a:t>Fund and procure </a:t>
                      </a:r>
                      <a:r>
                        <a:rPr lang="en-US" sz="1550" b="1" dirty="0">
                          <a:solidFill>
                            <a:schemeClr val="tx1"/>
                          </a:solidFill>
                          <a:latin typeface="Segoe UI" panose="020B0502040204020203" pitchFamily="34" charset="0"/>
                          <a:cs typeface="Segoe UI" panose="020B0502040204020203" pitchFamily="34" charset="0"/>
                        </a:rPr>
                        <a:t>Television White Space (TVWS) radios </a:t>
                      </a:r>
                      <a:r>
                        <a:rPr lang="en-US" sz="1550" dirty="0">
                          <a:solidFill>
                            <a:schemeClr val="tx1"/>
                          </a:solidFill>
                          <a:latin typeface="Segoe UI" panose="020B0502040204020203" pitchFamily="34" charset="0"/>
                          <a:cs typeface="Segoe UI" panose="020B0502040204020203" pitchFamily="34" charset="0"/>
                        </a:rPr>
                        <a:t>to enable Airband partners to deploy Wi-Fi hotspots in locations not easily reached with other technologies. </a:t>
                      </a:r>
                    </a:p>
                    <a:p>
                      <a:pPr marL="0" indent="0">
                        <a:buFont typeface="Arial" panose="020B0604020202020204" pitchFamily="34" charset="0"/>
                        <a:buNone/>
                      </a:pPr>
                      <a:endParaRPr lang="en-US" sz="1550" dirty="0">
                        <a:solidFill>
                          <a:schemeClr val="tx1"/>
                        </a:solidFill>
                        <a:latin typeface="Segoe UI" panose="020B0502040204020203" pitchFamily="34" charset="0"/>
                        <a:cs typeface="Segoe UI" panose="020B0502040204020203" pitchFamily="34" charset="0"/>
                      </a:endParaRP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50" b="1" dirty="0">
                          <a:solidFill>
                            <a:schemeClr val="tx1"/>
                          </a:solidFill>
                          <a:latin typeface="Segoe UI" panose="020B0502040204020203" pitchFamily="34" charset="0"/>
                          <a:cs typeface="Segoe UI" panose="020B0502040204020203" pitchFamily="34" charset="0"/>
                        </a:rPr>
                        <a:t>Engage in with regulators </a:t>
                      </a:r>
                      <a:r>
                        <a:rPr lang="en-US" sz="1550" dirty="0">
                          <a:solidFill>
                            <a:schemeClr val="tx1"/>
                          </a:solidFill>
                          <a:latin typeface="Segoe UI" panose="020B0502040204020203" pitchFamily="34" charset="0"/>
                          <a:cs typeface="Segoe UI" panose="020B0502040204020203" pitchFamily="34" charset="0"/>
                        </a:rPr>
                        <a:t>to provide </a:t>
                      </a:r>
                      <a:r>
                        <a:rPr lang="en-US" sz="1550" b="0" dirty="0">
                          <a:solidFill>
                            <a:schemeClr val="tx1"/>
                          </a:solidFill>
                          <a:latin typeface="Segoe UI" panose="020B0502040204020203" pitchFamily="34" charset="0"/>
                          <a:cs typeface="Segoe UI" panose="020B0502040204020203" pitchFamily="34" charset="0"/>
                        </a:rPr>
                        <a:t>funding and policy recommendations in response to the connectivity crisis</a:t>
                      </a:r>
                      <a:r>
                        <a:rPr lang="en-US" sz="1550" dirty="0">
                          <a:solidFill>
                            <a:schemeClr val="tx1"/>
                          </a:solidFill>
                          <a:latin typeface="Segoe UI" panose="020B0502040204020203" pitchFamily="34" charset="0"/>
                          <a:cs typeface="Segoe UI"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550" b="1" dirty="0">
                        <a:solidFill>
                          <a:schemeClr val="tx1"/>
                        </a:solidFill>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sz="1550" dirty="0">
                          <a:solidFill>
                            <a:schemeClr val="tx1"/>
                          </a:solidFill>
                          <a:latin typeface="Segoe UI" panose="020B0502040204020203" pitchFamily="34" charset="0"/>
                          <a:cs typeface="Segoe UI" panose="020B0502040204020203" pitchFamily="34" charset="0"/>
                        </a:rPr>
                        <a:t>Provide thought leadership around </a:t>
                      </a:r>
                      <a:r>
                        <a:rPr lang="en-US" sz="1550" b="1" dirty="0">
                          <a:solidFill>
                            <a:schemeClr val="tx1"/>
                          </a:solidFill>
                          <a:latin typeface="Segoe UI" panose="020B0502040204020203" pitchFamily="34" charset="0"/>
                          <a:cs typeface="Segoe UI" panose="020B0502040204020203" pitchFamily="34" charset="0"/>
                        </a:rPr>
                        <a:t>legislative solutions </a:t>
                      </a:r>
                      <a:r>
                        <a:rPr lang="en-US" sz="1550" b="0" dirty="0">
                          <a:solidFill>
                            <a:schemeClr val="tx1"/>
                          </a:solidFill>
                          <a:latin typeface="Segoe UI" panose="020B0502040204020203" pitchFamily="34" charset="0"/>
                          <a:cs typeface="Segoe UI" panose="020B0502040204020203" pitchFamily="34" charset="0"/>
                        </a:rPr>
                        <a:t>directed toward </a:t>
                      </a:r>
                      <a:r>
                        <a:rPr lang="en-US" sz="1550" dirty="0">
                          <a:solidFill>
                            <a:schemeClr val="tx1"/>
                          </a:solidFill>
                          <a:latin typeface="Segoe UI" panose="020B0502040204020203" pitchFamily="34" charset="0"/>
                          <a:cs typeface="Segoe UI" panose="020B0502040204020203" pitchFamily="34" charset="0"/>
                        </a:rPr>
                        <a:t>enabling connectivity for students, telehealth, and maintaining broadband connectivity for people facing COVID-related economic hardships.</a:t>
                      </a:r>
                    </a:p>
                    <a:p>
                      <a:pPr marL="0" indent="0">
                        <a:buFont typeface="Arial" panose="020B0604020202020204" pitchFamily="34" charset="0"/>
                        <a:buNone/>
                      </a:pPr>
                      <a:endParaRPr lang="en-US" sz="1550" dirty="0">
                        <a:solidFill>
                          <a:schemeClr val="tx1"/>
                        </a:solidFill>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sz="1550" b="0" dirty="0">
                          <a:solidFill>
                            <a:schemeClr val="tx1"/>
                          </a:solidFill>
                          <a:latin typeface="Segoe UI" panose="020B0502040204020203" pitchFamily="34" charset="0"/>
                          <a:cs typeface="Segoe UI" panose="020B0502040204020203" pitchFamily="34" charset="0"/>
                        </a:rPr>
                        <a:t>Advocate for </a:t>
                      </a:r>
                      <a:r>
                        <a:rPr lang="en-US" sz="1550" b="1" dirty="0">
                          <a:solidFill>
                            <a:schemeClr val="tx1"/>
                          </a:solidFill>
                          <a:latin typeface="Segoe UI" panose="020B0502040204020203" pitchFamily="34" charset="0"/>
                          <a:cs typeface="Segoe UI" panose="020B0502040204020203" pitchFamily="34" charset="0"/>
                        </a:rPr>
                        <a:t>state and local governments </a:t>
                      </a:r>
                      <a:r>
                        <a:rPr lang="en-US" sz="1550" dirty="0">
                          <a:solidFill>
                            <a:schemeClr val="tx1"/>
                          </a:solidFill>
                          <a:latin typeface="Segoe UI" panose="020B0502040204020203" pitchFamily="34" charset="0"/>
                          <a:cs typeface="Segoe UI" panose="020B0502040204020203" pitchFamily="34" charset="0"/>
                        </a:rPr>
                        <a:t>to remove blockers and accelerate permitting processes to eliminate delays in broadband infrastructure construction.</a:t>
                      </a:r>
                    </a:p>
                    <a:p>
                      <a:pPr marL="0" indent="0">
                        <a:buFont typeface="Arial" panose="020B0604020202020204" pitchFamily="34" charset="0"/>
                        <a:buNone/>
                      </a:pPr>
                      <a:endParaRPr lang="en-US" sz="1550" dirty="0">
                        <a:solidFill>
                          <a:schemeClr val="tx1"/>
                        </a:solidFill>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sz="1550" b="0" dirty="0">
                          <a:solidFill>
                            <a:schemeClr val="tx1"/>
                          </a:solidFill>
                          <a:latin typeface="Segoe UI" panose="020B0502040204020203" pitchFamily="34" charset="0"/>
                          <a:cs typeface="Segoe UI" panose="020B0502040204020203" pitchFamily="34" charset="0"/>
                        </a:rPr>
                        <a:t>In response to the rapidly-evolving government funding landscape, </a:t>
                      </a:r>
                      <a:r>
                        <a:rPr lang="en-US" sz="1550" b="1" dirty="0">
                          <a:solidFill>
                            <a:schemeClr val="tx1"/>
                          </a:solidFill>
                          <a:latin typeface="Segoe UI" panose="020B0502040204020203" pitchFamily="34" charset="0"/>
                          <a:cs typeface="Segoe UI" panose="020B0502040204020203" pitchFamily="34" charset="0"/>
                        </a:rPr>
                        <a:t>support our partners as they seek national funding for rapid rural broadband deployments</a:t>
                      </a:r>
                      <a:r>
                        <a:rPr lang="en-US" sz="1550" b="0" dirty="0">
                          <a:solidFill>
                            <a:schemeClr val="tx1"/>
                          </a:solidFill>
                          <a:latin typeface="Segoe UI" panose="020B0502040204020203" pitchFamily="34" charset="0"/>
                          <a:cs typeface="Segoe UI" panose="020B0502040204020203" pitchFamily="34" charset="0"/>
                        </a:rPr>
                        <a:t>, in support of telemedicine and distance learning in rural communities. </a:t>
                      </a:r>
                    </a:p>
                    <a:p>
                      <a:pPr marL="0" indent="0">
                        <a:buFont typeface="Arial" panose="020B0604020202020204" pitchFamily="34" charset="0"/>
                        <a:buNone/>
                      </a:pPr>
                      <a:endParaRPr lang="en-US" sz="1550" dirty="0">
                        <a:solidFill>
                          <a:schemeClr val="tx1"/>
                        </a:solidFill>
                        <a:latin typeface="Segoe UI" panose="020B0502040204020203" pitchFamily="34" charset="0"/>
                        <a:cs typeface="Segoe UI" panose="020B0502040204020203" pitchFamily="34" charset="0"/>
                      </a:endParaRPr>
                    </a:p>
                  </a:txBody>
                  <a:tcPr/>
                </a:tc>
                <a:extLst>
                  <a:ext uri="{0D108BD9-81ED-4DB2-BD59-A6C34878D82A}">
                    <a16:rowId xmlns:a16="http://schemas.microsoft.com/office/drawing/2014/main" val="216670085"/>
                  </a:ext>
                </a:extLst>
              </a:tr>
            </a:tbl>
          </a:graphicData>
        </a:graphic>
      </p:graphicFrame>
    </p:spTree>
    <p:extLst>
      <p:ext uri="{BB962C8B-B14F-4D97-AF65-F5344CB8AC3E}">
        <p14:creationId xmlns:p14="http://schemas.microsoft.com/office/powerpoint/2010/main" val="28708084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A226F88-C529-40BC-BB11-6773DBD3A7EB}"/>
              </a:ext>
            </a:extLst>
          </p:cNvPr>
          <p:cNvSpPr>
            <a:spLocks noGrp="1"/>
          </p:cNvSpPr>
          <p:nvPr>
            <p:ph idx="1"/>
          </p:nvPr>
        </p:nvSpPr>
        <p:spPr>
          <a:xfrm>
            <a:off x="381001" y="1274300"/>
            <a:ext cx="11182642" cy="5489575"/>
          </a:xfrm>
        </p:spPr>
        <p:txBody>
          <a:bodyPr>
            <a:normAutofit/>
          </a:bodyPr>
          <a:lstStyle/>
          <a:p>
            <a:pPr marL="342900" marR="0" lvl="0" indent="-342900">
              <a:spcBef>
                <a:spcPts val="0"/>
              </a:spcBef>
              <a:spcAft>
                <a:spcPts val="0"/>
              </a:spcAft>
              <a:buFont typeface="Symbol" panose="05050102010706020507" pitchFamily="18" charset="2"/>
              <a:buChar char=""/>
            </a:pPr>
            <a:r>
              <a:rPr lang="en-US" sz="1800" b="1" dirty="0">
                <a:effectLst/>
                <a:latin typeface="Segoe UI" panose="020B0502040204020203" pitchFamily="34" charset="0"/>
                <a:ea typeface="Times New Roman" panose="02020603050405020304" pitchFamily="18" charset="0"/>
              </a:rPr>
              <a:t>Sell Through Member Based Organizations</a:t>
            </a:r>
            <a:r>
              <a:rPr lang="en-US" sz="1800" dirty="0">
                <a:effectLst/>
                <a:latin typeface="Segoe UI" panose="020B0502040204020203" pitchFamily="34" charset="0"/>
                <a:ea typeface="Times New Roman" panose="02020603050405020304" pitchFamily="18" charset="0"/>
              </a:rPr>
              <a:t> – Airband is partnering with a large corporation and the members of their cooperative.  An Airband ISP will deploy a network and sell broadband services through these coop members to business and residential customers in rural unserved markets.  </a:t>
            </a:r>
            <a:endParaRPr lang="en-US" sz="1800" dirty="0">
              <a:effectLst/>
              <a:latin typeface="Times New Roman" panose="02020603050405020304" pitchFamily="18" charset="0"/>
              <a:ea typeface="Times New Roman" panose="02020603050405020304" pitchFamily="18" charset="0"/>
            </a:endParaRPr>
          </a:p>
          <a:p>
            <a:pPr marL="0" marR="0" indent="0">
              <a:spcBef>
                <a:spcPts val="0"/>
              </a:spcBef>
              <a:spcAft>
                <a:spcPts val="0"/>
              </a:spcAft>
              <a:buNone/>
            </a:pPr>
            <a:endParaRPr lang="en-US" sz="1800" dirty="0">
              <a:effectLst/>
              <a:latin typeface="Times New Roman" panose="02020603050405020304" pitchFamily="18" charset="0"/>
              <a:ea typeface="Times New Roman" panose="02020603050405020304" pitchFamily="18" charset="0"/>
            </a:endParaRPr>
          </a:p>
          <a:p>
            <a:pPr marL="342900" marR="0" lvl="0" indent="-342900" fontAlgn="ctr">
              <a:lnSpc>
                <a:spcPct val="107000"/>
              </a:lnSpc>
              <a:spcBef>
                <a:spcPts val="0"/>
              </a:spcBef>
              <a:spcAft>
                <a:spcPts val="0"/>
              </a:spcAft>
              <a:buFont typeface="Symbol" panose="05050102010706020507" pitchFamily="18" charset="2"/>
              <a:buChar char=""/>
            </a:pPr>
            <a:r>
              <a:rPr lang="en-US" sz="1800" b="1" dirty="0">
                <a:effectLst/>
                <a:latin typeface="Segoe UI" panose="020B0502040204020203" pitchFamily="34" charset="0"/>
                <a:ea typeface="Calibri" panose="020F0502020204030204" pitchFamily="34" charset="0"/>
                <a:cs typeface="Times New Roman" panose="02020603050405020304" pitchFamily="18" charset="0"/>
              </a:rPr>
              <a:t>Public Library Association / Nebraska </a:t>
            </a:r>
            <a:r>
              <a:rPr lang="en-US" sz="1800" dirty="0">
                <a:effectLst/>
                <a:latin typeface="Segoe UI" panose="020B0502040204020203" pitchFamily="34" charset="0"/>
                <a:ea typeface="Calibri" panose="020F0502020204030204" pitchFamily="34" charset="0"/>
                <a:cs typeface="Times New Roman" panose="02020603050405020304" pitchFamily="18" charset="0"/>
              </a:rPr>
              <a:t>– The Public Library Association and the State of Nebraska have independently initiated projects to use anchor institutions (libraries or schools) who have access to fiber connectivity as broadband hubs. Community members would use fixed wireless access (FWA) to wirelessly connect to these anchor institutions to bring broadband access to people without additional infrastructure.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pPr>
            <a:r>
              <a:rPr lang="en-US" sz="1800" dirty="0">
                <a:effectLst/>
                <a:latin typeface="Segoe UI" panose="020B0502040204020203" pitchFamily="34" charset="0"/>
                <a:ea typeface="Times New Roman" panose="02020603050405020304" pitchFamily="18" charset="0"/>
              </a:rPr>
              <a:t> </a:t>
            </a:r>
            <a:endParaRPr lang="en-US" sz="18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800" b="1" dirty="0">
                <a:effectLst/>
                <a:latin typeface="Segoe UI" panose="020B0502040204020203" pitchFamily="34" charset="0"/>
                <a:ea typeface="Times New Roman" panose="02020603050405020304" pitchFamily="18" charset="0"/>
              </a:rPr>
              <a:t>Broadband &amp; Device Bundle for Students </a:t>
            </a:r>
            <a:r>
              <a:rPr lang="en-US" sz="1800" dirty="0">
                <a:effectLst/>
                <a:latin typeface="Segoe UI" panose="020B0502040204020203" pitchFamily="34" charset="0"/>
                <a:ea typeface="Times New Roman" panose="02020603050405020304" pitchFamily="18" charset="0"/>
              </a:rPr>
              <a:t>– Sell through the community college Airband is coordinating a partnership with an ISP and local device reseller to deliver a bundle of internet access and a device for their students.  </a:t>
            </a:r>
            <a:endParaRPr lang="en-US" sz="1800" dirty="0">
              <a:effectLst/>
              <a:latin typeface="Times New Roman" panose="02020603050405020304" pitchFamily="18" charset="0"/>
              <a:ea typeface="Times New Roman" panose="02020603050405020304" pitchFamily="18" charset="0"/>
            </a:endParaRPr>
          </a:p>
          <a:p>
            <a:pPr marL="0" marR="0" indent="0">
              <a:spcBef>
                <a:spcPts val="0"/>
              </a:spcBef>
              <a:spcAft>
                <a:spcPts val="0"/>
              </a:spcAft>
              <a:buNone/>
            </a:pPr>
            <a:endParaRPr lang="en-US" sz="1800" dirty="0">
              <a:effectLst/>
              <a:latin typeface="Times New Roman" panose="02020603050405020304" pitchFamily="18" charset="0"/>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800" b="1" dirty="0">
                <a:effectLst/>
                <a:latin typeface="Segoe UI" panose="020B0502040204020203" pitchFamily="34" charset="0"/>
                <a:ea typeface="Times New Roman" panose="02020603050405020304" pitchFamily="18" charset="0"/>
              </a:rPr>
              <a:t>Statewide Remote Learning RFP </a:t>
            </a:r>
            <a:r>
              <a:rPr lang="en-US" sz="1800" dirty="0">
                <a:effectLst/>
                <a:latin typeface="Segoe UI" panose="020B0502040204020203" pitchFamily="34" charset="0"/>
                <a:ea typeface="Times New Roman" panose="02020603050405020304" pitchFamily="18" charset="0"/>
              </a:rPr>
              <a:t>– States can use these Education Stabilization funds for remote learning and this may include broadband, devices and software.  One state has issued an RFP for broadband, a virtual private network and devices and Airband can respond through a partnership with an Airband ISP and the Microsoft Store or a local device / software reseller.</a:t>
            </a:r>
            <a:endParaRPr lang="en-US" sz="1800" dirty="0">
              <a:effectLst/>
              <a:latin typeface="Times New Roman" panose="02020603050405020304" pitchFamily="18" charset="0"/>
              <a:ea typeface="Times New Roman" panose="02020603050405020304" pitchFamily="18" charset="0"/>
            </a:endParaRPr>
          </a:p>
        </p:txBody>
      </p:sp>
      <p:sp>
        <p:nvSpPr>
          <p:cNvPr id="2" name="Title 1">
            <a:extLst>
              <a:ext uri="{FF2B5EF4-FFF2-40B4-BE49-F238E27FC236}">
                <a16:creationId xmlns:a16="http://schemas.microsoft.com/office/drawing/2014/main" id="{C099B0F1-823D-4A1B-A647-B117321A40FE}"/>
              </a:ext>
            </a:extLst>
          </p:cNvPr>
          <p:cNvSpPr>
            <a:spLocks noGrp="1"/>
          </p:cNvSpPr>
          <p:nvPr>
            <p:ph type="title"/>
          </p:nvPr>
        </p:nvSpPr>
        <p:spPr>
          <a:xfrm>
            <a:off x="438634" y="457200"/>
            <a:ext cx="11018520" cy="553998"/>
          </a:xfrm>
        </p:spPr>
        <p:txBody>
          <a:bodyPr/>
          <a:lstStyle/>
          <a:p>
            <a:r>
              <a:rPr lang="en-US" dirty="0"/>
              <a:t>Innovative State Examples</a:t>
            </a:r>
          </a:p>
        </p:txBody>
      </p:sp>
    </p:spTree>
    <p:extLst>
      <p:ext uri="{BB962C8B-B14F-4D97-AF65-F5344CB8AC3E}">
        <p14:creationId xmlns:p14="http://schemas.microsoft.com/office/powerpoint/2010/main" val="14066788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B80AF0-9A64-4C51-8977-872185B38694}"/>
              </a:ext>
            </a:extLst>
          </p:cNvPr>
          <p:cNvSpPr>
            <a:spLocks noGrp="1"/>
          </p:cNvSpPr>
          <p:nvPr>
            <p:ph type="title"/>
          </p:nvPr>
        </p:nvSpPr>
        <p:spPr/>
        <p:txBody>
          <a:bodyPr/>
          <a:lstStyle/>
          <a:p>
            <a:r>
              <a:rPr lang="en-US" dirty="0"/>
              <a:t>Asks</a:t>
            </a:r>
          </a:p>
        </p:txBody>
      </p:sp>
      <p:sp>
        <p:nvSpPr>
          <p:cNvPr id="3" name="Content Placeholder 2">
            <a:extLst>
              <a:ext uri="{FF2B5EF4-FFF2-40B4-BE49-F238E27FC236}">
                <a16:creationId xmlns:a16="http://schemas.microsoft.com/office/drawing/2014/main" id="{C8BBB891-65C2-4D07-998C-9E8EC4CA9654}"/>
              </a:ext>
            </a:extLst>
          </p:cNvPr>
          <p:cNvSpPr>
            <a:spLocks noGrp="1"/>
          </p:cNvSpPr>
          <p:nvPr>
            <p:ph idx="1"/>
          </p:nvPr>
        </p:nvSpPr>
        <p:spPr>
          <a:xfrm>
            <a:off x="584200" y="1435503"/>
            <a:ext cx="4942541" cy="1465016"/>
          </a:xfrm>
        </p:spPr>
        <p:txBody>
          <a:bodyPr/>
          <a:lstStyle/>
          <a:p>
            <a:r>
              <a:rPr lang="en-US" dirty="0"/>
              <a:t>Identify an ISP for Airband partnership</a:t>
            </a:r>
          </a:p>
          <a:p>
            <a:r>
              <a:rPr lang="en-US" dirty="0"/>
              <a:t>Extend skills for employability offerings</a:t>
            </a:r>
          </a:p>
          <a:p>
            <a:r>
              <a:rPr lang="en-US" dirty="0"/>
              <a:t>Consider innovative solutions</a:t>
            </a:r>
          </a:p>
        </p:txBody>
      </p:sp>
      <p:pic>
        <p:nvPicPr>
          <p:cNvPr id="11" name="Picture 10" descr="Image of rural Vermont.">
            <a:extLst>
              <a:ext uri="{FF2B5EF4-FFF2-40B4-BE49-F238E27FC236}">
                <a16:creationId xmlns:a16="http://schemas.microsoft.com/office/drawing/2014/main" id="{61CCAEFD-0F86-461C-B031-EDD7E8FB2D7B}"/>
              </a:ext>
            </a:extLst>
          </p:cNvPr>
          <p:cNvPicPr>
            <a:picLocks noChangeAspect="1"/>
          </p:cNvPicPr>
          <p:nvPr/>
        </p:nvPicPr>
        <p:blipFill rotWithShape="1">
          <a:blip r:embed="rId2"/>
          <a:srcRect r="6064"/>
          <a:stretch/>
        </p:blipFill>
        <p:spPr>
          <a:xfrm>
            <a:off x="5584289" y="0"/>
            <a:ext cx="6607711" cy="6858000"/>
          </a:xfrm>
          <a:prstGeom prst="rect">
            <a:avLst/>
          </a:prstGeom>
        </p:spPr>
      </p:pic>
    </p:spTree>
    <p:extLst>
      <p:ext uri="{BB962C8B-B14F-4D97-AF65-F5344CB8AC3E}">
        <p14:creationId xmlns:p14="http://schemas.microsoft.com/office/powerpoint/2010/main" val="4714419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view of a mountain&#10;&#10;Description automatically generated">
            <a:extLst>
              <a:ext uri="{FF2B5EF4-FFF2-40B4-BE49-F238E27FC236}">
                <a16:creationId xmlns:a16="http://schemas.microsoft.com/office/drawing/2014/main" id="{285F2A9F-31AA-44DB-96BD-5881FF5A177E}"/>
              </a:ext>
            </a:extLst>
          </p:cNvPr>
          <p:cNvPicPr>
            <a:picLocks noChangeAspect="1"/>
          </p:cNvPicPr>
          <p:nvPr/>
        </p:nvPicPr>
        <p:blipFill rotWithShape="1">
          <a:blip r:embed="rId2">
            <a:extLst>
              <a:ext uri="{28A0092B-C50C-407E-A947-70E740481C1C}">
                <a14:useLocalDpi xmlns:a14="http://schemas.microsoft.com/office/drawing/2010/main" val="0"/>
              </a:ext>
            </a:extLst>
          </a:blip>
          <a:srcRect l="1" t="8097" r="711" b="8097"/>
          <a:stretch/>
        </p:blipFill>
        <p:spPr>
          <a:xfrm>
            <a:off x="1" y="0"/>
            <a:ext cx="12192000" cy="6858000"/>
          </a:xfrm>
          <a:prstGeom prst="rect">
            <a:avLst/>
          </a:prstGeom>
        </p:spPr>
      </p:pic>
      <p:sp>
        <p:nvSpPr>
          <p:cNvPr id="4" name="Title 3">
            <a:extLst>
              <a:ext uri="{FF2B5EF4-FFF2-40B4-BE49-F238E27FC236}">
                <a16:creationId xmlns:a16="http://schemas.microsoft.com/office/drawing/2014/main" id="{6D59FCB2-7DC5-4DDF-895D-CA586B847CC8}"/>
              </a:ext>
            </a:extLst>
          </p:cNvPr>
          <p:cNvSpPr>
            <a:spLocks noGrp="1"/>
          </p:cNvSpPr>
          <p:nvPr>
            <p:ph type="title"/>
          </p:nvPr>
        </p:nvSpPr>
        <p:spPr>
          <a:xfrm>
            <a:off x="586740" y="4879345"/>
            <a:ext cx="11018520" cy="1107996"/>
          </a:xfrm>
        </p:spPr>
        <p:txBody>
          <a:bodyPr/>
          <a:lstStyle/>
          <a:p>
            <a:r>
              <a:rPr lang="en-US" dirty="0">
                <a:solidFill>
                  <a:schemeClr val="bg1"/>
                </a:solidFill>
              </a:rPr>
              <a:t>To learn more, visit </a:t>
            </a:r>
            <a:r>
              <a:rPr lang="en-US" dirty="0"/>
              <a:t/>
            </a:r>
            <a:br>
              <a:rPr lang="en-US" dirty="0"/>
            </a:br>
            <a:r>
              <a:rPr lang="en-US" u="sng" dirty="0"/>
              <a:t>microsoft.com/</a:t>
            </a:r>
            <a:r>
              <a:rPr lang="en-US" u="sng" dirty="0" err="1"/>
              <a:t>airband</a:t>
            </a:r>
            <a:r>
              <a:rPr lang="en-US" u="sng" dirty="0"/>
              <a:t> </a:t>
            </a:r>
            <a:r>
              <a:rPr lang="en-US" dirty="0"/>
              <a:t> </a:t>
            </a:r>
          </a:p>
        </p:txBody>
      </p:sp>
    </p:spTree>
    <p:extLst>
      <p:ext uri="{BB962C8B-B14F-4D97-AF65-F5344CB8AC3E}">
        <p14:creationId xmlns:p14="http://schemas.microsoft.com/office/powerpoint/2010/main" val="206809789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7DB18A8-B1DF-4DDC-B353-C538BDBB8655}"/>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109764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9B0F1-823D-4A1B-A647-B117321A40FE}"/>
              </a:ext>
            </a:extLst>
          </p:cNvPr>
          <p:cNvSpPr>
            <a:spLocks noGrp="1"/>
          </p:cNvSpPr>
          <p:nvPr>
            <p:ph type="title"/>
          </p:nvPr>
        </p:nvSpPr>
        <p:spPr>
          <a:xfrm>
            <a:off x="438634" y="457200"/>
            <a:ext cx="11018520" cy="553998"/>
          </a:xfrm>
        </p:spPr>
        <p:txBody>
          <a:bodyPr/>
          <a:lstStyle/>
          <a:p>
            <a:r>
              <a:rPr lang="en-US" dirty="0"/>
              <a:t>Airband COVID Response: Policy Recommendations</a:t>
            </a:r>
          </a:p>
        </p:txBody>
      </p:sp>
      <p:sp>
        <p:nvSpPr>
          <p:cNvPr id="12" name="TextBox 11">
            <a:extLst>
              <a:ext uri="{FF2B5EF4-FFF2-40B4-BE49-F238E27FC236}">
                <a16:creationId xmlns:a16="http://schemas.microsoft.com/office/drawing/2014/main" id="{D6A3B798-DE19-45B5-8667-3B0EF9E54825}"/>
              </a:ext>
            </a:extLst>
          </p:cNvPr>
          <p:cNvSpPr txBox="1"/>
          <p:nvPr/>
        </p:nvSpPr>
        <p:spPr>
          <a:xfrm>
            <a:off x="342900" y="1113002"/>
            <a:ext cx="11018519" cy="830997"/>
          </a:xfrm>
          <a:prstGeom prst="rect">
            <a:avLst/>
          </a:prstGeom>
          <a:noFill/>
        </p:spPr>
        <p:txBody>
          <a:bodyPr wrap="square">
            <a:spAutoFit/>
          </a:bodyPr>
          <a:lstStyle/>
          <a:p>
            <a:r>
              <a:rPr lang="en-US" sz="1600" dirty="0"/>
              <a:t>From its inception, the Airband Initiative has focused on both programmatic and policy solutions to the rural broadband gap. Federal, state, and local governments can move quickly to release funding and remove policy roadblocks to serving more rural Americans faster. Key examples include:</a:t>
            </a:r>
          </a:p>
        </p:txBody>
      </p:sp>
      <p:sp>
        <p:nvSpPr>
          <p:cNvPr id="14" name="TextBox 13">
            <a:extLst>
              <a:ext uri="{FF2B5EF4-FFF2-40B4-BE49-F238E27FC236}">
                <a16:creationId xmlns:a16="http://schemas.microsoft.com/office/drawing/2014/main" id="{BCB45A5C-C526-476F-BCA5-F31098519A3E}"/>
              </a:ext>
            </a:extLst>
          </p:cNvPr>
          <p:cNvSpPr txBox="1"/>
          <p:nvPr/>
        </p:nvSpPr>
        <p:spPr>
          <a:xfrm>
            <a:off x="853631" y="2296343"/>
            <a:ext cx="10863619" cy="4370427"/>
          </a:xfrm>
          <a:prstGeom prst="rect">
            <a:avLst/>
          </a:prstGeom>
          <a:noFill/>
        </p:spPr>
        <p:txBody>
          <a:bodyPr wrap="square">
            <a:spAutoFit/>
          </a:bodyPr>
          <a:lstStyle/>
          <a:p>
            <a:r>
              <a:rPr lang="en-US" sz="1600" b="1" dirty="0"/>
              <a:t>Congress</a:t>
            </a:r>
            <a:r>
              <a:rPr lang="en-US" sz="1600" dirty="0"/>
              <a:t> We are calling on Congress to provide special, time-limited funding appropriations to address urgent needs, including establishing connectivity for students lacking broadband at home and maintaining broadband connections for people facing economic hardships as a result of COVID-19.</a:t>
            </a:r>
          </a:p>
          <a:p>
            <a:endParaRPr lang="en-US" sz="1600" dirty="0"/>
          </a:p>
          <a:p>
            <a:r>
              <a:rPr lang="en-US" sz="1600" b="1" dirty="0"/>
              <a:t>FCC</a:t>
            </a:r>
            <a:r>
              <a:rPr lang="en-US" sz="1600" dirty="0"/>
              <a:t> We have provided specific proposals to the FCC for short and longer-term actions to leverage the Federal Universal Service Fund (USF) Programs and make spectrum policy changes. For example, we have called on the FCC to grant our </a:t>
            </a:r>
            <a:r>
              <a:rPr lang="en-US" sz="1600" dirty="0">
                <a:hlinkClick r:id="rId3"/>
              </a:rPr>
              <a:t>long-standing petition </a:t>
            </a:r>
            <a:r>
              <a:rPr lang="en-US" sz="1600" dirty="0"/>
              <a:t>clarifying that schools can wirelessly extend E-Rate-subsidized connections to students at home.</a:t>
            </a:r>
          </a:p>
          <a:p>
            <a:endParaRPr lang="en-US" sz="1600" dirty="0"/>
          </a:p>
          <a:p>
            <a:r>
              <a:rPr lang="en-US" sz="1600" b="1" dirty="0"/>
              <a:t>Other federal agencies</a:t>
            </a:r>
            <a:r>
              <a:rPr lang="en-US" sz="1600" dirty="0"/>
              <a:t> We call on the United States Department of Agriculture (USDA) to make swift revisions to the </a:t>
            </a:r>
            <a:r>
              <a:rPr lang="en-US" sz="1600" dirty="0" err="1">
                <a:hlinkClick r:id="rId4"/>
              </a:rPr>
              <a:t>ReConnect</a:t>
            </a:r>
            <a:r>
              <a:rPr lang="en-US" sz="1600" dirty="0"/>
              <a:t> program and other </a:t>
            </a:r>
            <a:r>
              <a:rPr lang="en-US" sz="1600" dirty="0" err="1"/>
              <a:t>broadbandfocused</a:t>
            </a:r>
            <a:r>
              <a:rPr lang="en-US" sz="1600" dirty="0"/>
              <a:t> initiatives to promote broader participation, including the creation of </a:t>
            </a:r>
            <a:r>
              <a:rPr lang="en-US" sz="1600" dirty="0" err="1"/>
              <a:t>shortterm</a:t>
            </a:r>
            <a:r>
              <a:rPr lang="en-US" sz="1600" dirty="0"/>
              <a:t> emergency funding. We encourage the Bureau of Indian Affairs (BIA) to fast-track tribal broadband accessibility initiatives to mitigate the current crisis.</a:t>
            </a:r>
          </a:p>
          <a:p>
            <a:endParaRPr lang="en-US" sz="1600" dirty="0"/>
          </a:p>
          <a:p>
            <a:r>
              <a:rPr lang="en-US" sz="1600" b="1" dirty="0"/>
              <a:t>State and local governments </a:t>
            </a:r>
            <a:r>
              <a:rPr lang="en-US" sz="1600" dirty="0"/>
              <a:t>State and local governments should, to whatever extent possible, remove blockers and accelerate permitting processes so that ISPs are not delayed in building and accessing towers and other pieces of key broadband infrastructure.</a:t>
            </a:r>
          </a:p>
        </p:txBody>
      </p:sp>
      <p:pic>
        <p:nvPicPr>
          <p:cNvPr id="16" name="Picture 15" descr="Icon of people">
            <a:extLst>
              <a:ext uri="{FF2B5EF4-FFF2-40B4-BE49-F238E27FC236}">
                <a16:creationId xmlns:a16="http://schemas.microsoft.com/office/drawing/2014/main" id="{160B4F70-C9E5-486F-8CF4-8865443F15D3}"/>
              </a:ext>
            </a:extLst>
          </p:cNvPr>
          <p:cNvPicPr>
            <a:picLocks noChangeAspect="1"/>
          </p:cNvPicPr>
          <p:nvPr/>
        </p:nvPicPr>
        <p:blipFill>
          <a:blip r:embed="rId5"/>
          <a:stretch>
            <a:fillRect/>
          </a:stretch>
        </p:blipFill>
        <p:spPr>
          <a:xfrm>
            <a:off x="155259" y="2489865"/>
            <a:ext cx="732465" cy="627827"/>
          </a:xfrm>
          <a:prstGeom prst="rect">
            <a:avLst/>
          </a:prstGeom>
        </p:spPr>
      </p:pic>
      <p:pic>
        <p:nvPicPr>
          <p:cNvPr id="18" name="Picture 17" descr="Icon of handshake">
            <a:extLst>
              <a:ext uri="{FF2B5EF4-FFF2-40B4-BE49-F238E27FC236}">
                <a16:creationId xmlns:a16="http://schemas.microsoft.com/office/drawing/2014/main" id="{CEFAD023-23CA-464F-9B05-C65CBA21213C}"/>
              </a:ext>
            </a:extLst>
          </p:cNvPr>
          <p:cNvPicPr>
            <a:picLocks noChangeAspect="1"/>
          </p:cNvPicPr>
          <p:nvPr/>
        </p:nvPicPr>
        <p:blipFill>
          <a:blip r:embed="rId6"/>
          <a:stretch>
            <a:fillRect/>
          </a:stretch>
        </p:blipFill>
        <p:spPr>
          <a:xfrm>
            <a:off x="186030" y="4745409"/>
            <a:ext cx="634367" cy="614747"/>
          </a:xfrm>
          <a:prstGeom prst="rect">
            <a:avLst/>
          </a:prstGeom>
        </p:spPr>
      </p:pic>
      <p:pic>
        <p:nvPicPr>
          <p:cNvPr id="20" name="Picture 19" descr="Icon of vcard.">
            <a:extLst>
              <a:ext uri="{FF2B5EF4-FFF2-40B4-BE49-F238E27FC236}">
                <a16:creationId xmlns:a16="http://schemas.microsoft.com/office/drawing/2014/main" id="{F82F02E4-DC90-4D78-9036-D2B37F32488A}"/>
              </a:ext>
            </a:extLst>
          </p:cNvPr>
          <p:cNvPicPr>
            <a:picLocks noChangeAspect="1"/>
          </p:cNvPicPr>
          <p:nvPr/>
        </p:nvPicPr>
        <p:blipFill>
          <a:blip r:embed="rId7"/>
          <a:stretch>
            <a:fillRect/>
          </a:stretch>
        </p:blipFill>
        <p:spPr>
          <a:xfrm>
            <a:off x="104281" y="3447521"/>
            <a:ext cx="765163" cy="601667"/>
          </a:xfrm>
          <a:prstGeom prst="rect">
            <a:avLst/>
          </a:prstGeom>
        </p:spPr>
      </p:pic>
      <p:pic>
        <p:nvPicPr>
          <p:cNvPr id="22" name="Picture 21" descr="Icon of government building">
            <a:extLst>
              <a:ext uri="{FF2B5EF4-FFF2-40B4-BE49-F238E27FC236}">
                <a16:creationId xmlns:a16="http://schemas.microsoft.com/office/drawing/2014/main" id="{949CA81E-4FD1-44FA-AAC3-903E82E46EAD}"/>
              </a:ext>
            </a:extLst>
          </p:cNvPr>
          <p:cNvPicPr>
            <a:picLocks noChangeAspect="1"/>
          </p:cNvPicPr>
          <p:nvPr/>
        </p:nvPicPr>
        <p:blipFill>
          <a:blip r:embed="rId8"/>
          <a:stretch>
            <a:fillRect/>
          </a:stretch>
        </p:blipFill>
        <p:spPr>
          <a:xfrm>
            <a:off x="186030" y="5779633"/>
            <a:ext cx="601667" cy="608207"/>
          </a:xfrm>
          <a:prstGeom prst="rect">
            <a:avLst/>
          </a:prstGeom>
        </p:spPr>
      </p:pic>
    </p:spTree>
    <p:extLst>
      <p:ext uri="{BB962C8B-B14F-4D97-AF65-F5344CB8AC3E}">
        <p14:creationId xmlns:p14="http://schemas.microsoft.com/office/powerpoint/2010/main" val="2701819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Photo of 3 men working on laptop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97179" y="886"/>
            <a:ext cx="6881360" cy="6858398"/>
          </a:xfrm>
          <a:prstGeom prst="rect">
            <a:avLst/>
          </a:prstGeom>
        </p:spPr>
      </p:pic>
      <p:sp>
        <p:nvSpPr>
          <p:cNvPr id="3" name="Rectangle 2">
            <a:extLst>
              <a:ext uri="{FF2B5EF4-FFF2-40B4-BE49-F238E27FC236}">
                <a16:creationId xmlns:a16="http://schemas.microsoft.com/office/drawing/2014/main" id="{E7D3BD22-33D9-417A-81A6-E8AD668A3A38}"/>
              </a:ext>
            </a:extLst>
          </p:cNvPr>
          <p:cNvSpPr/>
          <p:nvPr/>
        </p:nvSpPr>
        <p:spPr>
          <a:xfrm>
            <a:off x="432121" y="2464490"/>
            <a:ext cx="4058856" cy="1202573"/>
          </a:xfrm>
          <a:prstGeom prst="rect">
            <a:avLst/>
          </a:prstGeom>
        </p:spPr>
        <p:txBody>
          <a:bodyPr wrap="square">
            <a:spAutoFit/>
          </a:bodyPr>
          <a:lstStyle/>
          <a:p>
            <a:pPr defTabSz="914225">
              <a:lnSpc>
                <a:spcPts val="3000"/>
              </a:lnSpc>
              <a:defRPr/>
            </a:pPr>
            <a:r>
              <a:rPr lang="en-US" sz="2000" i="1" kern="0">
                <a:solidFill>
                  <a:srgbClr val="000000"/>
                </a:solidFill>
                <a:latin typeface="Segoe UI (Body)"/>
                <a:ea typeface="Calibri" panose="020F0502020204030204" pitchFamily="34" charset="0"/>
                <a:cs typeface="Segoe UI" panose="020B0502040204020203" pitchFamily="34" charset="0"/>
              </a:rPr>
              <a:t>“Empower every person and every organization on the planet to achieve more.” - </a:t>
            </a:r>
            <a:r>
              <a:rPr lang="en-US" sz="2000" kern="0">
                <a:solidFill>
                  <a:srgbClr val="000000"/>
                </a:solidFill>
                <a:latin typeface="Segoe UI (Body)"/>
                <a:ea typeface="Calibri" panose="020F0502020204030204" pitchFamily="34" charset="0"/>
                <a:cs typeface="Times New Roman" panose="02020603050405020304" pitchFamily="18" charset="0"/>
              </a:rPr>
              <a:t>Satya Nadella</a:t>
            </a:r>
          </a:p>
        </p:txBody>
      </p:sp>
      <p:sp>
        <p:nvSpPr>
          <p:cNvPr id="9" name="Title 8">
            <a:extLst>
              <a:ext uri="{FF2B5EF4-FFF2-40B4-BE49-F238E27FC236}">
                <a16:creationId xmlns:a16="http://schemas.microsoft.com/office/drawing/2014/main" id="{6E5261F8-E098-44EC-91C4-DE65904EAA7A}"/>
              </a:ext>
            </a:extLst>
          </p:cNvPr>
          <p:cNvSpPr>
            <a:spLocks noGrp="1"/>
          </p:cNvSpPr>
          <p:nvPr>
            <p:ph type="title" idx="4294967295"/>
          </p:nvPr>
        </p:nvSpPr>
        <p:spPr/>
        <p:txBody>
          <a:bodyPr/>
          <a:lstStyle/>
          <a:p>
            <a:r>
              <a:rPr lang="en-US" dirty="0">
                <a:latin typeface="Segoe UI Semibold" panose="020B0702040204020203" pitchFamily="34" charset="0"/>
                <a:cs typeface="Segoe UI Semibold" panose="020B0702040204020203" pitchFamily="34" charset="0"/>
              </a:rPr>
              <a:t>Microsoft Mission</a:t>
            </a:r>
          </a:p>
        </p:txBody>
      </p:sp>
    </p:spTree>
    <p:extLst>
      <p:ext uri="{BB962C8B-B14F-4D97-AF65-F5344CB8AC3E}">
        <p14:creationId xmlns:p14="http://schemas.microsoft.com/office/powerpoint/2010/main" val="1638248938"/>
      </p:ext>
    </p:extLst>
  </p:cSld>
  <p:clrMapOvr>
    <a:masterClrMapping/>
  </p:clrMapOvr>
  <mc:AlternateContent xmlns:mc="http://schemas.openxmlformats.org/markup-compatibility/2006" xmlns:p14="http://schemas.microsoft.com/office/powerpoint/2010/main">
    <mc:Choice Requires="p14">
      <p:transition spd="slow" p14:dur="175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D0B27219-68A9-44BF-8B19-CA6D27F94C5B}"/>
              </a:ext>
            </a:extLst>
          </p:cNvPr>
          <p:cNvSpPr txBox="1">
            <a:spLocks/>
          </p:cNvSpPr>
          <p:nvPr/>
        </p:nvSpPr>
        <p:spPr>
          <a:xfrm>
            <a:off x="6705600" y="1972342"/>
            <a:ext cx="3094329" cy="27699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At least </a:t>
            </a:r>
          </a:p>
        </p:txBody>
      </p:sp>
      <p:sp>
        <p:nvSpPr>
          <p:cNvPr id="4" name="Rectangle 3">
            <a:extLst>
              <a:ext uri="{FF2B5EF4-FFF2-40B4-BE49-F238E27FC236}">
                <a16:creationId xmlns:a16="http://schemas.microsoft.com/office/drawing/2014/main" id="{A6FC72E6-2233-6B44-9B80-9C3776EAF8AB}"/>
              </a:ext>
            </a:extLst>
          </p:cNvPr>
          <p:cNvSpPr/>
          <p:nvPr/>
        </p:nvSpPr>
        <p:spPr>
          <a:xfrm>
            <a:off x="6609631" y="2258705"/>
            <a:ext cx="5555978" cy="707886"/>
          </a:xfrm>
          <a:prstGeom prst="rect">
            <a:avLst/>
          </a:prstGeom>
        </p:spPr>
        <p:txBody>
          <a:bodyPr wrap="square">
            <a:spAutoFit/>
          </a:bodyPr>
          <a:lstStyle/>
          <a:p>
            <a:r>
              <a:rPr lang="en-US" sz="4000" dirty="0">
                <a:solidFill>
                  <a:schemeClr val="accent1"/>
                </a:solidFill>
                <a:latin typeface="Segoe UI Semibold"/>
                <a:ea typeface="Segoe UI Black" panose="020B0A02040204020203" pitchFamily="34" charset="0"/>
                <a:cs typeface="Segoe UI" panose="020B0502040204020203" pitchFamily="34" charset="0"/>
              </a:rPr>
              <a:t>18.3 million people </a:t>
            </a:r>
            <a:endParaRPr lang="en-US" sz="4000" dirty="0">
              <a:solidFill>
                <a:schemeClr val="accent1"/>
              </a:solidFill>
            </a:endParaRPr>
          </a:p>
        </p:txBody>
      </p:sp>
      <p:sp>
        <p:nvSpPr>
          <p:cNvPr id="5" name="Rectangle 4">
            <a:extLst>
              <a:ext uri="{FF2B5EF4-FFF2-40B4-BE49-F238E27FC236}">
                <a16:creationId xmlns:a16="http://schemas.microsoft.com/office/drawing/2014/main" id="{37997CD0-2C49-4443-8176-B2BA5A93D197}"/>
              </a:ext>
            </a:extLst>
          </p:cNvPr>
          <p:cNvSpPr/>
          <p:nvPr/>
        </p:nvSpPr>
        <p:spPr>
          <a:xfrm>
            <a:off x="6609631" y="2924264"/>
            <a:ext cx="3094328" cy="369332"/>
          </a:xfrm>
          <a:prstGeom prst="rect">
            <a:avLst/>
          </a:prstGeom>
        </p:spPr>
        <p:txBody>
          <a:bodyPr wrap="square">
            <a:spAutoFit/>
          </a:bodyPr>
          <a:lstStyle/>
          <a:p>
            <a:pPr lvl="0" defTabSz="932742">
              <a:spcBef>
                <a:spcPct val="20000"/>
              </a:spcBef>
              <a:buSzPct val="90000"/>
              <a:defRPr/>
            </a:pPr>
            <a:r>
              <a:rPr lang="en-US">
                <a:solidFill>
                  <a:srgbClr val="000000"/>
                </a:solidFill>
                <a:latin typeface="Segoe UI Semibold"/>
                <a:cs typeface="Segoe UI" panose="020B0502040204020203" pitchFamily="34" charset="0"/>
              </a:rPr>
              <a:t>lack access to broadband</a:t>
            </a:r>
            <a:r>
              <a:rPr lang="en-US" baseline="30000">
                <a:solidFill>
                  <a:srgbClr val="000000"/>
                </a:solidFill>
                <a:latin typeface="Segoe UI Semilight" panose="020B0402040204020203" pitchFamily="34" charset="0"/>
                <a:cs typeface="Segoe UI Semilight" panose="020B0402040204020203" pitchFamily="34" charset="0"/>
              </a:rPr>
              <a:t>1</a:t>
            </a:r>
          </a:p>
        </p:txBody>
      </p:sp>
      <p:sp>
        <p:nvSpPr>
          <p:cNvPr id="15" name="Text Placeholder 4">
            <a:extLst>
              <a:ext uri="{FF2B5EF4-FFF2-40B4-BE49-F238E27FC236}">
                <a16:creationId xmlns:a16="http://schemas.microsoft.com/office/drawing/2014/main" id="{D4CED4E3-773B-A340-A931-75392B675783}"/>
              </a:ext>
            </a:extLst>
          </p:cNvPr>
          <p:cNvSpPr txBox="1">
            <a:spLocks/>
          </p:cNvSpPr>
          <p:nvPr/>
        </p:nvSpPr>
        <p:spPr>
          <a:xfrm>
            <a:off x="6699267" y="4255242"/>
            <a:ext cx="3094329" cy="276999"/>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At least </a:t>
            </a:r>
          </a:p>
        </p:txBody>
      </p:sp>
      <p:sp>
        <p:nvSpPr>
          <p:cNvPr id="16" name="Rectangle 15" descr="Connectivity gap">
            <a:extLst>
              <a:ext uri="{FF2B5EF4-FFF2-40B4-BE49-F238E27FC236}">
                <a16:creationId xmlns:a16="http://schemas.microsoft.com/office/drawing/2014/main" id="{83A77C27-0C72-964E-9A53-3313663A75CE}"/>
              </a:ext>
            </a:extLst>
          </p:cNvPr>
          <p:cNvSpPr/>
          <p:nvPr/>
        </p:nvSpPr>
        <p:spPr>
          <a:xfrm>
            <a:off x="6609631" y="4552751"/>
            <a:ext cx="4881121" cy="707886"/>
          </a:xfrm>
          <a:prstGeom prst="rect">
            <a:avLst/>
          </a:prstGeom>
        </p:spPr>
        <p:txBody>
          <a:bodyPr wrap="square">
            <a:spAutoFit/>
          </a:bodyPr>
          <a:lstStyle/>
          <a:p>
            <a:r>
              <a:rPr lang="en-US" sz="4000">
                <a:solidFill>
                  <a:schemeClr val="accent1"/>
                </a:solidFill>
                <a:latin typeface="Segoe UI Semibold"/>
                <a:ea typeface="Segoe UI Black" panose="020B0A02040204020203" pitchFamily="34" charset="0"/>
                <a:cs typeface="Segoe UI" panose="020B0502040204020203" pitchFamily="34" charset="0"/>
              </a:rPr>
              <a:t>14.4 </a:t>
            </a:r>
            <a:r>
              <a:rPr lang="en-US" sz="4000" dirty="0">
                <a:solidFill>
                  <a:schemeClr val="accent1"/>
                </a:solidFill>
                <a:latin typeface="Segoe UI Semibold"/>
                <a:ea typeface="Segoe UI Black" panose="020B0A02040204020203" pitchFamily="34" charset="0"/>
                <a:cs typeface="Segoe UI" panose="020B0502040204020203" pitchFamily="34" charset="0"/>
              </a:rPr>
              <a:t>million people </a:t>
            </a:r>
            <a:endParaRPr lang="en-US" sz="4000" dirty="0">
              <a:solidFill>
                <a:schemeClr val="accent1"/>
              </a:solidFill>
            </a:endParaRPr>
          </a:p>
        </p:txBody>
      </p:sp>
      <p:sp>
        <p:nvSpPr>
          <p:cNvPr id="6" name="Rectangle 5">
            <a:extLst>
              <a:ext uri="{FF2B5EF4-FFF2-40B4-BE49-F238E27FC236}">
                <a16:creationId xmlns:a16="http://schemas.microsoft.com/office/drawing/2014/main" id="{F3749FBD-4BFE-E942-BDF7-15CF358CCFED}"/>
              </a:ext>
            </a:extLst>
          </p:cNvPr>
          <p:cNvSpPr/>
          <p:nvPr/>
        </p:nvSpPr>
        <p:spPr>
          <a:xfrm>
            <a:off x="6609631" y="5210061"/>
            <a:ext cx="3135345" cy="369332"/>
          </a:xfrm>
          <a:prstGeom prst="rect">
            <a:avLst/>
          </a:prstGeom>
        </p:spPr>
        <p:txBody>
          <a:bodyPr wrap="none">
            <a:spAutoFit/>
          </a:bodyPr>
          <a:lstStyle/>
          <a:p>
            <a:r>
              <a:rPr lang="en-US">
                <a:solidFill>
                  <a:srgbClr val="000000"/>
                </a:solidFill>
                <a:latin typeface="Segoe UI Semibold"/>
                <a:cs typeface="Segoe UI" panose="020B0502040204020203" pitchFamily="34" charset="0"/>
              </a:rPr>
              <a:t>reside in rural communities</a:t>
            </a:r>
            <a:r>
              <a:rPr lang="en-US" baseline="30000">
                <a:solidFill>
                  <a:srgbClr val="000000"/>
                </a:solidFill>
                <a:latin typeface="Segoe UI Semilight" panose="020B0402040204020203" pitchFamily="34" charset="0"/>
                <a:cs typeface="Segoe UI Semilight" panose="020B0402040204020203" pitchFamily="34" charset="0"/>
              </a:rPr>
              <a:t>1</a:t>
            </a:r>
            <a:endParaRPr lang="en-US"/>
          </a:p>
        </p:txBody>
      </p:sp>
      <p:cxnSp>
        <p:nvCxnSpPr>
          <p:cNvPr id="13" name="Straight Connector 12">
            <a:extLst>
              <a:ext uri="{FF2B5EF4-FFF2-40B4-BE49-F238E27FC236}">
                <a16:creationId xmlns:a16="http://schemas.microsoft.com/office/drawing/2014/main" id="{E2763C2E-2855-9140-9694-CBF9B0788FC2}"/>
              </a:ext>
              <a:ext uri="{C183D7F6-B498-43B3-948B-1728B52AA6E4}">
                <adec:decorative xmlns:adec="http://schemas.microsoft.com/office/drawing/2017/decorative" xmlns="" val="1"/>
              </a:ext>
            </a:extLst>
          </p:cNvPr>
          <p:cNvCxnSpPr>
            <a:cxnSpLocks/>
          </p:cNvCxnSpPr>
          <p:nvPr/>
        </p:nvCxnSpPr>
        <p:spPr>
          <a:xfrm>
            <a:off x="6713124" y="3741176"/>
            <a:ext cx="4896264"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Picture 2" descr="A truck is parked in front of a house&#10;&#10;Description automatically generated">
            <a:extLst>
              <a:ext uri="{FF2B5EF4-FFF2-40B4-BE49-F238E27FC236}">
                <a16:creationId xmlns:a16="http://schemas.microsoft.com/office/drawing/2014/main" id="{2D293A8B-8A8D-7949-881B-5A983FF969F3}"/>
              </a:ext>
            </a:extLst>
          </p:cNvPr>
          <p:cNvPicPr>
            <a:picLocks noChangeAspect="1"/>
          </p:cNvPicPr>
          <p:nvPr/>
        </p:nvPicPr>
        <p:blipFill rotWithShape="1">
          <a:blip r:embed="rId3">
            <a:extLst>
              <a:ext uri="{28A0092B-C50C-407E-A947-70E740481C1C}">
                <a14:useLocalDpi xmlns:a14="http://schemas.microsoft.com/office/drawing/2010/main" val="0"/>
              </a:ext>
            </a:extLst>
          </a:blip>
          <a:srcRect l="39685" r="9630"/>
          <a:stretch/>
        </p:blipFill>
        <p:spPr>
          <a:xfrm>
            <a:off x="26391" y="0"/>
            <a:ext cx="6069609" cy="6858000"/>
          </a:xfrm>
          <a:prstGeom prst="rect">
            <a:avLst/>
          </a:prstGeom>
        </p:spPr>
      </p:pic>
      <p:sp>
        <p:nvSpPr>
          <p:cNvPr id="2" name="TextBox 1">
            <a:extLst>
              <a:ext uri="{FF2B5EF4-FFF2-40B4-BE49-F238E27FC236}">
                <a16:creationId xmlns:a16="http://schemas.microsoft.com/office/drawing/2014/main" id="{8F5FBB8A-7D0F-45CF-BB10-FDE872E36A14}"/>
              </a:ext>
            </a:extLst>
          </p:cNvPr>
          <p:cNvSpPr txBox="1"/>
          <p:nvPr/>
        </p:nvSpPr>
        <p:spPr>
          <a:xfrm>
            <a:off x="9130748" y="6573077"/>
            <a:ext cx="2822714" cy="153888"/>
          </a:xfrm>
          <a:prstGeom prst="rect">
            <a:avLst/>
          </a:prstGeom>
          <a:noFill/>
        </p:spPr>
        <p:txBody>
          <a:bodyPr wrap="square" lIns="0" tIns="0" rIns="0" bIns="0" rtlCol="0">
            <a:spAutoFit/>
          </a:bodyPr>
          <a:lstStyle/>
          <a:p>
            <a:pPr algn="l"/>
            <a:r>
              <a:rPr lang="en-US" sz="1000">
                <a:gradFill>
                  <a:gsLst>
                    <a:gs pos="2917">
                      <a:schemeClr val="tx1"/>
                    </a:gs>
                    <a:gs pos="30000">
                      <a:schemeClr val="tx1"/>
                    </a:gs>
                  </a:gsLst>
                  <a:lin ang="5400000" scaled="0"/>
                </a:gradFill>
                <a:latin typeface="Segoe UI Semilight" panose="020B0402040204020203" pitchFamily="34" charset="0"/>
                <a:cs typeface="Segoe UI Semilight" panose="020B0402040204020203" pitchFamily="34" charset="0"/>
              </a:rPr>
              <a:t>!. Source: FCC Broadband Deployment Report, 2019</a:t>
            </a:r>
          </a:p>
        </p:txBody>
      </p:sp>
      <p:sp>
        <p:nvSpPr>
          <p:cNvPr id="7" name="Title 6">
            <a:extLst>
              <a:ext uri="{FF2B5EF4-FFF2-40B4-BE49-F238E27FC236}">
                <a16:creationId xmlns:a16="http://schemas.microsoft.com/office/drawing/2014/main" id="{FCA0DCBA-833A-4C98-835F-332A13A1FF79}"/>
              </a:ext>
            </a:extLst>
          </p:cNvPr>
          <p:cNvSpPr>
            <a:spLocks noGrp="1"/>
          </p:cNvSpPr>
          <p:nvPr>
            <p:ph type="title"/>
          </p:nvPr>
        </p:nvSpPr>
        <p:spPr>
          <a:xfrm>
            <a:off x="6602059" y="424660"/>
            <a:ext cx="4896264" cy="1107996"/>
          </a:xfrm>
        </p:spPr>
        <p:txBody>
          <a:bodyPr/>
          <a:lstStyle/>
          <a:p>
            <a:r>
              <a:rPr lang="en-US" dirty="0">
                <a:solidFill>
                  <a:schemeClr val="tx1"/>
                </a:solidFill>
              </a:rPr>
              <a:t>The connectivity gap in the United States</a:t>
            </a:r>
          </a:p>
        </p:txBody>
      </p:sp>
    </p:spTree>
    <p:extLst>
      <p:ext uri="{BB962C8B-B14F-4D97-AF65-F5344CB8AC3E}">
        <p14:creationId xmlns:p14="http://schemas.microsoft.com/office/powerpoint/2010/main" val="38214933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15"/>
                                        </p:tgtEl>
                                        <p:attrNameLst>
                                          <p:attrName>style.visibility</p:attrName>
                                        </p:attrNameLst>
                                      </p:cBhvr>
                                      <p:to>
                                        <p:strVal val="visible"/>
                                      </p:to>
                                    </p:set>
                                    <p:anim calcmode="lin" valueType="num">
                                      <p:cBhvr additive="base">
                                        <p:cTn id="12" dur="500" fill="hold"/>
                                        <p:tgtEl>
                                          <p:spTgt spid="15"/>
                                        </p:tgtEl>
                                        <p:attrNameLst>
                                          <p:attrName>ppt_x</p:attrName>
                                        </p:attrNameLst>
                                      </p:cBhvr>
                                      <p:tavLst>
                                        <p:tav tm="0">
                                          <p:val>
                                            <p:strVal val="#ppt_x"/>
                                          </p:val>
                                        </p:tav>
                                        <p:tav tm="100000">
                                          <p:val>
                                            <p:strVal val="#ppt_x"/>
                                          </p:val>
                                        </p:tav>
                                      </p:tavLst>
                                    </p:anim>
                                    <p:anim calcmode="lin" valueType="num">
                                      <p:cBhvr additive="base">
                                        <p:cTn id="13"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C0741F4C-EF0A-47F2-993E-BCFE2A88ABB2}"/>
              </a:ext>
            </a:extLst>
          </p:cNvPr>
          <p:cNvSpPr txBox="1"/>
          <p:nvPr/>
        </p:nvSpPr>
        <p:spPr>
          <a:xfrm>
            <a:off x="9139150" y="4844273"/>
            <a:ext cx="2541457" cy="492443"/>
          </a:xfrm>
          <a:prstGeom prst="rect">
            <a:avLst/>
          </a:prstGeom>
          <a:noFill/>
        </p:spPr>
        <p:txBody>
          <a:bodyPr wrap="square" lIns="0" tIns="0" rIns="0" bIns="0" rtlCol="0">
            <a:spAutoFit/>
          </a:bodyPr>
          <a:lstStyle/>
          <a:p>
            <a:r>
              <a:rPr lang="en-US" sz="1600"/>
              <a:t>Projected people covered globally by July 2022</a:t>
            </a:r>
          </a:p>
        </p:txBody>
      </p:sp>
      <p:sp>
        <p:nvSpPr>
          <p:cNvPr id="9" name="TextBox 8">
            <a:extLst>
              <a:ext uri="{FF2B5EF4-FFF2-40B4-BE49-F238E27FC236}">
                <a16:creationId xmlns:a16="http://schemas.microsoft.com/office/drawing/2014/main" id="{0E2803BA-E6DD-4373-8D9C-22629C8E4692}"/>
              </a:ext>
            </a:extLst>
          </p:cNvPr>
          <p:cNvSpPr txBox="1"/>
          <p:nvPr/>
        </p:nvSpPr>
        <p:spPr>
          <a:xfrm>
            <a:off x="6287008" y="4782719"/>
            <a:ext cx="3003636" cy="615553"/>
          </a:xfrm>
          <a:prstGeom prst="rect">
            <a:avLst/>
          </a:prstGeom>
          <a:noFill/>
        </p:spPr>
        <p:txBody>
          <a:bodyPr wrap="square" lIns="0" tIns="0" rIns="0" bIns="0" rtlCol="0">
            <a:spAutoFit/>
          </a:bodyPr>
          <a:lstStyle/>
          <a:p>
            <a:pPr algn="ctr"/>
            <a:r>
              <a:rPr lang="en-US" sz="4000" b="1">
                <a:solidFill>
                  <a:schemeClr val="accent1"/>
                </a:solidFill>
              </a:rPr>
              <a:t> </a:t>
            </a:r>
            <a:r>
              <a:rPr lang="en-US" sz="4000" b="1">
                <a:solidFill>
                  <a:schemeClr val="accent1"/>
                </a:solidFill>
                <a:latin typeface="+mj-lt"/>
              </a:rPr>
              <a:t>40 Million</a:t>
            </a:r>
          </a:p>
        </p:txBody>
      </p:sp>
      <p:sp>
        <p:nvSpPr>
          <p:cNvPr id="13" name="TextBox 12">
            <a:extLst>
              <a:ext uri="{FF2B5EF4-FFF2-40B4-BE49-F238E27FC236}">
                <a16:creationId xmlns:a16="http://schemas.microsoft.com/office/drawing/2014/main" id="{9358B796-3E12-4436-8C85-41180C7AAEA0}"/>
              </a:ext>
            </a:extLst>
          </p:cNvPr>
          <p:cNvSpPr txBox="1"/>
          <p:nvPr/>
        </p:nvSpPr>
        <p:spPr>
          <a:xfrm>
            <a:off x="9139150" y="3206085"/>
            <a:ext cx="2524115" cy="492443"/>
          </a:xfrm>
          <a:prstGeom prst="rect">
            <a:avLst/>
          </a:prstGeom>
          <a:noFill/>
        </p:spPr>
        <p:txBody>
          <a:bodyPr wrap="square" lIns="0" tIns="0" rIns="0" bIns="0" rtlCol="0">
            <a:spAutoFit/>
          </a:bodyPr>
          <a:lstStyle/>
          <a:p>
            <a:r>
              <a:rPr lang="en-US" sz="1600"/>
              <a:t>Projected people covered in </a:t>
            </a:r>
            <a:br>
              <a:rPr lang="en-US" sz="1600"/>
            </a:br>
            <a:r>
              <a:rPr lang="en-US" sz="1600"/>
              <a:t>rural U.S. by July 2022</a:t>
            </a:r>
            <a:endParaRPr lang="en-US" sz="1600" baseline="30000"/>
          </a:p>
        </p:txBody>
      </p:sp>
      <p:sp>
        <p:nvSpPr>
          <p:cNvPr id="11" name="TextBox 10">
            <a:extLst>
              <a:ext uri="{FF2B5EF4-FFF2-40B4-BE49-F238E27FC236}">
                <a16:creationId xmlns:a16="http://schemas.microsoft.com/office/drawing/2014/main" id="{04DCE5A9-F458-4DD8-8501-316E14FE1072}"/>
              </a:ext>
            </a:extLst>
          </p:cNvPr>
          <p:cNvSpPr txBox="1"/>
          <p:nvPr/>
        </p:nvSpPr>
        <p:spPr>
          <a:xfrm>
            <a:off x="6517159" y="3144531"/>
            <a:ext cx="2661318" cy="615553"/>
          </a:xfrm>
          <a:prstGeom prst="rect">
            <a:avLst/>
          </a:prstGeom>
          <a:noFill/>
        </p:spPr>
        <p:txBody>
          <a:bodyPr wrap="square" lIns="0" tIns="0" rIns="0" bIns="0" rtlCol="0">
            <a:spAutoFit/>
          </a:bodyPr>
          <a:lstStyle/>
          <a:p>
            <a:pPr algn="ctr"/>
            <a:r>
              <a:rPr lang="en-US" sz="4000" b="1">
                <a:solidFill>
                  <a:schemeClr val="accent1"/>
                </a:solidFill>
                <a:latin typeface="+mj-lt"/>
              </a:rPr>
              <a:t>3 Million</a:t>
            </a:r>
            <a:endParaRPr lang="en-US" sz="4000" b="1" baseline="30000">
              <a:solidFill>
                <a:schemeClr val="accent1"/>
              </a:solidFill>
              <a:latin typeface="+mj-lt"/>
            </a:endParaRPr>
          </a:p>
        </p:txBody>
      </p:sp>
      <p:sp>
        <p:nvSpPr>
          <p:cNvPr id="15" name="Title 3">
            <a:extLst>
              <a:ext uri="{FF2B5EF4-FFF2-40B4-BE49-F238E27FC236}">
                <a16:creationId xmlns:a16="http://schemas.microsoft.com/office/drawing/2014/main" id="{699E361B-AD94-459F-AC1E-7780AB83D892}"/>
              </a:ext>
            </a:extLst>
          </p:cNvPr>
          <p:cNvSpPr txBox="1">
            <a:spLocks/>
          </p:cNvSpPr>
          <p:nvPr/>
        </p:nvSpPr>
        <p:spPr>
          <a:xfrm>
            <a:off x="6705601" y="1603342"/>
            <a:ext cx="4903788" cy="984885"/>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accent1"/>
                </a:solidFill>
                <a:effectLst/>
                <a:latin typeface="+mj-lt"/>
                <a:ea typeface="+mn-ea"/>
                <a:cs typeface="Segoe UI" pitchFamily="34" charset="0"/>
              </a:defRPr>
            </a:lvl1pPr>
          </a:lstStyle>
          <a:p>
            <a:r>
              <a:rPr lang="en-US" sz="1600" spc="0">
                <a:solidFill>
                  <a:schemeClr val="tx1"/>
                </a:solidFill>
                <a:latin typeface="+mn-lt"/>
              </a:rPr>
              <a:t>Partner with equipment makers, internet and energy access providers, and local entrepreneurs to make affordable broadband access a reality for communities around the world.</a:t>
            </a:r>
          </a:p>
        </p:txBody>
      </p:sp>
      <p:pic>
        <p:nvPicPr>
          <p:cNvPr id="6" name="Picture 5" descr="A large green field&#10;&#10;Description automatically generated">
            <a:extLst>
              <a:ext uri="{FF2B5EF4-FFF2-40B4-BE49-F238E27FC236}">
                <a16:creationId xmlns:a16="http://schemas.microsoft.com/office/drawing/2014/main" id="{8CFC8C24-6040-488E-B493-89D21E2E7C86}"/>
              </a:ext>
            </a:extLst>
          </p:cNvPr>
          <p:cNvPicPr>
            <a:picLocks noChangeAspect="1"/>
          </p:cNvPicPr>
          <p:nvPr/>
        </p:nvPicPr>
        <p:blipFill rotWithShape="1">
          <a:blip r:embed="rId3">
            <a:extLst>
              <a:ext uri="{28A0092B-C50C-407E-A947-70E740481C1C}">
                <a14:useLocalDpi xmlns:a14="http://schemas.microsoft.com/office/drawing/2010/main" val="0"/>
              </a:ext>
            </a:extLst>
          </a:blip>
          <a:srcRect l="10081" r="23253"/>
          <a:stretch/>
        </p:blipFill>
        <p:spPr>
          <a:xfrm>
            <a:off x="0" y="0"/>
            <a:ext cx="6096000" cy="6858000"/>
          </a:xfrm>
          <a:prstGeom prst="rect">
            <a:avLst/>
          </a:prstGeom>
        </p:spPr>
      </p:pic>
      <p:sp>
        <p:nvSpPr>
          <p:cNvPr id="4" name="Title 3">
            <a:extLst>
              <a:ext uri="{FF2B5EF4-FFF2-40B4-BE49-F238E27FC236}">
                <a16:creationId xmlns:a16="http://schemas.microsoft.com/office/drawing/2014/main" id="{032A0C0B-CCD2-48ED-81AF-7A92B1535BD6}"/>
              </a:ext>
            </a:extLst>
          </p:cNvPr>
          <p:cNvSpPr>
            <a:spLocks noGrp="1"/>
          </p:cNvSpPr>
          <p:nvPr>
            <p:ph type="title"/>
          </p:nvPr>
        </p:nvSpPr>
        <p:spPr>
          <a:xfrm>
            <a:off x="6705600" y="361516"/>
            <a:ext cx="5566731" cy="1107996"/>
          </a:xfrm>
        </p:spPr>
        <p:txBody>
          <a:bodyPr anchor="t"/>
          <a:lstStyle/>
          <a:p>
            <a:r>
              <a:rPr lang="en-US" spc="-150" dirty="0">
                <a:solidFill>
                  <a:schemeClr val="tx1"/>
                </a:solidFill>
              </a:rPr>
              <a:t>Airband mission - to </a:t>
            </a:r>
            <a:br>
              <a:rPr lang="en-US" spc="-150" dirty="0">
                <a:solidFill>
                  <a:schemeClr val="tx1"/>
                </a:solidFill>
              </a:rPr>
            </a:br>
            <a:r>
              <a:rPr lang="en-US" spc="-150" dirty="0">
                <a:solidFill>
                  <a:schemeClr val="tx1"/>
                </a:solidFill>
              </a:rPr>
              <a:t>connect the unconnected</a:t>
            </a:r>
          </a:p>
        </p:txBody>
      </p:sp>
      <p:cxnSp>
        <p:nvCxnSpPr>
          <p:cNvPr id="17" name="Straight Connector 16">
            <a:extLst>
              <a:ext uri="{FF2B5EF4-FFF2-40B4-BE49-F238E27FC236}">
                <a16:creationId xmlns:a16="http://schemas.microsoft.com/office/drawing/2014/main" id="{C0009D49-FF86-8445-9EBF-1D3BC56C928D}"/>
              </a:ext>
              <a:ext uri="{C183D7F6-B498-43B3-948B-1728B52AA6E4}">
                <adec:decorative xmlns:adec="http://schemas.microsoft.com/office/drawing/2017/decorative" xmlns="" val="1"/>
              </a:ext>
            </a:extLst>
          </p:cNvPr>
          <p:cNvCxnSpPr>
            <a:cxnSpLocks/>
          </p:cNvCxnSpPr>
          <p:nvPr/>
        </p:nvCxnSpPr>
        <p:spPr>
          <a:xfrm>
            <a:off x="6713124" y="4230371"/>
            <a:ext cx="4896264" cy="0"/>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339751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descr="Photo collage of a man working on electronics, a female student using a laptop, 2 4H members, and a computer connected to a refridgerator">
            <a:extLst>
              <a:ext uri="{FF2B5EF4-FFF2-40B4-BE49-F238E27FC236}">
                <a16:creationId xmlns:a16="http://schemas.microsoft.com/office/drawing/2014/main" id="{981ABDAA-3034-4AE2-951A-A5F6E955D851}"/>
              </a:ext>
            </a:extLst>
          </p:cNvPr>
          <p:cNvGrpSpPr/>
          <p:nvPr/>
        </p:nvGrpSpPr>
        <p:grpSpPr>
          <a:xfrm>
            <a:off x="5481331" y="146844"/>
            <a:ext cx="6564312" cy="6564313"/>
            <a:chOff x="5481331" y="146844"/>
            <a:chExt cx="6564312" cy="6564313"/>
          </a:xfrm>
        </p:grpSpPr>
        <p:pic>
          <p:nvPicPr>
            <p:cNvPr id="10" name="Picture 9" descr="A teacher and a student interacting while looking at a laptop">
              <a:extLst>
                <a:ext uri="{FF2B5EF4-FFF2-40B4-BE49-F238E27FC236}">
                  <a16:creationId xmlns:a16="http://schemas.microsoft.com/office/drawing/2014/main" id="{EAFA834A-B2F9-40D1-BBE6-9E7A4F196AD6}"/>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l="17047" t="1101" r="16971" b="749"/>
            <a:stretch/>
          </p:blipFill>
          <p:spPr>
            <a:xfrm>
              <a:off x="8845243" y="146844"/>
              <a:ext cx="3200400" cy="3200234"/>
            </a:xfrm>
            <a:prstGeom prst="rect">
              <a:avLst/>
            </a:prstGeom>
          </p:spPr>
        </p:pic>
        <p:pic>
          <p:nvPicPr>
            <p:cNvPr id="13" name="Picture 12" descr="Two male in casual dress smiling">
              <a:extLst>
                <a:ext uri="{FF2B5EF4-FFF2-40B4-BE49-F238E27FC236}">
                  <a16:creationId xmlns:a16="http://schemas.microsoft.com/office/drawing/2014/main" id="{73E56707-D9DD-46F6-B138-ADB0508D06C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6438" t="1288" r="27890" b="188"/>
            <a:stretch/>
          </p:blipFill>
          <p:spPr>
            <a:xfrm>
              <a:off x="5481331" y="3510757"/>
              <a:ext cx="3200400" cy="3200110"/>
            </a:xfrm>
            <a:prstGeom prst="rect">
              <a:avLst/>
            </a:prstGeom>
          </p:spPr>
        </p:pic>
        <p:pic>
          <p:nvPicPr>
            <p:cNvPr id="14" name="Picture 13" descr="A desk with a computer&#10;&#10;Description generated with very high confidence">
              <a:extLst>
                <a:ext uri="{FF2B5EF4-FFF2-40B4-BE49-F238E27FC236}">
                  <a16:creationId xmlns:a16="http://schemas.microsoft.com/office/drawing/2014/main" id="{36560E83-7DF4-4579-8831-9AAE030488B6}"/>
                </a:ext>
              </a:extLst>
            </p:cNvPr>
            <p:cNvPicPr>
              <a:picLocks noChangeAspect="1"/>
            </p:cNvPicPr>
            <p:nvPr/>
          </p:nvPicPr>
          <p:blipFill rotWithShape="1">
            <a:blip r:embed="rId5" cstate="hqprint">
              <a:extLst>
                <a:ext uri="{28A0092B-C50C-407E-A947-70E740481C1C}">
                  <a14:useLocalDpi xmlns:a14="http://schemas.microsoft.com/office/drawing/2010/main" val="0"/>
                </a:ext>
              </a:extLst>
            </a:blip>
            <a:srcRect l="31740" t="906" r="12695" b="240"/>
            <a:stretch/>
          </p:blipFill>
          <p:spPr>
            <a:xfrm>
              <a:off x="8845243" y="3510757"/>
              <a:ext cx="3200400" cy="3200400"/>
            </a:xfrm>
            <a:prstGeom prst="rect">
              <a:avLst/>
            </a:prstGeom>
          </p:spPr>
        </p:pic>
      </p:grpSp>
      <p:sp>
        <p:nvSpPr>
          <p:cNvPr id="2" name="Slide Number Placeholder 1">
            <a:extLst>
              <a:ext uri="{FF2B5EF4-FFF2-40B4-BE49-F238E27FC236}">
                <a16:creationId xmlns:a16="http://schemas.microsoft.com/office/drawing/2014/main" id="{676701E4-BE3E-4ED0-B712-299250B845EC}"/>
              </a:ext>
            </a:extLst>
          </p:cNvPr>
          <p:cNvSpPr>
            <a:spLocks noGrp="1"/>
          </p:cNvSpPr>
          <p:nvPr>
            <p:ph type="sldNum" sz="quarter" idx="10"/>
          </p:nvPr>
        </p:nvSpPr>
        <p:spPr>
          <a:xfrm>
            <a:off x="11436008" y="6446579"/>
            <a:ext cx="166712" cy="184666"/>
          </a:xfrm>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8214BE8-3B67-4CC1-95F1-46B8F6DEEA9B}" type="slidenum">
              <a:rPr kumimoji="0" lang="en-IN" sz="1200"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IN" sz="12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Title 10">
            <a:extLst>
              <a:ext uri="{FF2B5EF4-FFF2-40B4-BE49-F238E27FC236}">
                <a16:creationId xmlns:a16="http://schemas.microsoft.com/office/drawing/2014/main" id="{E82DD88E-C2B2-4EE4-AD20-8E39299FBD5A}"/>
              </a:ext>
            </a:extLst>
          </p:cNvPr>
          <p:cNvSpPr txBox="1">
            <a:spLocks/>
          </p:cNvSpPr>
          <p:nvPr/>
        </p:nvSpPr>
        <p:spPr>
          <a:xfrm>
            <a:off x="584199" y="1532156"/>
            <a:ext cx="4749491" cy="4616648"/>
          </a:xfrm>
          <a:prstGeom prst="rect">
            <a:avLst/>
          </a:prstGeom>
        </p:spPr>
        <p:txBody>
          <a:bodyPr lIns="0" tIns="0" rIns="0" bIns="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ts val="1800"/>
              </a:spcBef>
              <a:spcAft>
                <a:spcPts val="0"/>
              </a:spcAft>
              <a:buClrTx/>
              <a:buSzTx/>
              <a:buFontTx/>
              <a:buNone/>
              <a:tabLst/>
              <a:defRPr/>
            </a:pPr>
            <a:r>
              <a:rPr kumimoji="0" lang="en-US" sz="2400" b="0" i="0" u="none" strike="noStrike" kern="1200" cap="none" spc="-50" normalizeH="0" baseline="0" noProof="0" dirty="0">
                <a:ln w="3175">
                  <a:noFill/>
                </a:ln>
                <a:solidFill>
                  <a:srgbClr val="000000"/>
                </a:solidFill>
                <a:effectLst/>
                <a:uLnTx/>
                <a:uFillTx/>
                <a:latin typeface="Segoe UI Semibold"/>
                <a:ea typeface="+mn-ea"/>
                <a:cs typeface="Segoe UI"/>
              </a:rPr>
              <a:t>Incubate partnerships with </a:t>
            </a:r>
            <a:r>
              <a:rPr kumimoji="0" lang="en-US" sz="2400" b="0" i="0" u="none" strike="noStrike" kern="0" cap="none" spc="-50" normalizeH="0" baseline="0" noProof="0" dirty="0">
                <a:ln w="3175">
                  <a:noFill/>
                </a:ln>
                <a:solidFill>
                  <a:srgbClr val="0078D4"/>
                </a:solidFill>
                <a:effectLst/>
                <a:uLnTx/>
                <a:uFillTx/>
                <a:latin typeface="Segoe UI Semibold"/>
                <a:ea typeface="+mn-ea"/>
                <a:cs typeface="Segoe UI"/>
              </a:rPr>
              <a:t>ISPs and hardware </a:t>
            </a:r>
            <a:r>
              <a:rPr lang="en-US" sz="2400" kern="0" dirty="0">
                <a:solidFill>
                  <a:srgbClr val="0078D4"/>
                </a:solidFill>
                <a:latin typeface="Segoe UI Semibold"/>
                <a:cs typeface="Segoe UI"/>
              </a:rPr>
              <a:t>manufacturers</a:t>
            </a:r>
            <a:endParaRPr kumimoji="0" lang="en-US" sz="2400" b="0" i="0" u="none" strike="noStrike" kern="0" cap="none" spc="-50" normalizeH="0" baseline="0" noProof="0" dirty="0">
              <a:ln w="3175">
                <a:noFill/>
              </a:ln>
              <a:solidFill>
                <a:srgbClr val="0078D4"/>
              </a:solidFill>
              <a:effectLst/>
              <a:uLnTx/>
              <a:uFillTx/>
              <a:latin typeface="Segoe UI Semibold"/>
              <a:ea typeface="+mn-ea"/>
              <a:cs typeface="Segoe UI"/>
            </a:endParaRPr>
          </a:p>
          <a:p>
            <a:pPr marL="0" marR="0" lvl="0" indent="0" algn="l" defTabSz="932742" rtl="0" eaLnBrk="1" fontAlgn="auto" latinLnBrk="0" hangingPunct="1">
              <a:lnSpc>
                <a:spcPct val="100000"/>
              </a:lnSpc>
              <a:spcBef>
                <a:spcPts val="1800"/>
              </a:spcBef>
              <a:spcAft>
                <a:spcPts val="0"/>
              </a:spcAft>
              <a:buClrTx/>
              <a:buSzTx/>
              <a:buFontTx/>
              <a:buNone/>
              <a:tabLst/>
              <a:defRPr/>
            </a:pPr>
            <a:endParaRPr kumimoji="0" lang="en-US" sz="2400" b="0" i="0" u="none" strike="noStrike" kern="0" cap="none" spc="-50" normalizeH="0" baseline="0" noProof="0" dirty="0">
              <a:ln w="3175">
                <a:noFill/>
              </a:ln>
              <a:solidFill>
                <a:srgbClr val="0078D4"/>
              </a:solidFill>
              <a:effectLst/>
              <a:uLnTx/>
              <a:uFillTx/>
              <a:latin typeface="Segoe UI Semibold"/>
              <a:ea typeface="+mn-ea"/>
              <a:cs typeface="Segoe UI"/>
            </a:endParaRPr>
          </a:p>
          <a:p>
            <a:pPr marL="0" marR="0" lvl="0" indent="0" algn="l" defTabSz="932742" rtl="0" eaLnBrk="1" fontAlgn="auto" latinLnBrk="0" hangingPunct="1">
              <a:lnSpc>
                <a:spcPct val="100000"/>
              </a:lnSpc>
              <a:spcBef>
                <a:spcPts val="1800"/>
              </a:spcBef>
              <a:spcAft>
                <a:spcPts val="0"/>
              </a:spcAft>
              <a:buClrTx/>
              <a:buSzTx/>
              <a:buFontTx/>
              <a:buNone/>
              <a:tabLst/>
              <a:defRPr/>
            </a:pPr>
            <a:r>
              <a:rPr kumimoji="0" lang="en-US" sz="2400" b="0" i="0" u="none" strike="noStrike" kern="1200" cap="none" spc="-50" normalizeH="0" baseline="0" noProof="0" dirty="0">
                <a:ln w="3175">
                  <a:noFill/>
                </a:ln>
                <a:solidFill>
                  <a:srgbClr val="000000"/>
                </a:solidFill>
                <a:effectLst/>
                <a:uLnTx/>
                <a:uFillTx/>
                <a:latin typeface="Segoe UI Semibold"/>
                <a:ea typeface="+mn-ea"/>
                <a:cs typeface="Segoe UI"/>
              </a:rPr>
              <a:t>Foster economic development in key broadband-enabled verticals: </a:t>
            </a:r>
            <a:r>
              <a:rPr kumimoji="0" lang="en-US" sz="2400" b="0" i="0" u="none" strike="noStrike" kern="0" cap="none" spc="-50" normalizeH="0" baseline="0" noProof="0" dirty="0">
                <a:ln w="3175">
                  <a:noFill/>
                </a:ln>
                <a:solidFill>
                  <a:srgbClr val="0078D4"/>
                </a:solidFill>
                <a:effectLst/>
                <a:uLnTx/>
                <a:uFillTx/>
                <a:latin typeface="Segoe UI Semibold"/>
                <a:ea typeface="+mn-ea"/>
                <a:cs typeface="Segoe UI"/>
              </a:rPr>
              <a:t>precision agriculture</a:t>
            </a:r>
            <a:r>
              <a:rPr kumimoji="0" lang="en-US" sz="2400" b="0" i="0" u="none" strike="noStrike" kern="1200" cap="none" spc="-50" normalizeH="0" baseline="0" noProof="0" dirty="0">
                <a:ln w="3175">
                  <a:noFill/>
                </a:ln>
                <a:solidFill>
                  <a:srgbClr val="0078D4"/>
                </a:solidFill>
                <a:effectLst/>
                <a:uLnTx/>
                <a:uFillTx/>
                <a:latin typeface="Segoe UI Semibold"/>
                <a:ea typeface="+mn-ea"/>
                <a:cs typeface="Segoe UI"/>
              </a:rPr>
              <a:t>,</a:t>
            </a:r>
            <a:r>
              <a:rPr kumimoji="0" lang="en-US" sz="2400" b="0" i="0" u="none" strike="noStrike" kern="0" cap="none" spc="-50" normalizeH="0" baseline="0" noProof="0" dirty="0">
                <a:ln w="3175">
                  <a:noFill/>
                </a:ln>
                <a:solidFill>
                  <a:srgbClr val="0078D4"/>
                </a:solidFill>
                <a:effectLst/>
                <a:uLnTx/>
                <a:uFillTx/>
                <a:latin typeface="Segoe UI Semibold"/>
                <a:ea typeface="+mn-ea"/>
                <a:cs typeface="Segoe UI"/>
              </a:rPr>
              <a:t> healthcare</a:t>
            </a:r>
            <a:r>
              <a:rPr kumimoji="0" lang="en-US" sz="2400" b="0" i="0" u="none" strike="noStrike" kern="1200" cap="none" spc="-50" normalizeH="0" baseline="0" noProof="0" dirty="0">
                <a:ln w="3175">
                  <a:noFill/>
                </a:ln>
                <a:solidFill>
                  <a:srgbClr val="0078D4"/>
                </a:solidFill>
                <a:effectLst/>
                <a:uLnTx/>
                <a:uFillTx/>
                <a:latin typeface="Segoe UI Semibold"/>
                <a:ea typeface="+mn-ea"/>
                <a:cs typeface="Segoe UI"/>
              </a:rPr>
              <a:t>,</a:t>
            </a:r>
            <a:r>
              <a:rPr kumimoji="0" lang="en-US" sz="2400" b="0" i="0" u="none" strike="noStrike" kern="0" cap="none" spc="-50" normalizeH="0" baseline="0" noProof="0" dirty="0">
                <a:ln w="3175">
                  <a:noFill/>
                </a:ln>
                <a:solidFill>
                  <a:srgbClr val="0078D4"/>
                </a:solidFill>
                <a:effectLst/>
                <a:uLnTx/>
                <a:uFillTx/>
                <a:latin typeface="Segoe UI Semibold"/>
                <a:ea typeface="+mn-ea"/>
                <a:cs typeface="Segoe UI"/>
              </a:rPr>
              <a:t> education</a:t>
            </a:r>
            <a:r>
              <a:rPr kumimoji="0" lang="en-US" sz="2400" b="0" i="0" u="none" strike="noStrike" kern="1200" cap="none" spc="-50" normalizeH="0" baseline="0" noProof="0" dirty="0">
                <a:ln w="3175">
                  <a:noFill/>
                </a:ln>
                <a:solidFill>
                  <a:srgbClr val="0078D4"/>
                </a:solidFill>
                <a:effectLst/>
                <a:uLnTx/>
                <a:uFillTx/>
                <a:latin typeface="Segoe UI Semibold"/>
                <a:ea typeface="+mn-ea"/>
                <a:cs typeface="Segoe UI"/>
              </a:rPr>
              <a:t>,</a:t>
            </a:r>
            <a:r>
              <a:rPr kumimoji="0" lang="en-US" sz="2400" b="0" i="0" u="none" strike="noStrike" kern="0" cap="none" spc="-50" normalizeH="0" baseline="0" noProof="0" dirty="0">
                <a:ln w="3175">
                  <a:noFill/>
                </a:ln>
                <a:solidFill>
                  <a:srgbClr val="0078D4"/>
                </a:solidFill>
                <a:effectLst/>
                <a:uLnTx/>
                <a:uFillTx/>
                <a:latin typeface="Segoe UI Semibold"/>
                <a:ea typeface="+mn-ea"/>
                <a:cs typeface="Segoe UI"/>
              </a:rPr>
              <a:t> and small business</a:t>
            </a:r>
          </a:p>
          <a:p>
            <a:pPr marL="0" marR="0" lvl="0" indent="0" algn="l" defTabSz="932742" rtl="0" eaLnBrk="1" fontAlgn="auto" latinLnBrk="0" hangingPunct="1">
              <a:lnSpc>
                <a:spcPct val="100000"/>
              </a:lnSpc>
              <a:spcBef>
                <a:spcPts val="1800"/>
              </a:spcBef>
              <a:spcAft>
                <a:spcPts val="0"/>
              </a:spcAft>
              <a:buClrTx/>
              <a:buSzTx/>
              <a:buFontTx/>
              <a:buNone/>
              <a:tabLst/>
              <a:defRPr/>
            </a:pPr>
            <a:endParaRPr kumimoji="0" lang="en-US" sz="2400" b="0" i="0" u="none" strike="noStrike" kern="0" cap="none" spc="-50" normalizeH="0" baseline="0" noProof="0" dirty="0">
              <a:ln w="3175">
                <a:noFill/>
              </a:ln>
              <a:solidFill>
                <a:srgbClr val="0078D4"/>
              </a:solidFill>
              <a:effectLst/>
              <a:uLnTx/>
              <a:uFillTx/>
              <a:latin typeface="Segoe UI Semibold"/>
              <a:ea typeface="+mn-ea"/>
              <a:cs typeface="Segoe UI"/>
            </a:endParaRPr>
          </a:p>
          <a:p>
            <a:pPr marL="0" marR="0" lvl="0" indent="0" algn="l" defTabSz="932742" rtl="0" eaLnBrk="1" fontAlgn="auto" latinLnBrk="0" hangingPunct="1">
              <a:lnSpc>
                <a:spcPct val="100000"/>
              </a:lnSpc>
              <a:spcBef>
                <a:spcPts val="1800"/>
              </a:spcBef>
              <a:spcAft>
                <a:spcPts val="0"/>
              </a:spcAft>
              <a:buClrTx/>
              <a:buSzTx/>
              <a:buFontTx/>
              <a:buNone/>
              <a:tabLst/>
              <a:defRPr/>
            </a:pPr>
            <a:r>
              <a:rPr kumimoji="0" lang="en-US" sz="2400" b="0" i="0" u="none" strike="noStrike" kern="1200" cap="none" spc="-50" normalizeH="0" baseline="0" noProof="0" dirty="0">
                <a:ln w="3175">
                  <a:noFill/>
                </a:ln>
                <a:solidFill>
                  <a:srgbClr val="000000"/>
                </a:solidFill>
                <a:effectLst/>
                <a:uLnTx/>
                <a:uFillTx/>
                <a:latin typeface="Segoe UI Semibold"/>
                <a:ea typeface="+mn-ea"/>
                <a:cs typeface="Segoe UI"/>
              </a:rPr>
              <a:t>Commercialize</a:t>
            </a:r>
            <a:r>
              <a:rPr kumimoji="0" lang="en-US" sz="2400" b="0" i="0" u="none" strike="noStrike" kern="1200" cap="none" spc="-50" normalizeH="0" baseline="0" noProof="0" dirty="0">
                <a:ln w="3175">
                  <a:noFill/>
                </a:ln>
                <a:gradFill>
                  <a:gsLst>
                    <a:gs pos="1250">
                      <a:srgbClr val="000000"/>
                    </a:gs>
                    <a:gs pos="100000">
                      <a:srgbClr val="000000"/>
                    </a:gs>
                  </a:gsLst>
                  <a:lin ang="5400000" scaled="0"/>
                </a:gradFill>
                <a:effectLst/>
                <a:uLnTx/>
                <a:uFillTx/>
                <a:latin typeface="Segoe UI Semibold"/>
                <a:ea typeface="+mn-ea"/>
                <a:cs typeface="Segoe UI"/>
              </a:rPr>
              <a:t> </a:t>
            </a:r>
            <a:r>
              <a:rPr kumimoji="0" lang="en-US" sz="2400" b="0" i="0" u="none" strike="noStrike" kern="0" cap="none" spc="-50" normalizeH="0" baseline="0" noProof="0" dirty="0">
                <a:ln w="3175">
                  <a:noFill/>
                </a:ln>
                <a:solidFill>
                  <a:srgbClr val="0078D4"/>
                </a:solidFill>
                <a:effectLst/>
                <a:uLnTx/>
                <a:uFillTx/>
                <a:latin typeface="Segoe UI Semibold"/>
                <a:ea typeface="+mn-ea"/>
                <a:cs typeface="Segoe UI"/>
              </a:rPr>
              <a:t>scalable technologies and deployments</a:t>
            </a:r>
            <a:endParaRPr kumimoji="0" lang="en-US" sz="2400" b="0" i="0" u="none" strike="noStrike" kern="1200" cap="none" spc="-50" normalizeH="0" baseline="0" noProof="0" dirty="0">
              <a:ln w="3175">
                <a:noFill/>
              </a:ln>
              <a:gradFill>
                <a:gsLst>
                  <a:gs pos="1250">
                    <a:srgbClr val="000000"/>
                  </a:gs>
                  <a:gs pos="100000">
                    <a:srgbClr val="000000"/>
                  </a:gs>
                </a:gsLst>
                <a:lin ang="5400000" scaled="0"/>
              </a:gradFill>
              <a:effectLst/>
              <a:uLnTx/>
              <a:uFillTx/>
              <a:latin typeface="Segoe UI Semibold"/>
              <a:ea typeface="+mn-ea"/>
              <a:cs typeface="Segoe UI" pitchFamily="34" charset="0"/>
            </a:endParaRPr>
          </a:p>
        </p:txBody>
      </p:sp>
      <p:pic>
        <p:nvPicPr>
          <p:cNvPr id="11" name="Content Placeholder 4" descr="Image of people under an umbrella, in the sign, signing paperwork">
            <a:extLst>
              <a:ext uri="{FF2B5EF4-FFF2-40B4-BE49-F238E27FC236}">
                <a16:creationId xmlns:a16="http://schemas.microsoft.com/office/drawing/2014/main" id="{5D9A4D3E-FD50-4E9A-A649-F411A3A9FC18}"/>
              </a:ext>
            </a:extLst>
          </p:cNvPr>
          <p:cNvPicPr>
            <a:picLocks noChangeAspect="1"/>
          </p:cNvPicPr>
          <p:nvPr/>
        </p:nvPicPr>
        <p:blipFill rotWithShape="1">
          <a:blip r:embed="rId6">
            <a:extLst>
              <a:ext uri="{28A0092B-C50C-407E-A947-70E740481C1C}">
                <a14:useLocalDpi xmlns:a14="http://schemas.microsoft.com/office/drawing/2010/main" val="0"/>
              </a:ext>
            </a:extLst>
          </a:blip>
          <a:srcRect l="21033" t="17192" r="28481" b="2292"/>
          <a:stretch/>
        </p:blipFill>
        <p:spPr>
          <a:xfrm>
            <a:off x="5481329" y="146844"/>
            <a:ext cx="3200401" cy="3200110"/>
          </a:xfrm>
          <a:prstGeom prst="rect">
            <a:avLst/>
          </a:prstGeom>
        </p:spPr>
      </p:pic>
      <p:sp>
        <p:nvSpPr>
          <p:cNvPr id="3" name="Title 2">
            <a:extLst>
              <a:ext uri="{FF2B5EF4-FFF2-40B4-BE49-F238E27FC236}">
                <a16:creationId xmlns:a16="http://schemas.microsoft.com/office/drawing/2014/main" id="{685991BF-0F21-4845-9B92-8E098F939286}"/>
              </a:ext>
            </a:extLst>
          </p:cNvPr>
          <p:cNvSpPr>
            <a:spLocks noGrp="1"/>
          </p:cNvSpPr>
          <p:nvPr>
            <p:ph type="title" idx="4294967295"/>
          </p:nvPr>
        </p:nvSpPr>
        <p:spPr/>
        <p:txBody>
          <a:bodyPr/>
          <a:lstStyle/>
          <a:p>
            <a:r>
              <a:rPr lang="en-US" dirty="0"/>
              <a:t>Our Approach</a:t>
            </a:r>
          </a:p>
        </p:txBody>
      </p:sp>
    </p:spTree>
    <p:extLst>
      <p:ext uri="{BB962C8B-B14F-4D97-AF65-F5344CB8AC3E}">
        <p14:creationId xmlns:p14="http://schemas.microsoft.com/office/powerpoint/2010/main" val="15964218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750"/>
                                        <p:tgtEl>
                                          <p:spTgt spid="19"/>
                                        </p:tgtEl>
                                      </p:cBhvr>
                                    </p:animEffect>
                                  </p:childTnLst>
                                </p:cTn>
                              </p:par>
                              <p:par>
                                <p:cTn id="8" presetID="42" presetClass="path" presetSubtype="0" decel="100000" fill="hold" nodeType="withEffect">
                                  <p:stCondLst>
                                    <p:cond delay="0"/>
                                  </p:stCondLst>
                                  <p:childTnLst>
                                    <p:animMotion origin="layout" path="M 8.78223E-7 0 L 0.08055 0 " pathEditMode="relative" rAng="0" ptsTypes="AA">
                                      <p:cBhvr>
                                        <p:cTn id="9" dur="1250" spd="-100000" fill="hold"/>
                                        <p:tgtEl>
                                          <p:spTgt spid="19"/>
                                        </p:tgtEl>
                                        <p:attrNameLst>
                                          <p:attrName>ppt_x</p:attrName>
                                          <p:attrName>ppt_y</p:attrName>
                                        </p:attrNameLst>
                                      </p:cBhvr>
                                      <p:rCtr x="4021"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3" name="Group 236" descr="Small business icon (store front)">
            <a:extLst>
              <a:ext uri="{FF2B5EF4-FFF2-40B4-BE49-F238E27FC236}">
                <a16:creationId xmlns:a16="http://schemas.microsoft.com/office/drawing/2014/main" id="{60329845-3C09-4542-8DFB-DA0286F55A95}"/>
              </a:ext>
            </a:extLst>
          </p:cNvPr>
          <p:cNvGrpSpPr>
            <a:grpSpLocks noChangeAspect="1"/>
          </p:cNvGrpSpPr>
          <p:nvPr/>
        </p:nvGrpSpPr>
        <p:grpSpPr bwMode="auto">
          <a:xfrm>
            <a:off x="6411185" y="4884094"/>
            <a:ext cx="367700" cy="378795"/>
            <a:chOff x="4156" y="2737"/>
            <a:chExt cx="232" cy="239"/>
          </a:xfrm>
        </p:grpSpPr>
        <p:sp>
          <p:nvSpPr>
            <p:cNvPr id="125" name="Freeform 237">
              <a:extLst>
                <a:ext uri="{FF2B5EF4-FFF2-40B4-BE49-F238E27FC236}">
                  <a16:creationId xmlns:a16="http://schemas.microsoft.com/office/drawing/2014/main" id="{311A005E-E80D-7440-9277-BC123C2F4ABF}"/>
                </a:ext>
              </a:extLst>
            </p:cNvPr>
            <p:cNvSpPr>
              <a:spLocks noEditPoints="1"/>
            </p:cNvSpPr>
            <p:nvPr/>
          </p:nvSpPr>
          <p:spPr bwMode="auto">
            <a:xfrm>
              <a:off x="4165" y="2852"/>
              <a:ext cx="215" cy="124"/>
            </a:xfrm>
            <a:custGeom>
              <a:avLst/>
              <a:gdLst>
                <a:gd name="T0" fmla="*/ 41 w 346"/>
                <a:gd name="T1" fmla="*/ 173 h 200"/>
                <a:gd name="T2" fmla="*/ 41 w 346"/>
                <a:gd name="T3" fmla="*/ 173 h 200"/>
                <a:gd name="T4" fmla="*/ 40 w 346"/>
                <a:gd name="T5" fmla="*/ 67 h 200"/>
                <a:gd name="T6" fmla="*/ 306 w 346"/>
                <a:gd name="T7" fmla="*/ 67 h 200"/>
                <a:gd name="T8" fmla="*/ 307 w 346"/>
                <a:gd name="T9" fmla="*/ 173 h 200"/>
                <a:gd name="T10" fmla="*/ 41 w 346"/>
                <a:gd name="T11" fmla="*/ 173 h 200"/>
                <a:gd name="T12" fmla="*/ 306 w 346"/>
                <a:gd name="T13" fmla="*/ 0 h 200"/>
                <a:gd name="T14" fmla="*/ 306 w 346"/>
                <a:gd name="T15" fmla="*/ 0 h 200"/>
                <a:gd name="T16" fmla="*/ 279 w 346"/>
                <a:gd name="T17" fmla="*/ 27 h 200"/>
                <a:gd name="T18" fmla="*/ 253 w 346"/>
                <a:gd name="T19" fmla="*/ 0 h 200"/>
                <a:gd name="T20" fmla="*/ 226 w 346"/>
                <a:gd name="T21" fmla="*/ 27 h 200"/>
                <a:gd name="T22" fmla="*/ 199 w 346"/>
                <a:gd name="T23" fmla="*/ 0 h 200"/>
                <a:gd name="T24" fmla="*/ 173 w 346"/>
                <a:gd name="T25" fmla="*/ 27 h 200"/>
                <a:gd name="T26" fmla="*/ 146 w 346"/>
                <a:gd name="T27" fmla="*/ 0 h 200"/>
                <a:gd name="T28" fmla="*/ 120 w 346"/>
                <a:gd name="T29" fmla="*/ 27 h 200"/>
                <a:gd name="T30" fmla="*/ 93 w 346"/>
                <a:gd name="T31" fmla="*/ 0 h 200"/>
                <a:gd name="T32" fmla="*/ 66 w 346"/>
                <a:gd name="T33" fmla="*/ 27 h 200"/>
                <a:gd name="T34" fmla="*/ 40 w 346"/>
                <a:gd name="T35" fmla="*/ 0 h 200"/>
                <a:gd name="T36" fmla="*/ 13 w 346"/>
                <a:gd name="T37" fmla="*/ 27 h 200"/>
                <a:gd name="T38" fmla="*/ 0 w 346"/>
                <a:gd name="T39" fmla="*/ 23 h 200"/>
                <a:gd name="T40" fmla="*/ 0 w 346"/>
                <a:gd name="T41" fmla="*/ 200 h 200"/>
                <a:gd name="T42" fmla="*/ 346 w 346"/>
                <a:gd name="T43" fmla="*/ 200 h 200"/>
                <a:gd name="T44" fmla="*/ 346 w 346"/>
                <a:gd name="T45" fmla="*/ 23 h 200"/>
                <a:gd name="T46" fmla="*/ 333 w 346"/>
                <a:gd name="T47" fmla="*/ 27 h 200"/>
                <a:gd name="T48" fmla="*/ 306 w 346"/>
                <a:gd name="T4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200">
                  <a:moveTo>
                    <a:pt x="41" y="173"/>
                  </a:moveTo>
                  <a:lnTo>
                    <a:pt x="41" y="173"/>
                  </a:lnTo>
                  <a:lnTo>
                    <a:pt x="40" y="67"/>
                  </a:lnTo>
                  <a:lnTo>
                    <a:pt x="306" y="67"/>
                  </a:lnTo>
                  <a:lnTo>
                    <a:pt x="307" y="173"/>
                  </a:lnTo>
                  <a:lnTo>
                    <a:pt x="41" y="173"/>
                  </a:lnTo>
                  <a:close/>
                  <a:moveTo>
                    <a:pt x="306" y="0"/>
                  </a:moveTo>
                  <a:lnTo>
                    <a:pt x="306" y="0"/>
                  </a:lnTo>
                  <a:cubicBezTo>
                    <a:pt x="306" y="15"/>
                    <a:pt x="294" y="27"/>
                    <a:pt x="279" y="27"/>
                  </a:cubicBezTo>
                  <a:cubicBezTo>
                    <a:pt x="265" y="27"/>
                    <a:pt x="253" y="15"/>
                    <a:pt x="253" y="0"/>
                  </a:cubicBezTo>
                  <a:cubicBezTo>
                    <a:pt x="253" y="15"/>
                    <a:pt x="241" y="27"/>
                    <a:pt x="226" y="27"/>
                  </a:cubicBezTo>
                  <a:cubicBezTo>
                    <a:pt x="211" y="27"/>
                    <a:pt x="200" y="15"/>
                    <a:pt x="199" y="0"/>
                  </a:cubicBezTo>
                  <a:cubicBezTo>
                    <a:pt x="199" y="15"/>
                    <a:pt x="187" y="27"/>
                    <a:pt x="173" y="27"/>
                  </a:cubicBezTo>
                  <a:cubicBezTo>
                    <a:pt x="158" y="27"/>
                    <a:pt x="146" y="15"/>
                    <a:pt x="146" y="0"/>
                  </a:cubicBezTo>
                  <a:cubicBezTo>
                    <a:pt x="146" y="15"/>
                    <a:pt x="134" y="27"/>
                    <a:pt x="120" y="27"/>
                  </a:cubicBezTo>
                  <a:cubicBezTo>
                    <a:pt x="105" y="27"/>
                    <a:pt x="93" y="15"/>
                    <a:pt x="93" y="0"/>
                  </a:cubicBezTo>
                  <a:cubicBezTo>
                    <a:pt x="93" y="15"/>
                    <a:pt x="81" y="27"/>
                    <a:pt x="66" y="27"/>
                  </a:cubicBezTo>
                  <a:cubicBezTo>
                    <a:pt x="52" y="27"/>
                    <a:pt x="40" y="15"/>
                    <a:pt x="40" y="0"/>
                  </a:cubicBezTo>
                  <a:cubicBezTo>
                    <a:pt x="39" y="15"/>
                    <a:pt x="28" y="27"/>
                    <a:pt x="13" y="27"/>
                  </a:cubicBezTo>
                  <a:cubicBezTo>
                    <a:pt x="8" y="27"/>
                    <a:pt x="4" y="25"/>
                    <a:pt x="0" y="23"/>
                  </a:cubicBezTo>
                  <a:lnTo>
                    <a:pt x="0" y="200"/>
                  </a:lnTo>
                  <a:lnTo>
                    <a:pt x="346" y="200"/>
                  </a:lnTo>
                  <a:lnTo>
                    <a:pt x="346" y="23"/>
                  </a:lnTo>
                  <a:cubicBezTo>
                    <a:pt x="342" y="25"/>
                    <a:pt x="338" y="27"/>
                    <a:pt x="333" y="27"/>
                  </a:cubicBezTo>
                  <a:cubicBezTo>
                    <a:pt x="318" y="27"/>
                    <a:pt x="306" y="15"/>
                    <a:pt x="306" y="0"/>
                  </a:cubicBezTo>
                  <a:close/>
                </a:path>
              </a:pathLst>
            </a:custGeom>
            <a:no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6" name="Freeform 238">
              <a:extLst>
                <a:ext uri="{FF2B5EF4-FFF2-40B4-BE49-F238E27FC236}">
                  <a16:creationId xmlns:a16="http://schemas.microsoft.com/office/drawing/2014/main" id="{A21B0657-B8CA-D84C-A56B-8D52D615358F}"/>
                </a:ext>
              </a:extLst>
            </p:cNvPr>
            <p:cNvSpPr>
              <a:spLocks/>
            </p:cNvSpPr>
            <p:nvPr/>
          </p:nvSpPr>
          <p:spPr bwMode="auto">
            <a:xfrm>
              <a:off x="4156" y="2836"/>
              <a:ext cx="34" cy="33"/>
            </a:xfrm>
            <a:custGeom>
              <a:avLst/>
              <a:gdLst>
                <a:gd name="T0" fmla="*/ 54 w 54"/>
                <a:gd name="T1" fmla="*/ 0 h 53"/>
                <a:gd name="T2" fmla="*/ 54 w 54"/>
                <a:gd name="T3" fmla="*/ 0 h 53"/>
                <a:gd name="T4" fmla="*/ 54 w 54"/>
                <a:gd name="T5" fmla="*/ 26 h 53"/>
                <a:gd name="T6" fmla="*/ 54 w 54"/>
                <a:gd name="T7" fmla="*/ 26 h 53"/>
                <a:gd name="T8" fmla="*/ 27 w 54"/>
                <a:gd name="T9" fmla="*/ 53 h 53"/>
                <a:gd name="T10" fmla="*/ 14 w 54"/>
                <a:gd name="T11" fmla="*/ 49 h 53"/>
                <a:gd name="T12" fmla="*/ 0 w 54"/>
                <a:gd name="T13" fmla="*/ 26 h 53"/>
                <a:gd name="T14" fmla="*/ 0 w 54"/>
                <a:gd name="T15" fmla="*/ 0 h 53"/>
                <a:gd name="T16" fmla="*/ 54 w 54"/>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53">
                  <a:moveTo>
                    <a:pt x="54" y="0"/>
                  </a:moveTo>
                  <a:lnTo>
                    <a:pt x="54" y="0"/>
                  </a:lnTo>
                  <a:lnTo>
                    <a:pt x="54" y="26"/>
                  </a:lnTo>
                  <a:lnTo>
                    <a:pt x="54" y="26"/>
                  </a:lnTo>
                  <a:cubicBezTo>
                    <a:pt x="53" y="41"/>
                    <a:pt x="42" y="53"/>
                    <a:pt x="27" y="53"/>
                  </a:cubicBezTo>
                  <a:cubicBezTo>
                    <a:pt x="22" y="53"/>
                    <a:pt x="18" y="51"/>
                    <a:pt x="14" y="49"/>
                  </a:cubicBezTo>
                  <a:cubicBezTo>
                    <a:pt x="6" y="45"/>
                    <a:pt x="0" y="36"/>
                    <a:pt x="0" y="26"/>
                  </a:cubicBezTo>
                  <a:lnTo>
                    <a:pt x="0" y="0"/>
                  </a:lnTo>
                  <a:lnTo>
                    <a:pt x="54" y="0"/>
                  </a:lnTo>
                  <a:close/>
                </a:path>
              </a:pathLst>
            </a:custGeom>
            <a:solidFill>
              <a:schemeClr val="bg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Freeform 239">
              <a:extLst>
                <a:ext uri="{FF2B5EF4-FFF2-40B4-BE49-F238E27FC236}">
                  <a16:creationId xmlns:a16="http://schemas.microsoft.com/office/drawing/2014/main" id="{4F507F48-8FA4-0647-B9E2-548206E15905}"/>
                </a:ext>
              </a:extLst>
            </p:cNvPr>
            <p:cNvSpPr>
              <a:spLocks/>
            </p:cNvSpPr>
            <p:nvPr/>
          </p:nvSpPr>
          <p:spPr bwMode="auto">
            <a:xfrm>
              <a:off x="4190" y="2836"/>
              <a:ext cx="33" cy="33"/>
            </a:xfrm>
            <a:custGeom>
              <a:avLst/>
              <a:gdLst>
                <a:gd name="T0" fmla="*/ 53 w 53"/>
                <a:gd name="T1" fmla="*/ 0 h 53"/>
                <a:gd name="T2" fmla="*/ 53 w 53"/>
                <a:gd name="T3" fmla="*/ 0 h 53"/>
                <a:gd name="T4" fmla="*/ 53 w 53"/>
                <a:gd name="T5" fmla="*/ 26 h 53"/>
                <a:gd name="T6" fmla="*/ 53 w 53"/>
                <a:gd name="T7" fmla="*/ 26 h 53"/>
                <a:gd name="T8" fmla="*/ 26 w 53"/>
                <a:gd name="T9" fmla="*/ 53 h 53"/>
                <a:gd name="T10" fmla="*/ 0 w 53"/>
                <a:gd name="T11" fmla="*/ 26 h 53"/>
                <a:gd name="T12" fmla="*/ 0 w 53"/>
                <a:gd name="T13" fmla="*/ 26 h 53"/>
                <a:gd name="T14" fmla="*/ 0 w 53"/>
                <a:gd name="T15" fmla="*/ 0 h 53"/>
                <a:gd name="T16" fmla="*/ 53 w 5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3">
                  <a:moveTo>
                    <a:pt x="53" y="0"/>
                  </a:moveTo>
                  <a:lnTo>
                    <a:pt x="53" y="0"/>
                  </a:lnTo>
                  <a:lnTo>
                    <a:pt x="53" y="26"/>
                  </a:lnTo>
                  <a:lnTo>
                    <a:pt x="53" y="26"/>
                  </a:lnTo>
                  <a:cubicBezTo>
                    <a:pt x="53" y="41"/>
                    <a:pt x="41" y="53"/>
                    <a:pt x="26" y="53"/>
                  </a:cubicBezTo>
                  <a:cubicBezTo>
                    <a:pt x="12" y="53"/>
                    <a:pt x="0" y="41"/>
                    <a:pt x="0" y="26"/>
                  </a:cubicBezTo>
                  <a:lnTo>
                    <a:pt x="0" y="26"/>
                  </a:lnTo>
                  <a:lnTo>
                    <a:pt x="0" y="0"/>
                  </a:lnTo>
                  <a:lnTo>
                    <a:pt x="53" y="0"/>
                  </a:lnTo>
                  <a:close/>
                </a:path>
              </a:pathLst>
            </a:custGeom>
            <a:solidFill>
              <a:schemeClr val="bg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Freeform 240">
              <a:extLst>
                <a:ext uri="{FF2B5EF4-FFF2-40B4-BE49-F238E27FC236}">
                  <a16:creationId xmlns:a16="http://schemas.microsoft.com/office/drawing/2014/main" id="{7FFC8F97-9F6F-0848-8C1B-A0D41D10821F}"/>
                </a:ext>
              </a:extLst>
            </p:cNvPr>
            <p:cNvSpPr>
              <a:spLocks/>
            </p:cNvSpPr>
            <p:nvPr/>
          </p:nvSpPr>
          <p:spPr bwMode="auto">
            <a:xfrm>
              <a:off x="4190" y="2836"/>
              <a:ext cx="0" cy="16"/>
            </a:xfrm>
            <a:custGeom>
              <a:avLst/>
              <a:gdLst>
                <a:gd name="T0" fmla="*/ 0 h 26"/>
                <a:gd name="T1" fmla="*/ 0 h 26"/>
                <a:gd name="T2" fmla="*/ 0 h 26"/>
                <a:gd name="T3" fmla="*/ 26 h 26"/>
                <a:gd name="T4" fmla="*/ 26 h 26"/>
                <a:gd name="T5" fmla="*/ 0 h 26"/>
              </a:gdLst>
              <a:ahLst/>
              <a:cxnLst>
                <a:cxn ang="0">
                  <a:pos x="0" y="T0"/>
                </a:cxn>
                <a:cxn ang="0">
                  <a:pos x="0" y="T1"/>
                </a:cxn>
                <a:cxn ang="0">
                  <a:pos x="0" y="T2"/>
                </a:cxn>
                <a:cxn ang="0">
                  <a:pos x="0" y="T3"/>
                </a:cxn>
                <a:cxn ang="0">
                  <a:pos x="0" y="T4"/>
                </a:cxn>
                <a:cxn ang="0">
                  <a:pos x="0" y="T5"/>
                </a:cxn>
              </a:cxnLst>
              <a:rect l="0" t="0" r="r" b="b"/>
              <a:pathLst>
                <a:path h="26">
                  <a:moveTo>
                    <a:pt x="0" y="0"/>
                  </a:moveTo>
                  <a:lnTo>
                    <a:pt x="0" y="0"/>
                  </a:lnTo>
                  <a:lnTo>
                    <a:pt x="0" y="0"/>
                  </a:lnTo>
                  <a:lnTo>
                    <a:pt x="0" y="26"/>
                  </a:lnTo>
                  <a:lnTo>
                    <a:pt x="0" y="26"/>
                  </a:lnTo>
                  <a:lnTo>
                    <a:pt x="0" y="0"/>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41">
              <a:extLst>
                <a:ext uri="{FF2B5EF4-FFF2-40B4-BE49-F238E27FC236}">
                  <a16:creationId xmlns:a16="http://schemas.microsoft.com/office/drawing/2014/main" id="{7614AC29-DE84-A448-A6EA-F7A3DC7A1B3D}"/>
                </a:ext>
              </a:extLst>
            </p:cNvPr>
            <p:cNvSpPr>
              <a:spLocks/>
            </p:cNvSpPr>
            <p:nvPr/>
          </p:nvSpPr>
          <p:spPr bwMode="auto">
            <a:xfrm>
              <a:off x="4190" y="2852"/>
              <a:ext cx="0" cy="0"/>
            </a:xfrm>
            <a:custGeom>
              <a:avLst/>
              <a:gdLst/>
              <a:ahLst/>
              <a:cxnLst>
                <a:cxn ang="0">
                  <a:pos x="0" y="0"/>
                </a:cxn>
                <a:cxn ang="0">
                  <a:pos x="0" y="0"/>
                </a:cxn>
                <a:cxn ang="0">
                  <a:pos x="0" y="0"/>
                </a:cxn>
                <a:cxn ang="0">
                  <a:pos x="0" y="0"/>
                </a:cxn>
                <a:cxn ang="0">
                  <a:pos x="0" y="0"/>
                </a:cxn>
              </a:cxnLst>
              <a:rect l="0" t="0" r="r" b="b"/>
              <a:pathLst>
                <a:path>
                  <a:moveTo>
                    <a:pt x="0" y="0"/>
                  </a:moveTo>
                  <a:lnTo>
                    <a:pt x="0" y="0"/>
                  </a:lnTo>
                  <a:cubicBezTo>
                    <a:pt x="0" y="0"/>
                    <a:pt x="0" y="0"/>
                    <a:pt x="0" y="0"/>
                  </a:cubicBezTo>
                  <a:cubicBezTo>
                    <a:pt x="0" y="0"/>
                    <a:pt x="0" y="0"/>
                    <a:pt x="0" y="0"/>
                  </a:cubicBezTo>
                  <a:lnTo>
                    <a:pt x="0" y="0"/>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0" name="Freeform 242">
              <a:extLst>
                <a:ext uri="{FF2B5EF4-FFF2-40B4-BE49-F238E27FC236}">
                  <a16:creationId xmlns:a16="http://schemas.microsoft.com/office/drawing/2014/main" id="{6F3314FF-A04F-2E44-A8D4-8284FB7B850A}"/>
                </a:ext>
              </a:extLst>
            </p:cNvPr>
            <p:cNvSpPr>
              <a:spLocks/>
            </p:cNvSpPr>
            <p:nvPr/>
          </p:nvSpPr>
          <p:spPr bwMode="auto">
            <a:xfrm>
              <a:off x="4223" y="2836"/>
              <a:ext cx="32" cy="33"/>
            </a:xfrm>
            <a:custGeom>
              <a:avLst/>
              <a:gdLst>
                <a:gd name="T0" fmla="*/ 53 w 53"/>
                <a:gd name="T1" fmla="*/ 0 h 53"/>
                <a:gd name="T2" fmla="*/ 53 w 53"/>
                <a:gd name="T3" fmla="*/ 0 h 53"/>
                <a:gd name="T4" fmla="*/ 53 w 53"/>
                <a:gd name="T5" fmla="*/ 26 h 53"/>
                <a:gd name="T6" fmla="*/ 53 w 53"/>
                <a:gd name="T7" fmla="*/ 26 h 53"/>
                <a:gd name="T8" fmla="*/ 26 w 53"/>
                <a:gd name="T9" fmla="*/ 53 h 53"/>
                <a:gd name="T10" fmla="*/ 0 w 53"/>
                <a:gd name="T11" fmla="*/ 26 h 53"/>
                <a:gd name="T12" fmla="*/ 0 w 53"/>
                <a:gd name="T13" fmla="*/ 26 h 53"/>
                <a:gd name="T14" fmla="*/ 0 w 53"/>
                <a:gd name="T15" fmla="*/ 0 h 53"/>
                <a:gd name="T16" fmla="*/ 53 w 5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3">
                  <a:moveTo>
                    <a:pt x="53" y="0"/>
                  </a:moveTo>
                  <a:lnTo>
                    <a:pt x="53" y="0"/>
                  </a:lnTo>
                  <a:lnTo>
                    <a:pt x="53" y="26"/>
                  </a:lnTo>
                  <a:lnTo>
                    <a:pt x="53" y="26"/>
                  </a:lnTo>
                  <a:cubicBezTo>
                    <a:pt x="53" y="41"/>
                    <a:pt x="41" y="53"/>
                    <a:pt x="26" y="53"/>
                  </a:cubicBezTo>
                  <a:cubicBezTo>
                    <a:pt x="12" y="53"/>
                    <a:pt x="0" y="41"/>
                    <a:pt x="0" y="26"/>
                  </a:cubicBezTo>
                  <a:cubicBezTo>
                    <a:pt x="0" y="26"/>
                    <a:pt x="0" y="26"/>
                    <a:pt x="0" y="26"/>
                  </a:cubicBezTo>
                  <a:lnTo>
                    <a:pt x="0" y="0"/>
                  </a:lnTo>
                  <a:lnTo>
                    <a:pt x="53" y="0"/>
                  </a:lnTo>
                  <a:close/>
                </a:path>
              </a:pathLst>
            </a:custGeom>
            <a:solidFill>
              <a:schemeClr val="bg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Freeform 243">
              <a:extLst>
                <a:ext uri="{FF2B5EF4-FFF2-40B4-BE49-F238E27FC236}">
                  <a16:creationId xmlns:a16="http://schemas.microsoft.com/office/drawing/2014/main" id="{C10ACFE5-5048-DD40-8AA2-2612B8DAD676}"/>
                </a:ext>
              </a:extLst>
            </p:cNvPr>
            <p:cNvSpPr>
              <a:spLocks/>
            </p:cNvSpPr>
            <p:nvPr/>
          </p:nvSpPr>
          <p:spPr bwMode="auto">
            <a:xfrm>
              <a:off x="4223" y="2836"/>
              <a:ext cx="0" cy="16"/>
            </a:xfrm>
            <a:custGeom>
              <a:avLst/>
              <a:gdLst>
                <a:gd name="T0" fmla="*/ 26 h 26"/>
                <a:gd name="T1" fmla="*/ 26 h 26"/>
                <a:gd name="T2" fmla="*/ 0 h 26"/>
                <a:gd name="T3" fmla="*/ 0 h 26"/>
                <a:gd name="T4" fmla="*/ 26 h 26"/>
                <a:gd name="T5" fmla="*/ 26 h 26"/>
              </a:gdLst>
              <a:ahLst/>
              <a:cxnLst>
                <a:cxn ang="0">
                  <a:pos x="0" y="T0"/>
                </a:cxn>
                <a:cxn ang="0">
                  <a:pos x="0" y="T1"/>
                </a:cxn>
                <a:cxn ang="0">
                  <a:pos x="0" y="T2"/>
                </a:cxn>
                <a:cxn ang="0">
                  <a:pos x="0" y="T3"/>
                </a:cxn>
                <a:cxn ang="0">
                  <a:pos x="0" y="T4"/>
                </a:cxn>
                <a:cxn ang="0">
                  <a:pos x="0" y="T5"/>
                </a:cxn>
              </a:cxnLst>
              <a:rect l="0" t="0" r="r" b="b"/>
              <a:pathLst>
                <a:path h="26">
                  <a:moveTo>
                    <a:pt x="0" y="26"/>
                  </a:moveTo>
                  <a:lnTo>
                    <a:pt x="0" y="26"/>
                  </a:lnTo>
                  <a:lnTo>
                    <a:pt x="0" y="0"/>
                  </a:lnTo>
                  <a:lnTo>
                    <a:pt x="0" y="0"/>
                  </a:lnTo>
                  <a:lnTo>
                    <a:pt x="0" y="26"/>
                  </a:lnTo>
                  <a:lnTo>
                    <a:pt x="0" y="26"/>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244">
              <a:extLst>
                <a:ext uri="{FF2B5EF4-FFF2-40B4-BE49-F238E27FC236}">
                  <a16:creationId xmlns:a16="http://schemas.microsoft.com/office/drawing/2014/main" id="{D7019E45-ED7B-C74F-B19B-D76190755123}"/>
                </a:ext>
              </a:extLst>
            </p:cNvPr>
            <p:cNvSpPr>
              <a:spLocks/>
            </p:cNvSpPr>
            <p:nvPr/>
          </p:nvSpPr>
          <p:spPr bwMode="auto">
            <a:xfrm>
              <a:off x="4223" y="2852"/>
              <a:ext cx="0" cy="0"/>
            </a:xfrm>
            <a:custGeom>
              <a:avLst/>
              <a:gdLst/>
              <a:ahLst/>
              <a:cxnLst>
                <a:cxn ang="0">
                  <a:pos x="0" y="0"/>
                </a:cxn>
                <a:cxn ang="0">
                  <a:pos x="0" y="0"/>
                </a:cxn>
                <a:cxn ang="0">
                  <a:pos x="0" y="0"/>
                </a:cxn>
                <a:cxn ang="0">
                  <a:pos x="0" y="0"/>
                </a:cxn>
                <a:cxn ang="0">
                  <a:pos x="0" y="0"/>
                </a:cxn>
              </a:cxnLst>
              <a:rect l="0" t="0" r="r" b="b"/>
              <a:pathLst>
                <a:path>
                  <a:moveTo>
                    <a:pt x="0" y="0"/>
                  </a:moveTo>
                  <a:lnTo>
                    <a:pt x="0" y="0"/>
                  </a:lnTo>
                  <a:cubicBezTo>
                    <a:pt x="0" y="0"/>
                    <a:pt x="0" y="0"/>
                    <a:pt x="0" y="0"/>
                  </a:cubicBezTo>
                  <a:cubicBezTo>
                    <a:pt x="0" y="0"/>
                    <a:pt x="0" y="0"/>
                    <a:pt x="0" y="0"/>
                  </a:cubicBez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245">
              <a:extLst>
                <a:ext uri="{FF2B5EF4-FFF2-40B4-BE49-F238E27FC236}">
                  <a16:creationId xmlns:a16="http://schemas.microsoft.com/office/drawing/2014/main" id="{DA1F265F-7E25-1843-AC01-AC965204D517}"/>
                </a:ext>
              </a:extLst>
            </p:cNvPr>
            <p:cNvSpPr>
              <a:spLocks/>
            </p:cNvSpPr>
            <p:nvPr/>
          </p:nvSpPr>
          <p:spPr bwMode="auto">
            <a:xfrm>
              <a:off x="4255" y="2836"/>
              <a:ext cx="33" cy="33"/>
            </a:xfrm>
            <a:custGeom>
              <a:avLst/>
              <a:gdLst>
                <a:gd name="T0" fmla="*/ 53 w 53"/>
                <a:gd name="T1" fmla="*/ 26 h 53"/>
                <a:gd name="T2" fmla="*/ 53 w 53"/>
                <a:gd name="T3" fmla="*/ 26 h 53"/>
                <a:gd name="T4" fmla="*/ 27 w 53"/>
                <a:gd name="T5" fmla="*/ 53 h 53"/>
                <a:gd name="T6" fmla="*/ 0 w 53"/>
                <a:gd name="T7" fmla="*/ 26 h 53"/>
                <a:gd name="T8" fmla="*/ 0 w 53"/>
                <a:gd name="T9" fmla="*/ 26 h 53"/>
                <a:gd name="T10" fmla="*/ 0 w 53"/>
                <a:gd name="T11" fmla="*/ 0 h 53"/>
                <a:gd name="T12" fmla="*/ 53 w 53"/>
                <a:gd name="T13" fmla="*/ 0 h 53"/>
                <a:gd name="T14" fmla="*/ 53 w 53"/>
                <a:gd name="T15" fmla="*/ 26 h 53"/>
                <a:gd name="T16" fmla="*/ 53 w 53"/>
                <a:gd name="T17"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3">
                  <a:moveTo>
                    <a:pt x="53" y="26"/>
                  </a:moveTo>
                  <a:lnTo>
                    <a:pt x="53" y="26"/>
                  </a:lnTo>
                  <a:cubicBezTo>
                    <a:pt x="53" y="41"/>
                    <a:pt x="41" y="53"/>
                    <a:pt x="27" y="53"/>
                  </a:cubicBezTo>
                  <a:cubicBezTo>
                    <a:pt x="12" y="53"/>
                    <a:pt x="0" y="41"/>
                    <a:pt x="0" y="26"/>
                  </a:cubicBezTo>
                  <a:lnTo>
                    <a:pt x="0" y="26"/>
                  </a:lnTo>
                  <a:lnTo>
                    <a:pt x="0" y="0"/>
                  </a:lnTo>
                  <a:lnTo>
                    <a:pt x="53" y="0"/>
                  </a:lnTo>
                  <a:lnTo>
                    <a:pt x="53" y="26"/>
                  </a:lnTo>
                  <a:cubicBezTo>
                    <a:pt x="53" y="26"/>
                    <a:pt x="53" y="26"/>
                    <a:pt x="53" y="26"/>
                  </a:cubicBezTo>
                  <a:close/>
                </a:path>
              </a:pathLst>
            </a:custGeom>
            <a:solidFill>
              <a:schemeClr val="bg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246">
              <a:extLst>
                <a:ext uri="{FF2B5EF4-FFF2-40B4-BE49-F238E27FC236}">
                  <a16:creationId xmlns:a16="http://schemas.microsoft.com/office/drawing/2014/main" id="{F5C10693-2244-844B-B790-CA5C87875642}"/>
                </a:ext>
              </a:extLst>
            </p:cNvPr>
            <p:cNvSpPr>
              <a:spLocks/>
            </p:cNvSpPr>
            <p:nvPr/>
          </p:nvSpPr>
          <p:spPr bwMode="auto">
            <a:xfrm>
              <a:off x="4255" y="2836"/>
              <a:ext cx="0" cy="16"/>
            </a:xfrm>
            <a:custGeom>
              <a:avLst/>
              <a:gdLst>
                <a:gd name="T0" fmla="*/ 26 h 26"/>
                <a:gd name="T1" fmla="*/ 26 h 26"/>
                <a:gd name="T2" fmla="*/ 0 h 26"/>
                <a:gd name="T3" fmla="*/ 0 h 26"/>
                <a:gd name="T4" fmla="*/ 26 h 26"/>
                <a:gd name="T5" fmla="*/ 26 h 26"/>
              </a:gdLst>
              <a:ahLst/>
              <a:cxnLst>
                <a:cxn ang="0">
                  <a:pos x="0" y="T0"/>
                </a:cxn>
                <a:cxn ang="0">
                  <a:pos x="0" y="T1"/>
                </a:cxn>
                <a:cxn ang="0">
                  <a:pos x="0" y="T2"/>
                </a:cxn>
                <a:cxn ang="0">
                  <a:pos x="0" y="T3"/>
                </a:cxn>
                <a:cxn ang="0">
                  <a:pos x="0" y="T4"/>
                </a:cxn>
                <a:cxn ang="0">
                  <a:pos x="0" y="T5"/>
                </a:cxn>
              </a:cxnLst>
              <a:rect l="0" t="0" r="r" b="b"/>
              <a:pathLst>
                <a:path h="26">
                  <a:moveTo>
                    <a:pt x="0" y="26"/>
                  </a:moveTo>
                  <a:lnTo>
                    <a:pt x="0" y="26"/>
                  </a:lnTo>
                  <a:lnTo>
                    <a:pt x="0" y="0"/>
                  </a:lnTo>
                  <a:lnTo>
                    <a:pt x="0" y="0"/>
                  </a:lnTo>
                  <a:lnTo>
                    <a:pt x="0" y="26"/>
                  </a:lnTo>
                  <a:lnTo>
                    <a:pt x="0" y="26"/>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247">
              <a:extLst>
                <a:ext uri="{FF2B5EF4-FFF2-40B4-BE49-F238E27FC236}">
                  <a16:creationId xmlns:a16="http://schemas.microsoft.com/office/drawing/2014/main" id="{FAB0AF94-B5AE-5648-8F6D-C7604921D957}"/>
                </a:ext>
              </a:extLst>
            </p:cNvPr>
            <p:cNvSpPr>
              <a:spLocks/>
            </p:cNvSpPr>
            <p:nvPr/>
          </p:nvSpPr>
          <p:spPr bwMode="auto">
            <a:xfrm>
              <a:off x="4255" y="2852"/>
              <a:ext cx="0" cy="0"/>
            </a:xfrm>
            <a:custGeom>
              <a:avLst/>
              <a:gdLst/>
              <a:ahLst/>
              <a:cxnLst>
                <a:cxn ang="0">
                  <a:pos x="0" y="0"/>
                </a:cxn>
                <a:cxn ang="0">
                  <a:pos x="0" y="0"/>
                </a:cxn>
                <a:cxn ang="0">
                  <a:pos x="0" y="0"/>
                </a:cxn>
                <a:cxn ang="0">
                  <a:pos x="0" y="0"/>
                </a:cxn>
                <a:cxn ang="0">
                  <a:pos x="0" y="0"/>
                </a:cxn>
              </a:cxnLst>
              <a:rect l="0" t="0" r="r" b="b"/>
              <a:pathLst>
                <a:path>
                  <a:moveTo>
                    <a:pt x="0" y="0"/>
                  </a:moveTo>
                  <a:lnTo>
                    <a:pt x="0" y="0"/>
                  </a:lnTo>
                  <a:cubicBezTo>
                    <a:pt x="0" y="0"/>
                    <a:pt x="0" y="0"/>
                    <a:pt x="0" y="0"/>
                  </a:cubicBezTo>
                  <a:cubicBezTo>
                    <a:pt x="0" y="0"/>
                    <a:pt x="0" y="0"/>
                    <a:pt x="0" y="0"/>
                  </a:cubicBezTo>
                  <a:lnTo>
                    <a:pt x="0" y="0"/>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248">
              <a:extLst>
                <a:ext uri="{FF2B5EF4-FFF2-40B4-BE49-F238E27FC236}">
                  <a16:creationId xmlns:a16="http://schemas.microsoft.com/office/drawing/2014/main" id="{32D76CC6-A187-3344-83FB-D8153130D3AE}"/>
                </a:ext>
              </a:extLst>
            </p:cNvPr>
            <p:cNvSpPr>
              <a:spLocks/>
            </p:cNvSpPr>
            <p:nvPr/>
          </p:nvSpPr>
          <p:spPr bwMode="auto">
            <a:xfrm>
              <a:off x="4289" y="2836"/>
              <a:ext cx="33" cy="33"/>
            </a:xfrm>
            <a:custGeom>
              <a:avLst/>
              <a:gdLst>
                <a:gd name="T0" fmla="*/ 53 w 53"/>
                <a:gd name="T1" fmla="*/ 0 h 53"/>
                <a:gd name="T2" fmla="*/ 53 w 53"/>
                <a:gd name="T3" fmla="*/ 0 h 53"/>
                <a:gd name="T4" fmla="*/ 53 w 53"/>
                <a:gd name="T5" fmla="*/ 26 h 53"/>
                <a:gd name="T6" fmla="*/ 53 w 53"/>
                <a:gd name="T7" fmla="*/ 26 h 53"/>
                <a:gd name="T8" fmla="*/ 26 w 53"/>
                <a:gd name="T9" fmla="*/ 53 h 53"/>
                <a:gd name="T10" fmla="*/ 0 w 53"/>
                <a:gd name="T11" fmla="*/ 26 h 53"/>
                <a:gd name="T12" fmla="*/ 0 w 53"/>
                <a:gd name="T13" fmla="*/ 26 h 53"/>
                <a:gd name="T14" fmla="*/ 0 w 53"/>
                <a:gd name="T15" fmla="*/ 0 h 53"/>
                <a:gd name="T16" fmla="*/ 53 w 5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3">
                  <a:moveTo>
                    <a:pt x="53" y="0"/>
                  </a:moveTo>
                  <a:lnTo>
                    <a:pt x="53" y="0"/>
                  </a:lnTo>
                  <a:lnTo>
                    <a:pt x="53" y="26"/>
                  </a:lnTo>
                  <a:lnTo>
                    <a:pt x="53" y="26"/>
                  </a:lnTo>
                  <a:cubicBezTo>
                    <a:pt x="53" y="41"/>
                    <a:pt x="41" y="53"/>
                    <a:pt x="26" y="53"/>
                  </a:cubicBezTo>
                  <a:cubicBezTo>
                    <a:pt x="12" y="53"/>
                    <a:pt x="0" y="41"/>
                    <a:pt x="0" y="26"/>
                  </a:cubicBezTo>
                  <a:lnTo>
                    <a:pt x="0" y="26"/>
                  </a:lnTo>
                  <a:lnTo>
                    <a:pt x="0" y="0"/>
                  </a:lnTo>
                  <a:lnTo>
                    <a:pt x="53" y="0"/>
                  </a:lnTo>
                  <a:close/>
                </a:path>
              </a:pathLst>
            </a:custGeom>
            <a:solidFill>
              <a:schemeClr val="bg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249">
              <a:extLst>
                <a:ext uri="{FF2B5EF4-FFF2-40B4-BE49-F238E27FC236}">
                  <a16:creationId xmlns:a16="http://schemas.microsoft.com/office/drawing/2014/main" id="{71910C70-E92B-A248-A85B-000D03FF1049}"/>
                </a:ext>
              </a:extLst>
            </p:cNvPr>
            <p:cNvSpPr>
              <a:spLocks/>
            </p:cNvSpPr>
            <p:nvPr/>
          </p:nvSpPr>
          <p:spPr bwMode="auto">
            <a:xfrm>
              <a:off x="4288" y="2836"/>
              <a:ext cx="0" cy="16"/>
            </a:xfrm>
            <a:custGeom>
              <a:avLst/>
              <a:gdLst>
                <a:gd name="T0" fmla="*/ 26 h 26"/>
                <a:gd name="T1" fmla="*/ 26 h 26"/>
                <a:gd name="T2" fmla="*/ 0 h 26"/>
                <a:gd name="T3" fmla="*/ 0 h 26"/>
                <a:gd name="T4" fmla="*/ 26 h 26"/>
                <a:gd name="T5" fmla="*/ 26 h 26"/>
              </a:gdLst>
              <a:ahLst/>
              <a:cxnLst>
                <a:cxn ang="0">
                  <a:pos x="0" y="T0"/>
                </a:cxn>
                <a:cxn ang="0">
                  <a:pos x="0" y="T1"/>
                </a:cxn>
                <a:cxn ang="0">
                  <a:pos x="0" y="T2"/>
                </a:cxn>
                <a:cxn ang="0">
                  <a:pos x="0" y="T3"/>
                </a:cxn>
                <a:cxn ang="0">
                  <a:pos x="0" y="T4"/>
                </a:cxn>
                <a:cxn ang="0">
                  <a:pos x="0" y="T5"/>
                </a:cxn>
              </a:cxnLst>
              <a:rect l="0" t="0" r="r" b="b"/>
              <a:pathLst>
                <a:path h="26">
                  <a:moveTo>
                    <a:pt x="0" y="26"/>
                  </a:moveTo>
                  <a:lnTo>
                    <a:pt x="0" y="26"/>
                  </a:lnTo>
                  <a:lnTo>
                    <a:pt x="0" y="0"/>
                  </a:lnTo>
                  <a:lnTo>
                    <a:pt x="0" y="0"/>
                  </a:lnTo>
                  <a:lnTo>
                    <a:pt x="0" y="26"/>
                  </a:lnTo>
                  <a:lnTo>
                    <a:pt x="0" y="26"/>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250">
              <a:extLst>
                <a:ext uri="{FF2B5EF4-FFF2-40B4-BE49-F238E27FC236}">
                  <a16:creationId xmlns:a16="http://schemas.microsoft.com/office/drawing/2014/main" id="{B610EB56-324C-4945-96BB-0C10B7890F9E}"/>
                </a:ext>
              </a:extLst>
            </p:cNvPr>
            <p:cNvSpPr>
              <a:spLocks/>
            </p:cNvSpPr>
            <p:nvPr/>
          </p:nvSpPr>
          <p:spPr bwMode="auto">
            <a:xfrm>
              <a:off x="4288" y="2852"/>
              <a:ext cx="0" cy="0"/>
            </a:xfrm>
            <a:custGeom>
              <a:avLst/>
              <a:gdLst/>
              <a:ahLst/>
              <a:cxnLst>
                <a:cxn ang="0">
                  <a:pos x="0" y="0"/>
                </a:cxn>
                <a:cxn ang="0">
                  <a:pos x="0" y="0"/>
                </a:cxn>
                <a:cxn ang="0">
                  <a:pos x="0" y="0"/>
                </a:cxn>
                <a:cxn ang="0">
                  <a:pos x="0" y="0"/>
                </a:cxn>
                <a:cxn ang="0">
                  <a:pos x="0" y="0"/>
                </a:cxn>
              </a:cxnLst>
              <a:rect l="0" t="0" r="r" b="b"/>
              <a:pathLst>
                <a:path>
                  <a:moveTo>
                    <a:pt x="0" y="0"/>
                  </a:moveTo>
                  <a:lnTo>
                    <a:pt x="0" y="0"/>
                  </a:lnTo>
                  <a:cubicBezTo>
                    <a:pt x="0" y="0"/>
                    <a:pt x="0" y="0"/>
                    <a:pt x="0" y="0"/>
                  </a:cubicBezTo>
                  <a:cubicBezTo>
                    <a:pt x="0" y="0"/>
                    <a:pt x="0" y="0"/>
                    <a:pt x="0" y="0"/>
                  </a:cubicBez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251">
              <a:extLst>
                <a:ext uri="{FF2B5EF4-FFF2-40B4-BE49-F238E27FC236}">
                  <a16:creationId xmlns:a16="http://schemas.microsoft.com/office/drawing/2014/main" id="{08A48294-87D1-DD4D-8D4F-22B8177EB568}"/>
                </a:ext>
              </a:extLst>
            </p:cNvPr>
            <p:cNvSpPr>
              <a:spLocks/>
            </p:cNvSpPr>
            <p:nvPr/>
          </p:nvSpPr>
          <p:spPr bwMode="auto">
            <a:xfrm>
              <a:off x="4322" y="2836"/>
              <a:ext cx="33" cy="33"/>
            </a:xfrm>
            <a:custGeom>
              <a:avLst/>
              <a:gdLst>
                <a:gd name="T0" fmla="*/ 53 w 53"/>
                <a:gd name="T1" fmla="*/ 0 h 53"/>
                <a:gd name="T2" fmla="*/ 53 w 53"/>
                <a:gd name="T3" fmla="*/ 0 h 53"/>
                <a:gd name="T4" fmla="*/ 53 w 53"/>
                <a:gd name="T5" fmla="*/ 26 h 53"/>
                <a:gd name="T6" fmla="*/ 53 w 53"/>
                <a:gd name="T7" fmla="*/ 26 h 53"/>
                <a:gd name="T8" fmla="*/ 26 w 53"/>
                <a:gd name="T9" fmla="*/ 53 h 53"/>
                <a:gd name="T10" fmla="*/ 0 w 53"/>
                <a:gd name="T11" fmla="*/ 26 h 53"/>
                <a:gd name="T12" fmla="*/ 0 w 53"/>
                <a:gd name="T13" fmla="*/ 26 h 53"/>
                <a:gd name="T14" fmla="*/ 0 w 53"/>
                <a:gd name="T15" fmla="*/ 0 h 53"/>
                <a:gd name="T16" fmla="*/ 53 w 53"/>
                <a:gd name="T1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3">
                  <a:moveTo>
                    <a:pt x="53" y="0"/>
                  </a:moveTo>
                  <a:lnTo>
                    <a:pt x="53" y="0"/>
                  </a:lnTo>
                  <a:lnTo>
                    <a:pt x="53" y="26"/>
                  </a:lnTo>
                  <a:lnTo>
                    <a:pt x="53" y="26"/>
                  </a:lnTo>
                  <a:cubicBezTo>
                    <a:pt x="53" y="41"/>
                    <a:pt x="41" y="53"/>
                    <a:pt x="26" y="53"/>
                  </a:cubicBezTo>
                  <a:cubicBezTo>
                    <a:pt x="12" y="53"/>
                    <a:pt x="0" y="41"/>
                    <a:pt x="0" y="26"/>
                  </a:cubicBezTo>
                  <a:lnTo>
                    <a:pt x="0" y="26"/>
                  </a:lnTo>
                  <a:lnTo>
                    <a:pt x="0" y="0"/>
                  </a:lnTo>
                  <a:lnTo>
                    <a:pt x="53" y="0"/>
                  </a:lnTo>
                  <a:close/>
                </a:path>
              </a:pathLst>
            </a:custGeom>
            <a:solidFill>
              <a:schemeClr val="bg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252">
              <a:extLst>
                <a:ext uri="{FF2B5EF4-FFF2-40B4-BE49-F238E27FC236}">
                  <a16:creationId xmlns:a16="http://schemas.microsoft.com/office/drawing/2014/main" id="{2C4BF368-3A28-834B-9F5A-217469F56E09}"/>
                </a:ext>
              </a:extLst>
            </p:cNvPr>
            <p:cNvSpPr>
              <a:spLocks/>
            </p:cNvSpPr>
            <p:nvPr/>
          </p:nvSpPr>
          <p:spPr bwMode="auto">
            <a:xfrm>
              <a:off x="4322" y="2836"/>
              <a:ext cx="0" cy="16"/>
            </a:xfrm>
            <a:custGeom>
              <a:avLst/>
              <a:gdLst>
                <a:gd name="T0" fmla="*/ 26 h 26"/>
                <a:gd name="T1" fmla="*/ 26 h 26"/>
                <a:gd name="T2" fmla="*/ 0 h 26"/>
                <a:gd name="T3" fmla="*/ 0 h 26"/>
                <a:gd name="T4" fmla="*/ 26 h 26"/>
                <a:gd name="T5" fmla="*/ 26 h 26"/>
              </a:gdLst>
              <a:ahLst/>
              <a:cxnLst>
                <a:cxn ang="0">
                  <a:pos x="0" y="T0"/>
                </a:cxn>
                <a:cxn ang="0">
                  <a:pos x="0" y="T1"/>
                </a:cxn>
                <a:cxn ang="0">
                  <a:pos x="0" y="T2"/>
                </a:cxn>
                <a:cxn ang="0">
                  <a:pos x="0" y="T3"/>
                </a:cxn>
                <a:cxn ang="0">
                  <a:pos x="0" y="T4"/>
                </a:cxn>
                <a:cxn ang="0">
                  <a:pos x="0" y="T5"/>
                </a:cxn>
              </a:cxnLst>
              <a:rect l="0" t="0" r="r" b="b"/>
              <a:pathLst>
                <a:path h="26">
                  <a:moveTo>
                    <a:pt x="0" y="26"/>
                  </a:moveTo>
                  <a:lnTo>
                    <a:pt x="0" y="26"/>
                  </a:lnTo>
                  <a:lnTo>
                    <a:pt x="0" y="0"/>
                  </a:lnTo>
                  <a:lnTo>
                    <a:pt x="0" y="0"/>
                  </a:lnTo>
                  <a:lnTo>
                    <a:pt x="0" y="26"/>
                  </a:lnTo>
                  <a:lnTo>
                    <a:pt x="0" y="26"/>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253">
              <a:extLst>
                <a:ext uri="{FF2B5EF4-FFF2-40B4-BE49-F238E27FC236}">
                  <a16:creationId xmlns:a16="http://schemas.microsoft.com/office/drawing/2014/main" id="{648F20D1-80C6-0044-AB85-DAC81958EAE9}"/>
                </a:ext>
              </a:extLst>
            </p:cNvPr>
            <p:cNvSpPr>
              <a:spLocks/>
            </p:cNvSpPr>
            <p:nvPr/>
          </p:nvSpPr>
          <p:spPr bwMode="auto">
            <a:xfrm>
              <a:off x="4322" y="2852"/>
              <a:ext cx="0" cy="0"/>
            </a:xfrm>
            <a:custGeom>
              <a:avLst/>
              <a:gdLst/>
              <a:ahLst/>
              <a:cxnLst>
                <a:cxn ang="0">
                  <a:pos x="0" y="0"/>
                </a:cxn>
                <a:cxn ang="0">
                  <a:pos x="0" y="0"/>
                </a:cxn>
                <a:cxn ang="0">
                  <a:pos x="0" y="0"/>
                </a:cxn>
                <a:cxn ang="0">
                  <a:pos x="0" y="0"/>
                </a:cxn>
                <a:cxn ang="0">
                  <a:pos x="0" y="0"/>
                </a:cxn>
              </a:cxnLst>
              <a:rect l="0" t="0" r="r" b="b"/>
              <a:pathLst>
                <a:path>
                  <a:moveTo>
                    <a:pt x="0" y="0"/>
                  </a:moveTo>
                  <a:lnTo>
                    <a:pt x="0" y="0"/>
                  </a:lnTo>
                  <a:cubicBezTo>
                    <a:pt x="0" y="0"/>
                    <a:pt x="0" y="0"/>
                    <a:pt x="0" y="0"/>
                  </a:cubicBezTo>
                  <a:cubicBezTo>
                    <a:pt x="0" y="0"/>
                    <a:pt x="0" y="0"/>
                    <a:pt x="0" y="0"/>
                  </a:cubicBezTo>
                  <a:lnTo>
                    <a:pt x="0" y="0"/>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254">
              <a:extLst>
                <a:ext uri="{FF2B5EF4-FFF2-40B4-BE49-F238E27FC236}">
                  <a16:creationId xmlns:a16="http://schemas.microsoft.com/office/drawing/2014/main" id="{B21F6A55-1E92-EB45-97BB-B9A61115CE37}"/>
                </a:ext>
              </a:extLst>
            </p:cNvPr>
            <p:cNvSpPr>
              <a:spLocks/>
            </p:cNvSpPr>
            <p:nvPr/>
          </p:nvSpPr>
          <p:spPr bwMode="auto">
            <a:xfrm>
              <a:off x="4355" y="2836"/>
              <a:ext cx="33" cy="33"/>
            </a:xfrm>
            <a:custGeom>
              <a:avLst/>
              <a:gdLst>
                <a:gd name="T0" fmla="*/ 53 w 53"/>
                <a:gd name="T1" fmla="*/ 26 h 53"/>
                <a:gd name="T2" fmla="*/ 53 w 53"/>
                <a:gd name="T3" fmla="*/ 26 h 53"/>
                <a:gd name="T4" fmla="*/ 40 w 53"/>
                <a:gd name="T5" fmla="*/ 49 h 53"/>
                <a:gd name="T6" fmla="*/ 27 w 53"/>
                <a:gd name="T7" fmla="*/ 53 h 53"/>
                <a:gd name="T8" fmla="*/ 0 w 53"/>
                <a:gd name="T9" fmla="*/ 26 h 53"/>
                <a:gd name="T10" fmla="*/ 0 w 53"/>
                <a:gd name="T11" fmla="*/ 26 h 53"/>
                <a:gd name="T12" fmla="*/ 0 w 53"/>
                <a:gd name="T13" fmla="*/ 0 h 53"/>
                <a:gd name="T14" fmla="*/ 53 w 53"/>
                <a:gd name="T15" fmla="*/ 0 h 53"/>
                <a:gd name="T16" fmla="*/ 53 w 53"/>
                <a:gd name="T17"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53">
                  <a:moveTo>
                    <a:pt x="53" y="26"/>
                  </a:moveTo>
                  <a:lnTo>
                    <a:pt x="53" y="26"/>
                  </a:lnTo>
                  <a:cubicBezTo>
                    <a:pt x="53" y="36"/>
                    <a:pt x="48" y="45"/>
                    <a:pt x="40" y="49"/>
                  </a:cubicBezTo>
                  <a:cubicBezTo>
                    <a:pt x="36" y="51"/>
                    <a:pt x="31" y="53"/>
                    <a:pt x="27" y="53"/>
                  </a:cubicBezTo>
                  <a:cubicBezTo>
                    <a:pt x="12" y="53"/>
                    <a:pt x="0" y="41"/>
                    <a:pt x="0" y="26"/>
                  </a:cubicBezTo>
                  <a:lnTo>
                    <a:pt x="0" y="26"/>
                  </a:lnTo>
                  <a:lnTo>
                    <a:pt x="0" y="0"/>
                  </a:lnTo>
                  <a:lnTo>
                    <a:pt x="53" y="0"/>
                  </a:lnTo>
                  <a:lnTo>
                    <a:pt x="53" y="26"/>
                  </a:lnTo>
                  <a:close/>
                </a:path>
              </a:pathLst>
            </a:custGeom>
            <a:solidFill>
              <a:schemeClr val="bg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255">
              <a:extLst>
                <a:ext uri="{FF2B5EF4-FFF2-40B4-BE49-F238E27FC236}">
                  <a16:creationId xmlns:a16="http://schemas.microsoft.com/office/drawing/2014/main" id="{DEB0C3D1-4920-C94D-9EC9-53CC5A10B27F}"/>
                </a:ext>
              </a:extLst>
            </p:cNvPr>
            <p:cNvSpPr>
              <a:spLocks/>
            </p:cNvSpPr>
            <p:nvPr/>
          </p:nvSpPr>
          <p:spPr bwMode="auto">
            <a:xfrm>
              <a:off x="4355" y="2836"/>
              <a:ext cx="0" cy="16"/>
            </a:xfrm>
            <a:custGeom>
              <a:avLst/>
              <a:gdLst>
                <a:gd name="T0" fmla="*/ 26 h 26"/>
                <a:gd name="T1" fmla="*/ 26 h 26"/>
                <a:gd name="T2" fmla="*/ 26 h 26"/>
                <a:gd name="T3" fmla="*/ 0 h 26"/>
                <a:gd name="T4" fmla="*/ 0 h 26"/>
                <a:gd name="T5" fmla="*/ 26 h 26"/>
              </a:gdLst>
              <a:ahLst/>
              <a:cxnLst>
                <a:cxn ang="0">
                  <a:pos x="0" y="T0"/>
                </a:cxn>
                <a:cxn ang="0">
                  <a:pos x="0" y="T1"/>
                </a:cxn>
                <a:cxn ang="0">
                  <a:pos x="0" y="T2"/>
                </a:cxn>
                <a:cxn ang="0">
                  <a:pos x="0" y="T3"/>
                </a:cxn>
                <a:cxn ang="0">
                  <a:pos x="0" y="T4"/>
                </a:cxn>
                <a:cxn ang="0">
                  <a:pos x="0" y="T5"/>
                </a:cxn>
              </a:cxnLst>
              <a:rect l="0" t="0" r="r" b="b"/>
              <a:pathLst>
                <a:path h="26">
                  <a:moveTo>
                    <a:pt x="0" y="26"/>
                  </a:moveTo>
                  <a:lnTo>
                    <a:pt x="0" y="26"/>
                  </a:lnTo>
                  <a:lnTo>
                    <a:pt x="0" y="26"/>
                  </a:lnTo>
                  <a:lnTo>
                    <a:pt x="0" y="0"/>
                  </a:lnTo>
                  <a:lnTo>
                    <a:pt x="0" y="0"/>
                  </a:lnTo>
                  <a:lnTo>
                    <a:pt x="0" y="26"/>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256">
              <a:extLst>
                <a:ext uri="{FF2B5EF4-FFF2-40B4-BE49-F238E27FC236}">
                  <a16:creationId xmlns:a16="http://schemas.microsoft.com/office/drawing/2014/main" id="{0C7E96E5-DE71-8F42-8163-CB919A4E735C}"/>
                </a:ext>
              </a:extLst>
            </p:cNvPr>
            <p:cNvSpPr>
              <a:spLocks/>
            </p:cNvSpPr>
            <p:nvPr/>
          </p:nvSpPr>
          <p:spPr bwMode="auto">
            <a:xfrm>
              <a:off x="4355" y="2852"/>
              <a:ext cx="0" cy="0"/>
            </a:xfrm>
            <a:custGeom>
              <a:avLst/>
              <a:gdLst/>
              <a:ahLst/>
              <a:cxnLst>
                <a:cxn ang="0">
                  <a:pos x="0" y="0"/>
                </a:cxn>
                <a:cxn ang="0">
                  <a:pos x="0" y="0"/>
                </a:cxn>
                <a:cxn ang="0">
                  <a:pos x="0" y="0"/>
                </a:cxn>
                <a:cxn ang="0">
                  <a:pos x="0" y="0"/>
                </a:cxn>
                <a:cxn ang="0">
                  <a:pos x="0" y="0"/>
                </a:cxn>
              </a:cxnLst>
              <a:rect l="0" t="0" r="r" b="b"/>
              <a:pathLst>
                <a:path>
                  <a:moveTo>
                    <a:pt x="0" y="0"/>
                  </a:moveTo>
                  <a:lnTo>
                    <a:pt x="0" y="0"/>
                  </a:lnTo>
                  <a:cubicBezTo>
                    <a:pt x="0" y="0"/>
                    <a:pt x="0" y="0"/>
                    <a:pt x="0" y="0"/>
                  </a:cubicBezTo>
                  <a:lnTo>
                    <a:pt x="0" y="0"/>
                  </a:lnTo>
                  <a:cubicBezTo>
                    <a:pt x="0" y="0"/>
                    <a:pt x="0" y="0"/>
                    <a:pt x="0" y="0"/>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257">
              <a:extLst>
                <a:ext uri="{FF2B5EF4-FFF2-40B4-BE49-F238E27FC236}">
                  <a16:creationId xmlns:a16="http://schemas.microsoft.com/office/drawing/2014/main" id="{6F54E6D5-314A-C54F-B366-4FFF4C811A74}"/>
                </a:ext>
              </a:extLst>
            </p:cNvPr>
            <p:cNvSpPr>
              <a:spLocks/>
            </p:cNvSpPr>
            <p:nvPr/>
          </p:nvSpPr>
          <p:spPr bwMode="auto">
            <a:xfrm>
              <a:off x="4156" y="2737"/>
              <a:ext cx="232" cy="99"/>
            </a:xfrm>
            <a:custGeom>
              <a:avLst/>
              <a:gdLst>
                <a:gd name="T0" fmla="*/ 373 w 373"/>
                <a:gd name="T1" fmla="*/ 160 h 160"/>
                <a:gd name="T2" fmla="*/ 373 w 373"/>
                <a:gd name="T3" fmla="*/ 160 h 160"/>
                <a:gd name="T4" fmla="*/ 0 w 373"/>
                <a:gd name="T5" fmla="*/ 160 h 160"/>
                <a:gd name="T6" fmla="*/ 54 w 373"/>
                <a:gd name="T7" fmla="*/ 80 h 160"/>
                <a:gd name="T8" fmla="*/ 174 w 373"/>
                <a:gd name="T9" fmla="*/ 80 h 160"/>
                <a:gd name="T10" fmla="*/ 174 w 373"/>
                <a:gd name="T11" fmla="*/ 66 h 160"/>
                <a:gd name="T12" fmla="*/ 80 w 373"/>
                <a:gd name="T13" fmla="*/ 66 h 160"/>
                <a:gd name="T14" fmla="*/ 80 w 373"/>
                <a:gd name="T15" fmla="*/ 0 h 160"/>
                <a:gd name="T16" fmla="*/ 293 w 373"/>
                <a:gd name="T17" fmla="*/ 0 h 160"/>
                <a:gd name="T18" fmla="*/ 293 w 373"/>
                <a:gd name="T19" fmla="*/ 66 h 160"/>
                <a:gd name="T20" fmla="*/ 200 w 373"/>
                <a:gd name="T21" fmla="*/ 66 h 160"/>
                <a:gd name="T22" fmla="*/ 200 w 373"/>
                <a:gd name="T23" fmla="*/ 80 h 160"/>
                <a:gd name="T24" fmla="*/ 320 w 373"/>
                <a:gd name="T25" fmla="*/ 80 h 160"/>
                <a:gd name="T26" fmla="*/ 373 w 373"/>
                <a:gd name="T2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3" h="160">
                  <a:moveTo>
                    <a:pt x="373" y="160"/>
                  </a:moveTo>
                  <a:lnTo>
                    <a:pt x="373" y="160"/>
                  </a:lnTo>
                  <a:lnTo>
                    <a:pt x="0" y="160"/>
                  </a:lnTo>
                  <a:lnTo>
                    <a:pt x="54" y="80"/>
                  </a:lnTo>
                  <a:lnTo>
                    <a:pt x="174" y="80"/>
                  </a:lnTo>
                  <a:lnTo>
                    <a:pt x="174" y="66"/>
                  </a:lnTo>
                  <a:lnTo>
                    <a:pt x="80" y="66"/>
                  </a:lnTo>
                  <a:lnTo>
                    <a:pt x="80" y="0"/>
                  </a:lnTo>
                  <a:lnTo>
                    <a:pt x="293" y="0"/>
                  </a:lnTo>
                  <a:lnTo>
                    <a:pt x="293" y="66"/>
                  </a:lnTo>
                  <a:lnTo>
                    <a:pt x="200" y="66"/>
                  </a:lnTo>
                  <a:lnTo>
                    <a:pt x="200" y="80"/>
                  </a:lnTo>
                  <a:lnTo>
                    <a:pt x="320" y="80"/>
                  </a:lnTo>
                  <a:lnTo>
                    <a:pt x="373" y="160"/>
                  </a:lnTo>
                  <a:close/>
                </a:path>
              </a:pathLst>
            </a:custGeom>
            <a:no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3" name="Group 194" descr="Education icon (graduation cap)&#10;">
            <a:extLst>
              <a:ext uri="{FF2B5EF4-FFF2-40B4-BE49-F238E27FC236}">
                <a16:creationId xmlns:a16="http://schemas.microsoft.com/office/drawing/2014/main" id="{410AEB8A-4A25-A74F-9F7B-5DF06BFC208D}"/>
              </a:ext>
            </a:extLst>
          </p:cNvPr>
          <p:cNvGrpSpPr>
            <a:grpSpLocks noChangeAspect="1"/>
          </p:cNvGrpSpPr>
          <p:nvPr/>
        </p:nvGrpSpPr>
        <p:grpSpPr bwMode="auto">
          <a:xfrm>
            <a:off x="6411185" y="3982224"/>
            <a:ext cx="391366" cy="327622"/>
            <a:chOff x="2408" y="2740"/>
            <a:chExt cx="264" cy="221"/>
          </a:xfrm>
        </p:grpSpPr>
        <p:sp>
          <p:nvSpPr>
            <p:cNvPr id="94" name="Freeform 195">
              <a:extLst>
                <a:ext uri="{FF2B5EF4-FFF2-40B4-BE49-F238E27FC236}">
                  <a16:creationId xmlns:a16="http://schemas.microsoft.com/office/drawing/2014/main" id="{F239D8B2-9D90-F94F-9CBC-C18F8D8FDA4E}"/>
                </a:ext>
              </a:extLst>
            </p:cNvPr>
            <p:cNvSpPr>
              <a:spLocks/>
            </p:cNvSpPr>
            <p:nvPr/>
          </p:nvSpPr>
          <p:spPr bwMode="auto">
            <a:xfrm>
              <a:off x="2458" y="2851"/>
              <a:ext cx="165" cy="80"/>
            </a:xfrm>
            <a:custGeom>
              <a:avLst/>
              <a:gdLst>
                <a:gd name="T0" fmla="*/ 266 w 266"/>
                <a:gd name="T1" fmla="*/ 40 h 128"/>
                <a:gd name="T2" fmla="*/ 266 w 266"/>
                <a:gd name="T3" fmla="*/ 40 h 128"/>
                <a:gd name="T4" fmla="*/ 261 w 266"/>
                <a:gd name="T5" fmla="*/ 6 h 128"/>
                <a:gd name="T6" fmla="*/ 259 w 266"/>
                <a:gd name="T7" fmla="*/ 0 h 128"/>
                <a:gd name="T8" fmla="*/ 145 w 266"/>
                <a:gd name="T9" fmla="*/ 57 h 128"/>
                <a:gd name="T10" fmla="*/ 133 w 266"/>
                <a:gd name="T11" fmla="*/ 63 h 128"/>
                <a:gd name="T12" fmla="*/ 121 w 266"/>
                <a:gd name="T13" fmla="*/ 57 h 128"/>
                <a:gd name="T14" fmla="*/ 6 w 266"/>
                <a:gd name="T15" fmla="*/ 0 h 128"/>
                <a:gd name="T16" fmla="*/ 2 w 266"/>
                <a:gd name="T17" fmla="*/ 17 h 128"/>
                <a:gd name="T18" fmla="*/ 0 w 266"/>
                <a:gd name="T19" fmla="*/ 38 h 128"/>
                <a:gd name="T20" fmla="*/ 0 w 266"/>
                <a:gd name="T21" fmla="*/ 61 h 128"/>
                <a:gd name="T22" fmla="*/ 133 w 266"/>
                <a:gd name="T23" fmla="*/ 128 h 128"/>
                <a:gd name="T24" fmla="*/ 266 w 266"/>
                <a:gd name="T25" fmla="*/ 61 h 128"/>
                <a:gd name="T26" fmla="*/ 266 w 266"/>
                <a:gd name="T27"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6" h="128">
                  <a:moveTo>
                    <a:pt x="266" y="40"/>
                  </a:moveTo>
                  <a:lnTo>
                    <a:pt x="266" y="40"/>
                  </a:lnTo>
                  <a:cubicBezTo>
                    <a:pt x="266" y="28"/>
                    <a:pt x="264" y="17"/>
                    <a:pt x="261" y="6"/>
                  </a:cubicBezTo>
                  <a:cubicBezTo>
                    <a:pt x="261" y="4"/>
                    <a:pt x="260" y="2"/>
                    <a:pt x="259" y="0"/>
                  </a:cubicBezTo>
                  <a:lnTo>
                    <a:pt x="145" y="57"/>
                  </a:lnTo>
                  <a:lnTo>
                    <a:pt x="133" y="63"/>
                  </a:lnTo>
                  <a:lnTo>
                    <a:pt x="121" y="57"/>
                  </a:lnTo>
                  <a:lnTo>
                    <a:pt x="6" y="0"/>
                  </a:lnTo>
                  <a:cubicBezTo>
                    <a:pt x="5" y="5"/>
                    <a:pt x="3" y="11"/>
                    <a:pt x="2" y="17"/>
                  </a:cubicBezTo>
                  <a:cubicBezTo>
                    <a:pt x="1" y="24"/>
                    <a:pt x="1" y="31"/>
                    <a:pt x="0" y="38"/>
                  </a:cubicBezTo>
                  <a:cubicBezTo>
                    <a:pt x="0" y="45"/>
                    <a:pt x="0" y="53"/>
                    <a:pt x="0" y="61"/>
                  </a:cubicBezTo>
                  <a:lnTo>
                    <a:pt x="133" y="128"/>
                  </a:lnTo>
                  <a:lnTo>
                    <a:pt x="266" y="61"/>
                  </a:lnTo>
                  <a:lnTo>
                    <a:pt x="266" y="40"/>
                  </a:lnTo>
                  <a:close/>
                </a:path>
              </a:pathLst>
            </a:custGeom>
            <a:no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196">
              <a:extLst>
                <a:ext uri="{FF2B5EF4-FFF2-40B4-BE49-F238E27FC236}">
                  <a16:creationId xmlns:a16="http://schemas.microsoft.com/office/drawing/2014/main" id="{2312B51D-F995-0D46-8DC1-A45893EDA1FD}"/>
                </a:ext>
              </a:extLst>
            </p:cNvPr>
            <p:cNvSpPr>
              <a:spLocks/>
            </p:cNvSpPr>
            <p:nvPr/>
          </p:nvSpPr>
          <p:spPr bwMode="auto">
            <a:xfrm>
              <a:off x="2415" y="2891"/>
              <a:ext cx="35" cy="70"/>
            </a:xfrm>
            <a:custGeom>
              <a:avLst/>
              <a:gdLst>
                <a:gd name="T0" fmla="*/ 15 w 56"/>
                <a:gd name="T1" fmla="*/ 4 h 113"/>
                <a:gd name="T2" fmla="*/ 15 w 56"/>
                <a:gd name="T3" fmla="*/ 4 h 113"/>
                <a:gd name="T4" fmla="*/ 8 w 56"/>
                <a:gd name="T5" fmla="*/ 8 h 113"/>
                <a:gd name="T6" fmla="*/ 0 w 56"/>
                <a:gd name="T7" fmla="*/ 28 h 113"/>
                <a:gd name="T8" fmla="*/ 0 w 56"/>
                <a:gd name="T9" fmla="*/ 113 h 113"/>
                <a:gd name="T10" fmla="*/ 56 w 56"/>
                <a:gd name="T11" fmla="*/ 113 h 113"/>
                <a:gd name="T12" fmla="*/ 56 w 56"/>
                <a:gd name="T13" fmla="*/ 28 h 113"/>
                <a:gd name="T14" fmla="*/ 48 w 56"/>
                <a:gd name="T15" fmla="*/ 8 h 113"/>
                <a:gd name="T16" fmla="*/ 42 w 56"/>
                <a:gd name="T17" fmla="*/ 4 h 113"/>
                <a:gd name="T18" fmla="*/ 28 w 56"/>
                <a:gd name="T19" fmla="*/ 0 h 113"/>
                <a:gd name="T20" fmla="*/ 15 w 56"/>
                <a:gd name="T21" fmla="*/ 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113">
                  <a:moveTo>
                    <a:pt x="15" y="4"/>
                  </a:moveTo>
                  <a:lnTo>
                    <a:pt x="15" y="4"/>
                  </a:lnTo>
                  <a:cubicBezTo>
                    <a:pt x="13" y="5"/>
                    <a:pt x="10" y="6"/>
                    <a:pt x="8" y="8"/>
                  </a:cubicBezTo>
                  <a:cubicBezTo>
                    <a:pt x="3" y="14"/>
                    <a:pt x="0" y="21"/>
                    <a:pt x="0" y="28"/>
                  </a:cubicBezTo>
                  <a:lnTo>
                    <a:pt x="0" y="113"/>
                  </a:lnTo>
                  <a:lnTo>
                    <a:pt x="56" y="113"/>
                  </a:lnTo>
                  <a:lnTo>
                    <a:pt x="56" y="28"/>
                  </a:lnTo>
                  <a:cubicBezTo>
                    <a:pt x="56" y="21"/>
                    <a:pt x="54" y="14"/>
                    <a:pt x="48" y="8"/>
                  </a:cubicBezTo>
                  <a:cubicBezTo>
                    <a:pt x="46" y="6"/>
                    <a:pt x="44" y="5"/>
                    <a:pt x="42" y="4"/>
                  </a:cubicBezTo>
                  <a:cubicBezTo>
                    <a:pt x="37" y="1"/>
                    <a:pt x="33" y="0"/>
                    <a:pt x="28" y="0"/>
                  </a:cubicBezTo>
                  <a:cubicBezTo>
                    <a:pt x="23" y="0"/>
                    <a:pt x="19" y="1"/>
                    <a:pt x="15" y="4"/>
                  </a:cubicBezTo>
                  <a:close/>
                </a:path>
              </a:pathLst>
            </a:custGeom>
            <a:no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197">
              <a:extLst>
                <a:ext uri="{FF2B5EF4-FFF2-40B4-BE49-F238E27FC236}">
                  <a16:creationId xmlns:a16="http://schemas.microsoft.com/office/drawing/2014/main" id="{CB06D752-0BB1-4F46-AAE4-8B26C2C62D6E}"/>
                </a:ext>
              </a:extLst>
            </p:cNvPr>
            <p:cNvSpPr>
              <a:spLocks/>
            </p:cNvSpPr>
            <p:nvPr/>
          </p:nvSpPr>
          <p:spPr bwMode="auto">
            <a:xfrm>
              <a:off x="2408" y="2740"/>
              <a:ext cx="264" cy="153"/>
            </a:xfrm>
            <a:custGeom>
              <a:avLst/>
              <a:gdLst>
                <a:gd name="T0" fmla="*/ 27 w 425"/>
                <a:gd name="T1" fmla="*/ 119 h 246"/>
                <a:gd name="T2" fmla="*/ 27 w 425"/>
                <a:gd name="T3" fmla="*/ 119 h 246"/>
                <a:gd name="T4" fmla="*/ 27 w 425"/>
                <a:gd name="T5" fmla="*/ 134 h 246"/>
                <a:gd name="T6" fmla="*/ 27 w 425"/>
                <a:gd name="T7" fmla="*/ 149 h 246"/>
                <a:gd name="T8" fmla="*/ 27 w 425"/>
                <a:gd name="T9" fmla="*/ 246 h 246"/>
                <a:gd name="T10" fmla="*/ 40 w 425"/>
                <a:gd name="T11" fmla="*/ 242 h 246"/>
                <a:gd name="T12" fmla="*/ 54 w 425"/>
                <a:gd name="T13" fmla="*/ 246 h 246"/>
                <a:gd name="T14" fmla="*/ 54 w 425"/>
                <a:gd name="T15" fmla="*/ 162 h 246"/>
                <a:gd name="T16" fmla="*/ 54 w 425"/>
                <a:gd name="T17" fmla="*/ 147 h 246"/>
                <a:gd name="T18" fmla="*/ 54 w 425"/>
                <a:gd name="T19" fmla="*/ 132 h 246"/>
                <a:gd name="T20" fmla="*/ 97 w 425"/>
                <a:gd name="T21" fmla="*/ 154 h 246"/>
                <a:gd name="T22" fmla="*/ 213 w 425"/>
                <a:gd name="T23" fmla="*/ 212 h 246"/>
                <a:gd name="T24" fmla="*/ 329 w 425"/>
                <a:gd name="T25" fmla="*/ 154 h 246"/>
                <a:gd name="T26" fmla="*/ 425 w 425"/>
                <a:gd name="T27" fmla="*/ 106 h 246"/>
                <a:gd name="T28" fmla="*/ 213 w 425"/>
                <a:gd name="T29" fmla="*/ 0 h 246"/>
                <a:gd name="T30" fmla="*/ 0 w 425"/>
                <a:gd name="T31" fmla="*/ 106 h 246"/>
                <a:gd name="T32" fmla="*/ 27 w 425"/>
                <a:gd name="T33" fmla="*/ 119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246">
                  <a:moveTo>
                    <a:pt x="27" y="119"/>
                  </a:moveTo>
                  <a:lnTo>
                    <a:pt x="27" y="119"/>
                  </a:lnTo>
                  <a:lnTo>
                    <a:pt x="27" y="134"/>
                  </a:lnTo>
                  <a:lnTo>
                    <a:pt x="27" y="149"/>
                  </a:lnTo>
                  <a:lnTo>
                    <a:pt x="27" y="246"/>
                  </a:lnTo>
                  <a:cubicBezTo>
                    <a:pt x="31" y="243"/>
                    <a:pt x="35" y="242"/>
                    <a:pt x="40" y="242"/>
                  </a:cubicBezTo>
                  <a:cubicBezTo>
                    <a:pt x="45" y="242"/>
                    <a:pt x="49" y="243"/>
                    <a:pt x="54" y="246"/>
                  </a:cubicBezTo>
                  <a:lnTo>
                    <a:pt x="54" y="162"/>
                  </a:lnTo>
                  <a:lnTo>
                    <a:pt x="54" y="147"/>
                  </a:lnTo>
                  <a:lnTo>
                    <a:pt x="54" y="132"/>
                  </a:lnTo>
                  <a:lnTo>
                    <a:pt x="97" y="154"/>
                  </a:lnTo>
                  <a:lnTo>
                    <a:pt x="213" y="212"/>
                  </a:lnTo>
                  <a:lnTo>
                    <a:pt x="329" y="154"/>
                  </a:lnTo>
                  <a:lnTo>
                    <a:pt x="425" y="106"/>
                  </a:lnTo>
                  <a:lnTo>
                    <a:pt x="213" y="0"/>
                  </a:lnTo>
                  <a:lnTo>
                    <a:pt x="0" y="106"/>
                  </a:lnTo>
                  <a:lnTo>
                    <a:pt x="27" y="119"/>
                  </a:lnTo>
                  <a:close/>
                </a:path>
              </a:pathLst>
            </a:custGeom>
            <a:noFill/>
            <a:ln w="127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64" name="Group 63" descr="Agriculture icon (wheat)">
            <a:extLst>
              <a:ext uri="{FF2B5EF4-FFF2-40B4-BE49-F238E27FC236}">
                <a16:creationId xmlns:a16="http://schemas.microsoft.com/office/drawing/2014/main" id="{80A003F7-9557-1947-A82A-F5695723BA4B}"/>
              </a:ext>
            </a:extLst>
          </p:cNvPr>
          <p:cNvGrpSpPr/>
          <p:nvPr/>
        </p:nvGrpSpPr>
        <p:grpSpPr>
          <a:xfrm>
            <a:off x="6504499" y="2903029"/>
            <a:ext cx="204737" cy="349414"/>
            <a:chOff x="4198442" y="2598579"/>
            <a:chExt cx="451586" cy="770700"/>
          </a:xfrm>
        </p:grpSpPr>
        <p:sp>
          <p:nvSpPr>
            <p:cNvPr id="65" name="plant_3">
              <a:extLst>
                <a:ext uri="{FF2B5EF4-FFF2-40B4-BE49-F238E27FC236}">
                  <a16:creationId xmlns:a16="http://schemas.microsoft.com/office/drawing/2014/main" id="{50C2D108-BB0C-7747-9904-3C5DC56234E5}"/>
                </a:ext>
              </a:extLst>
            </p:cNvPr>
            <p:cNvSpPr>
              <a:spLocks noChangeAspect="1" noEditPoints="1"/>
            </p:cNvSpPr>
            <p:nvPr/>
          </p:nvSpPr>
          <p:spPr bwMode="auto">
            <a:xfrm>
              <a:off x="4198442" y="2598579"/>
              <a:ext cx="451586" cy="770700"/>
            </a:xfrm>
            <a:custGeom>
              <a:avLst/>
              <a:gdLst>
                <a:gd name="T0" fmla="*/ 130 w 205"/>
                <a:gd name="T1" fmla="*/ 78 h 355"/>
                <a:gd name="T2" fmla="*/ 102 w 205"/>
                <a:gd name="T3" fmla="*/ 106 h 355"/>
                <a:gd name="T4" fmla="*/ 73 w 205"/>
                <a:gd name="T5" fmla="*/ 77 h 355"/>
                <a:gd name="T6" fmla="*/ 73 w 205"/>
                <a:gd name="T7" fmla="*/ 47 h 355"/>
                <a:gd name="T8" fmla="*/ 102 w 205"/>
                <a:gd name="T9" fmla="*/ 76 h 355"/>
                <a:gd name="T10" fmla="*/ 130 w 205"/>
                <a:gd name="T11" fmla="*/ 48 h 355"/>
                <a:gd name="T12" fmla="*/ 73 w 205"/>
                <a:gd name="T13" fmla="*/ 17 h 355"/>
                <a:gd name="T14" fmla="*/ 102 w 205"/>
                <a:gd name="T15" fmla="*/ 46 h 355"/>
                <a:gd name="T16" fmla="*/ 130 w 205"/>
                <a:gd name="T17" fmla="*/ 18 h 355"/>
                <a:gd name="T18" fmla="*/ 102 w 205"/>
                <a:gd name="T19" fmla="*/ 0 h 355"/>
                <a:gd name="T20" fmla="*/ 102 w 205"/>
                <a:gd name="T21" fmla="*/ 46 h 355"/>
                <a:gd name="T22" fmla="*/ 146 w 205"/>
                <a:gd name="T23" fmla="*/ 137 h 355"/>
                <a:gd name="T24" fmla="*/ 174 w 205"/>
                <a:gd name="T25" fmla="*/ 166 h 355"/>
                <a:gd name="T26" fmla="*/ 202 w 205"/>
                <a:gd name="T27" fmla="*/ 138 h 355"/>
                <a:gd name="T28" fmla="*/ 146 w 205"/>
                <a:gd name="T29" fmla="*/ 107 h 355"/>
                <a:gd name="T30" fmla="*/ 174 w 205"/>
                <a:gd name="T31" fmla="*/ 136 h 355"/>
                <a:gd name="T32" fmla="*/ 202 w 205"/>
                <a:gd name="T33" fmla="*/ 108 h 355"/>
                <a:gd name="T34" fmla="*/ 146 w 205"/>
                <a:gd name="T35" fmla="*/ 77 h 355"/>
                <a:gd name="T36" fmla="*/ 174 w 205"/>
                <a:gd name="T37" fmla="*/ 106 h 355"/>
                <a:gd name="T38" fmla="*/ 202 w 205"/>
                <a:gd name="T39" fmla="*/ 78 h 355"/>
                <a:gd name="T40" fmla="*/ 174 w 205"/>
                <a:gd name="T41" fmla="*/ 60 h 355"/>
                <a:gd name="T42" fmla="*/ 174 w 205"/>
                <a:gd name="T43" fmla="*/ 106 h 355"/>
                <a:gd name="T44" fmla="*/ 5 w 205"/>
                <a:gd name="T45" fmla="*/ 137 h 355"/>
                <a:gd name="T46" fmla="*/ 34 w 205"/>
                <a:gd name="T47" fmla="*/ 166 h 355"/>
                <a:gd name="T48" fmla="*/ 62 w 205"/>
                <a:gd name="T49" fmla="*/ 138 h 355"/>
                <a:gd name="T50" fmla="*/ 5 w 205"/>
                <a:gd name="T51" fmla="*/ 107 h 355"/>
                <a:gd name="T52" fmla="*/ 34 w 205"/>
                <a:gd name="T53" fmla="*/ 136 h 355"/>
                <a:gd name="T54" fmla="*/ 62 w 205"/>
                <a:gd name="T55" fmla="*/ 108 h 355"/>
                <a:gd name="T56" fmla="*/ 5 w 205"/>
                <a:gd name="T57" fmla="*/ 77 h 355"/>
                <a:gd name="T58" fmla="*/ 34 w 205"/>
                <a:gd name="T59" fmla="*/ 106 h 355"/>
                <a:gd name="T60" fmla="*/ 62 w 205"/>
                <a:gd name="T61" fmla="*/ 78 h 355"/>
                <a:gd name="T62" fmla="*/ 34 w 205"/>
                <a:gd name="T63" fmla="*/ 60 h 355"/>
                <a:gd name="T64" fmla="*/ 34 w 205"/>
                <a:gd name="T65" fmla="*/ 106 h 355"/>
                <a:gd name="T66" fmla="*/ 34 w 205"/>
                <a:gd name="T67" fmla="*/ 208 h 355"/>
                <a:gd name="T68" fmla="*/ 34 w 205"/>
                <a:gd name="T69" fmla="*/ 166 h 355"/>
                <a:gd name="T70" fmla="*/ 102 w 205"/>
                <a:gd name="T71" fmla="*/ 106 h 355"/>
                <a:gd name="T72" fmla="*/ 102 w 205"/>
                <a:gd name="T73" fmla="*/ 252 h 355"/>
                <a:gd name="T74" fmla="*/ 174 w 205"/>
                <a:gd name="T75" fmla="*/ 166 h 355"/>
                <a:gd name="T76" fmla="*/ 174 w 205"/>
                <a:gd name="T77" fmla="*/ 204 h 355"/>
                <a:gd name="T78" fmla="*/ 31 w 205"/>
                <a:gd name="T79" fmla="*/ 294 h 355"/>
                <a:gd name="T80" fmla="*/ 88 w 205"/>
                <a:gd name="T81" fmla="*/ 349 h 355"/>
                <a:gd name="T82" fmla="*/ 78 w 205"/>
                <a:gd name="T83" fmla="*/ 270 h 355"/>
                <a:gd name="T84" fmla="*/ 2 w 205"/>
                <a:gd name="T85" fmla="*/ 173 h 355"/>
                <a:gd name="T86" fmla="*/ 31 w 205"/>
                <a:gd name="T87" fmla="*/ 294 h 355"/>
                <a:gd name="T88" fmla="*/ 174 w 205"/>
                <a:gd name="T89" fmla="*/ 294 h 355"/>
                <a:gd name="T90" fmla="*/ 203 w 205"/>
                <a:gd name="T91" fmla="*/ 173 h 355"/>
                <a:gd name="T92" fmla="*/ 127 w 205"/>
                <a:gd name="T93" fmla="*/ 270 h 355"/>
                <a:gd name="T94" fmla="*/ 117 w 205"/>
                <a:gd name="T95" fmla="*/ 349 h 355"/>
                <a:gd name="T96" fmla="*/ 174 w 205"/>
                <a:gd name="T97" fmla="*/ 294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5" h="355">
                  <a:moveTo>
                    <a:pt x="130" y="78"/>
                  </a:moveTo>
                  <a:cubicBezTo>
                    <a:pt x="102" y="106"/>
                    <a:pt x="102" y="106"/>
                    <a:pt x="102" y="106"/>
                  </a:cubicBezTo>
                  <a:cubicBezTo>
                    <a:pt x="73" y="77"/>
                    <a:pt x="73" y="77"/>
                    <a:pt x="73" y="77"/>
                  </a:cubicBezTo>
                  <a:moveTo>
                    <a:pt x="73" y="47"/>
                  </a:moveTo>
                  <a:cubicBezTo>
                    <a:pt x="102" y="76"/>
                    <a:pt x="102" y="76"/>
                    <a:pt x="102" y="76"/>
                  </a:cubicBezTo>
                  <a:cubicBezTo>
                    <a:pt x="130" y="48"/>
                    <a:pt x="130" y="48"/>
                    <a:pt x="130" y="48"/>
                  </a:cubicBezTo>
                  <a:moveTo>
                    <a:pt x="73" y="17"/>
                  </a:moveTo>
                  <a:cubicBezTo>
                    <a:pt x="102" y="46"/>
                    <a:pt x="102" y="46"/>
                    <a:pt x="102" y="46"/>
                  </a:cubicBezTo>
                  <a:cubicBezTo>
                    <a:pt x="130" y="18"/>
                    <a:pt x="130" y="18"/>
                    <a:pt x="130" y="18"/>
                  </a:cubicBezTo>
                  <a:moveTo>
                    <a:pt x="102" y="0"/>
                  </a:moveTo>
                  <a:cubicBezTo>
                    <a:pt x="102" y="46"/>
                    <a:pt x="102" y="46"/>
                    <a:pt x="102" y="46"/>
                  </a:cubicBezTo>
                  <a:moveTo>
                    <a:pt x="146" y="137"/>
                  </a:moveTo>
                  <a:cubicBezTo>
                    <a:pt x="174" y="166"/>
                    <a:pt x="174" y="166"/>
                    <a:pt x="174" y="166"/>
                  </a:cubicBezTo>
                  <a:cubicBezTo>
                    <a:pt x="202" y="138"/>
                    <a:pt x="202" y="138"/>
                    <a:pt x="202" y="138"/>
                  </a:cubicBezTo>
                  <a:moveTo>
                    <a:pt x="146" y="107"/>
                  </a:moveTo>
                  <a:cubicBezTo>
                    <a:pt x="174" y="136"/>
                    <a:pt x="174" y="136"/>
                    <a:pt x="174" y="136"/>
                  </a:cubicBezTo>
                  <a:cubicBezTo>
                    <a:pt x="202" y="108"/>
                    <a:pt x="202" y="108"/>
                    <a:pt x="202" y="108"/>
                  </a:cubicBezTo>
                  <a:moveTo>
                    <a:pt x="146" y="77"/>
                  </a:moveTo>
                  <a:cubicBezTo>
                    <a:pt x="174" y="106"/>
                    <a:pt x="174" y="106"/>
                    <a:pt x="174" y="106"/>
                  </a:cubicBezTo>
                  <a:cubicBezTo>
                    <a:pt x="202" y="78"/>
                    <a:pt x="202" y="78"/>
                    <a:pt x="202" y="78"/>
                  </a:cubicBezTo>
                  <a:moveTo>
                    <a:pt x="174" y="60"/>
                  </a:moveTo>
                  <a:cubicBezTo>
                    <a:pt x="174" y="106"/>
                    <a:pt x="174" y="106"/>
                    <a:pt x="174" y="106"/>
                  </a:cubicBezTo>
                  <a:moveTo>
                    <a:pt x="5" y="137"/>
                  </a:moveTo>
                  <a:cubicBezTo>
                    <a:pt x="34" y="166"/>
                    <a:pt x="34" y="166"/>
                    <a:pt x="34" y="166"/>
                  </a:cubicBezTo>
                  <a:cubicBezTo>
                    <a:pt x="62" y="138"/>
                    <a:pt x="62" y="138"/>
                    <a:pt x="62" y="138"/>
                  </a:cubicBezTo>
                  <a:moveTo>
                    <a:pt x="5" y="107"/>
                  </a:moveTo>
                  <a:cubicBezTo>
                    <a:pt x="34" y="136"/>
                    <a:pt x="34" y="136"/>
                    <a:pt x="34" y="136"/>
                  </a:cubicBezTo>
                  <a:cubicBezTo>
                    <a:pt x="62" y="108"/>
                    <a:pt x="62" y="108"/>
                    <a:pt x="62" y="108"/>
                  </a:cubicBezTo>
                  <a:moveTo>
                    <a:pt x="5" y="77"/>
                  </a:moveTo>
                  <a:cubicBezTo>
                    <a:pt x="34" y="106"/>
                    <a:pt x="34" y="106"/>
                    <a:pt x="34" y="106"/>
                  </a:cubicBezTo>
                  <a:cubicBezTo>
                    <a:pt x="62" y="78"/>
                    <a:pt x="62" y="78"/>
                    <a:pt x="62" y="78"/>
                  </a:cubicBezTo>
                  <a:moveTo>
                    <a:pt x="34" y="60"/>
                  </a:moveTo>
                  <a:cubicBezTo>
                    <a:pt x="34" y="106"/>
                    <a:pt x="34" y="106"/>
                    <a:pt x="34" y="106"/>
                  </a:cubicBezTo>
                  <a:moveTo>
                    <a:pt x="34" y="208"/>
                  </a:moveTo>
                  <a:cubicBezTo>
                    <a:pt x="34" y="166"/>
                    <a:pt x="34" y="166"/>
                    <a:pt x="34" y="166"/>
                  </a:cubicBezTo>
                  <a:moveTo>
                    <a:pt x="102" y="106"/>
                  </a:moveTo>
                  <a:cubicBezTo>
                    <a:pt x="102" y="252"/>
                    <a:pt x="102" y="252"/>
                    <a:pt x="102" y="252"/>
                  </a:cubicBezTo>
                  <a:moveTo>
                    <a:pt x="174" y="166"/>
                  </a:moveTo>
                  <a:cubicBezTo>
                    <a:pt x="174" y="204"/>
                    <a:pt x="174" y="204"/>
                    <a:pt x="174" y="204"/>
                  </a:cubicBezTo>
                  <a:moveTo>
                    <a:pt x="31" y="294"/>
                  </a:moveTo>
                  <a:cubicBezTo>
                    <a:pt x="45" y="323"/>
                    <a:pt x="75" y="355"/>
                    <a:pt x="88" y="349"/>
                  </a:cubicBezTo>
                  <a:cubicBezTo>
                    <a:pt x="101" y="342"/>
                    <a:pt x="97" y="307"/>
                    <a:pt x="78" y="270"/>
                  </a:cubicBezTo>
                  <a:cubicBezTo>
                    <a:pt x="60" y="233"/>
                    <a:pt x="3" y="173"/>
                    <a:pt x="2" y="173"/>
                  </a:cubicBezTo>
                  <a:cubicBezTo>
                    <a:pt x="0" y="172"/>
                    <a:pt x="17" y="264"/>
                    <a:pt x="31" y="294"/>
                  </a:cubicBezTo>
                  <a:close/>
                  <a:moveTo>
                    <a:pt x="174" y="294"/>
                  </a:moveTo>
                  <a:cubicBezTo>
                    <a:pt x="189" y="264"/>
                    <a:pt x="205" y="172"/>
                    <a:pt x="203" y="173"/>
                  </a:cubicBezTo>
                  <a:cubicBezTo>
                    <a:pt x="202" y="173"/>
                    <a:pt x="145" y="233"/>
                    <a:pt x="127" y="270"/>
                  </a:cubicBezTo>
                  <a:cubicBezTo>
                    <a:pt x="109" y="307"/>
                    <a:pt x="104" y="342"/>
                    <a:pt x="117" y="349"/>
                  </a:cubicBezTo>
                  <a:cubicBezTo>
                    <a:pt x="130" y="355"/>
                    <a:pt x="160" y="323"/>
                    <a:pt x="174" y="294"/>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cxnSp>
          <p:nvCxnSpPr>
            <p:cNvPr id="66" name="Straight Connector 65">
              <a:extLst>
                <a:ext uri="{FF2B5EF4-FFF2-40B4-BE49-F238E27FC236}">
                  <a16:creationId xmlns:a16="http://schemas.microsoft.com/office/drawing/2014/main" id="{3B5F989A-5365-994F-85C3-A0BC21E7B2F8}"/>
                </a:ext>
              </a:extLst>
            </p:cNvPr>
            <p:cNvCxnSpPr>
              <a:stCxn id="65" idx="20"/>
              <a:endCxn id="65" idx="18"/>
            </p:cNvCxnSpPr>
            <p:nvPr/>
          </p:nvCxnSpPr>
          <p:spPr>
            <a:xfrm>
              <a:off x="4581739" y="2728838"/>
              <a:ext cx="0" cy="9986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24F230E-A6D7-A14F-BC18-FEF31B6ED6B7}"/>
                </a:ext>
              </a:extLst>
            </p:cNvPr>
            <p:cNvCxnSpPr>
              <a:stCxn id="65" idx="36"/>
              <a:endCxn id="65" idx="1"/>
            </p:cNvCxnSpPr>
            <p:nvPr/>
          </p:nvCxnSpPr>
          <p:spPr>
            <a:xfrm flipV="1">
              <a:off x="4423134" y="2828704"/>
              <a:ext cx="0" cy="316963"/>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A655A4F9-A51D-1B40-ABA7-F07AF85D3B49}"/>
                </a:ext>
              </a:extLst>
            </p:cNvPr>
            <p:cNvCxnSpPr>
              <a:stCxn id="65" idx="38"/>
              <a:endCxn id="65" idx="12"/>
            </p:cNvCxnSpPr>
            <p:nvPr/>
          </p:nvCxnSpPr>
          <p:spPr>
            <a:xfrm flipV="1">
              <a:off x="4581739" y="2958963"/>
              <a:ext cx="0" cy="82497"/>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50828485-45D1-F54D-853A-46281E65C571}"/>
                </a:ext>
              </a:extLst>
            </p:cNvPr>
            <p:cNvCxnSpPr>
              <a:stCxn id="65" idx="33"/>
              <a:endCxn id="65" idx="23"/>
            </p:cNvCxnSpPr>
            <p:nvPr/>
          </p:nvCxnSpPr>
          <p:spPr>
            <a:xfrm flipV="1">
              <a:off x="4273339" y="2958963"/>
              <a:ext cx="0" cy="91181"/>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F1AA8F32-5D03-E140-8CA0-FFDD169F2397}"/>
                </a:ext>
              </a:extLst>
            </p:cNvPr>
            <p:cNvCxnSpPr>
              <a:stCxn id="65" idx="11"/>
            </p:cNvCxnSpPr>
            <p:nvPr/>
          </p:nvCxnSpPr>
          <p:spPr>
            <a:xfrm>
              <a:off x="4520059" y="2896004"/>
              <a:ext cx="61680" cy="62959"/>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AE278A4D-D31D-A546-8111-CFE6322B78E8}"/>
                </a:ext>
              </a:extLst>
            </p:cNvPr>
            <p:cNvCxnSpPr>
              <a:endCxn id="65" idx="13"/>
            </p:cNvCxnSpPr>
            <p:nvPr/>
          </p:nvCxnSpPr>
          <p:spPr>
            <a:xfrm flipV="1">
              <a:off x="4578736" y="2898175"/>
              <a:ext cx="64683" cy="60788"/>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E7E11FB7-FD74-3A4B-9A2B-68AC9324DC09}"/>
                </a:ext>
              </a:extLst>
            </p:cNvPr>
            <p:cNvCxnSpPr/>
            <p:nvPr/>
          </p:nvCxnSpPr>
          <p:spPr>
            <a:xfrm>
              <a:off x="4519887" y="2833045"/>
              <a:ext cx="61680" cy="62959"/>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3D27081-A7CC-AD4B-9A61-A4E848C7CEDC}"/>
                </a:ext>
              </a:extLst>
            </p:cNvPr>
            <p:cNvCxnSpPr/>
            <p:nvPr/>
          </p:nvCxnSpPr>
          <p:spPr>
            <a:xfrm flipV="1">
              <a:off x="4578564" y="2835216"/>
              <a:ext cx="64683" cy="60788"/>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A9F61107-8C25-C84B-AAA8-63D5D6336AEB}"/>
                </a:ext>
              </a:extLst>
            </p:cNvPr>
            <p:cNvCxnSpPr/>
            <p:nvPr/>
          </p:nvCxnSpPr>
          <p:spPr>
            <a:xfrm>
              <a:off x="4519887" y="2765745"/>
              <a:ext cx="61680" cy="62959"/>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B59DC6C1-AB2B-8C42-AE70-34A8D3A2ABAF}"/>
                </a:ext>
              </a:extLst>
            </p:cNvPr>
            <p:cNvCxnSpPr/>
            <p:nvPr/>
          </p:nvCxnSpPr>
          <p:spPr>
            <a:xfrm flipV="1">
              <a:off x="4578564" y="2767916"/>
              <a:ext cx="64683" cy="60788"/>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55BA3EE3-9FE3-404A-8040-7F954D6A7290}"/>
                </a:ext>
              </a:extLst>
            </p:cNvPr>
            <p:cNvCxnSpPr/>
            <p:nvPr/>
          </p:nvCxnSpPr>
          <p:spPr>
            <a:xfrm>
              <a:off x="4360418" y="2763999"/>
              <a:ext cx="61680" cy="62959"/>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57E335BC-F368-3847-9045-05FB520300F5}"/>
                </a:ext>
              </a:extLst>
            </p:cNvPr>
            <p:cNvCxnSpPr/>
            <p:nvPr/>
          </p:nvCxnSpPr>
          <p:spPr>
            <a:xfrm flipV="1">
              <a:off x="4419095" y="2766170"/>
              <a:ext cx="64683" cy="60788"/>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6AC187B-98DF-4841-BFB9-E6883C13A221}"/>
                </a:ext>
              </a:extLst>
            </p:cNvPr>
            <p:cNvCxnSpPr/>
            <p:nvPr/>
          </p:nvCxnSpPr>
          <p:spPr>
            <a:xfrm>
              <a:off x="4360246" y="2701040"/>
              <a:ext cx="61680" cy="62959"/>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E43CCAE-886D-1E48-AF47-BE8B921CC1DE}"/>
                </a:ext>
              </a:extLst>
            </p:cNvPr>
            <p:cNvCxnSpPr/>
            <p:nvPr/>
          </p:nvCxnSpPr>
          <p:spPr>
            <a:xfrm flipV="1">
              <a:off x="4418923" y="2703211"/>
              <a:ext cx="64683" cy="60788"/>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04201667-3CCD-214D-9B96-6D639FEB9361}"/>
                </a:ext>
              </a:extLst>
            </p:cNvPr>
            <p:cNvCxnSpPr/>
            <p:nvPr/>
          </p:nvCxnSpPr>
          <p:spPr>
            <a:xfrm>
              <a:off x="4209028" y="2894258"/>
              <a:ext cx="61680" cy="62959"/>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576D5063-70E4-564A-A1CA-731492CC3121}"/>
                </a:ext>
              </a:extLst>
            </p:cNvPr>
            <p:cNvCxnSpPr/>
            <p:nvPr/>
          </p:nvCxnSpPr>
          <p:spPr>
            <a:xfrm flipV="1">
              <a:off x="4267705" y="2896429"/>
              <a:ext cx="64683" cy="60788"/>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06E254A2-5430-FC4B-9247-434665AB9165}"/>
                </a:ext>
              </a:extLst>
            </p:cNvPr>
            <p:cNvCxnSpPr/>
            <p:nvPr/>
          </p:nvCxnSpPr>
          <p:spPr>
            <a:xfrm>
              <a:off x="4208856" y="2831299"/>
              <a:ext cx="61680" cy="62959"/>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C71A7E6-D75F-EA45-A540-4A415969C92C}"/>
                </a:ext>
              </a:extLst>
            </p:cNvPr>
            <p:cNvCxnSpPr/>
            <p:nvPr/>
          </p:nvCxnSpPr>
          <p:spPr>
            <a:xfrm flipV="1">
              <a:off x="4267533" y="2833470"/>
              <a:ext cx="64683" cy="60788"/>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A0EE3677-80ED-EC4E-97EB-28CA3E8257D9}"/>
                </a:ext>
              </a:extLst>
            </p:cNvPr>
            <p:cNvCxnSpPr/>
            <p:nvPr/>
          </p:nvCxnSpPr>
          <p:spPr>
            <a:xfrm>
              <a:off x="4418923" y="2598579"/>
              <a:ext cx="0" cy="9986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92278B2-5A09-3D43-88A4-FB1C315D0E07}"/>
                </a:ext>
              </a:extLst>
            </p:cNvPr>
            <p:cNvCxnSpPr/>
            <p:nvPr/>
          </p:nvCxnSpPr>
          <p:spPr>
            <a:xfrm>
              <a:off x="4270708" y="2730429"/>
              <a:ext cx="0" cy="99866"/>
            </a:xfrm>
            <a:prstGeom prst="line">
              <a:avLst/>
            </a:prstGeom>
            <a:ln w="1270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4E6B56A-F159-FD44-90AA-4DFC76816E5C}"/>
                </a:ext>
              </a:extLst>
            </p:cNvPr>
            <p:cNvCxnSpPr/>
            <p:nvPr/>
          </p:nvCxnSpPr>
          <p:spPr>
            <a:xfrm>
              <a:off x="4360246" y="2633740"/>
              <a:ext cx="61680" cy="62959"/>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D476673-3622-CD44-B5B7-39D738BDAA95}"/>
                </a:ext>
              </a:extLst>
            </p:cNvPr>
            <p:cNvCxnSpPr/>
            <p:nvPr/>
          </p:nvCxnSpPr>
          <p:spPr>
            <a:xfrm flipV="1">
              <a:off x="4418923" y="2635911"/>
              <a:ext cx="64683" cy="60788"/>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4203F84E-455C-2D49-A261-615D912655F0}"/>
                </a:ext>
              </a:extLst>
            </p:cNvPr>
            <p:cNvCxnSpPr/>
            <p:nvPr/>
          </p:nvCxnSpPr>
          <p:spPr>
            <a:xfrm>
              <a:off x="4208856" y="2763999"/>
              <a:ext cx="61680" cy="62959"/>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1D63AF05-B61B-3548-80C8-3FBB7EF9CBA4}"/>
                </a:ext>
              </a:extLst>
            </p:cNvPr>
            <p:cNvCxnSpPr/>
            <p:nvPr/>
          </p:nvCxnSpPr>
          <p:spPr>
            <a:xfrm flipV="1">
              <a:off x="4267533" y="2769345"/>
              <a:ext cx="64683" cy="60788"/>
            </a:xfrm>
            <a:prstGeom prst="line">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57" name="Group 56" descr="Healthcare icon (stethoscope)">
            <a:extLst>
              <a:ext uri="{FF2B5EF4-FFF2-40B4-BE49-F238E27FC236}">
                <a16:creationId xmlns:a16="http://schemas.microsoft.com/office/drawing/2014/main" id="{0ACBFE66-2CEC-D448-9A4A-41EF1CCD815F}"/>
              </a:ext>
            </a:extLst>
          </p:cNvPr>
          <p:cNvGrpSpPr/>
          <p:nvPr/>
        </p:nvGrpSpPr>
        <p:grpSpPr>
          <a:xfrm>
            <a:off x="6457387" y="1763292"/>
            <a:ext cx="298962" cy="336949"/>
            <a:chOff x="298037" y="2072988"/>
            <a:chExt cx="1992743" cy="2245950"/>
          </a:xfrm>
        </p:grpSpPr>
        <p:sp>
          <p:nvSpPr>
            <p:cNvPr id="58" name="Oval 57">
              <a:extLst>
                <a:ext uri="{FF2B5EF4-FFF2-40B4-BE49-F238E27FC236}">
                  <a16:creationId xmlns:a16="http://schemas.microsoft.com/office/drawing/2014/main" id="{FFA7C376-1BCB-744A-814F-A9C8A6A7114B}"/>
                </a:ext>
              </a:extLst>
            </p:cNvPr>
            <p:cNvSpPr/>
            <p:nvPr/>
          </p:nvSpPr>
          <p:spPr bwMode="auto">
            <a:xfrm>
              <a:off x="298037" y="3294738"/>
              <a:ext cx="572293" cy="572292"/>
            </a:xfrm>
            <a:prstGeom prst="ellipse">
              <a:avLst/>
            </a:prstGeom>
            <a:noFill/>
            <a:ln w="12700" cap="rnd">
              <a:solidFill>
                <a:schemeClr val="accent1"/>
              </a:solid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59" name="Oval 58">
              <a:extLst>
                <a:ext uri="{FF2B5EF4-FFF2-40B4-BE49-F238E27FC236}">
                  <a16:creationId xmlns:a16="http://schemas.microsoft.com/office/drawing/2014/main" id="{3DC1D4E4-76CD-8040-8944-880C75D64583}"/>
                </a:ext>
              </a:extLst>
            </p:cNvPr>
            <p:cNvSpPr/>
            <p:nvPr/>
          </p:nvSpPr>
          <p:spPr bwMode="auto">
            <a:xfrm>
              <a:off x="508881" y="3505581"/>
              <a:ext cx="150605" cy="150605"/>
            </a:xfrm>
            <a:prstGeom prst="ellipse">
              <a:avLst/>
            </a:prstGeom>
            <a:noFill/>
            <a:ln w="12700" cap="rnd">
              <a:solidFill>
                <a:schemeClr val="accent1"/>
              </a:solid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0" name="Arc 71">
              <a:extLst>
                <a:ext uri="{FF2B5EF4-FFF2-40B4-BE49-F238E27FC236}">
                  <a16:creationId xmlns:a16="http://schemas.microsoft.com/office/drawing/2014/main" id="{314EC50C-F77B-4540-B7CA-456DB8456FEF}"/>
                </a:ext>
              </a:extLst>
            </p:cNvPr>
            <p:cNvSpPr/>
            <p:nvPr/>
          </p:nvSpPr>
          <p:spPr>
            <a:xfrm>
              <a:off x="805808" y="2192883"/>
              <a:ext cx="1484972" cy="1302717"/>
            </a:xfrm>
            <a:custGeom>
              <a:avLst/>
              <a:gdLst>
                <a:gd name="connsiteX0" fmla="*/ 1130933 w 1430727"/>
                <a:gd name="connsiteY0" fmla="*/ 133086 h 1430725"/>
                <a:gd name="connsiteX1" fmla="*/ 1396969 w 1430727"/>
                <a:gd name="connsiteY1" fmla="*/ 932524 h 1430725"/>
                <a:gd name="connsiteX2" fmla="*/ 717502 w 1430727"/>
                <a:gd name="connsiteY2" fmla="*/ 1430722 h 1430725"/>
                <a:gd name="connsiteX3" fmla="*/ 35068 w 1430727"/>
                <a:gd name="connsiteY3" fmla="*/ 936596 h 1430725"/>
                <a:gd name="connsiteX4" fmla="*/ 296319 w 1430727"/>
                <a:gd name="connsiteY4" fmla="*/ 135581 h 1430725"/>
                <a:gd name="connsiteX5" fmla="*/ 715364 w 1430727"/>
                <a:gd name="connsiteY5" fmla="*/ 715363 h 1430725"/>
                <a:gd name="connsiteX6" fmla="*/ 1130933 w 1430727"/>
                <a:gd name="connsiteY6" fmla="*/ 133086 h 1430725"/>
                <a:gd name="connsiteX0" fmla="*/ 1130933 w 1430727"/>
                <a:gd name="connsiteY0" fmla="*/ 133086 h 1430725"/>
                <a:gd name="connsiteX1" fmla="*/ 1396969 w 1430727"/>
                <a:gd name="connsiteY1" fmla="*/ 932524 h 1430725"/>
                <a:gd name="connsiteX2" fmla="*/ 717502 w 1430727"/>
                <a:gd name="connsiteY2" fmla="*/ 1430722 h 1430725"/>
                <a:gd name="connsiteX3" fmla="*/ 35068 w 1430727"/>
                <a:gd name="connsiteY3" fmla="*/ 936596 h 1430725"/>
                <a:gd name="connsiteX4" fmla="*/ 296319 w 1430727"/>
                <a:gd name="connsiteY4" fmla="*/ 135581 h 1430725"/>
                <a:gd name="connsiteX0" fmla="*/ 1130983 w 1430827"/>
                <a:gd name="connsiteY0" fmla="*/ 0 h 1297710"/>
                <a:gd name="connsiteX1" fmla="*/ 1397019 w 1430827"/>
                <a:gd name="connsiteY1" fmla="*/ 799438 h 1297710"/>
                <a:gd name="connsiteX2" fmla="*/ 717552 w 1430827"/>
                <a:gd name="connsiteY2" fmla="*/ 1297636 h 1297710"/>
                <a:gd name="connsiteX3" fmla="*/ 35118 w 1430827"/>
                <a:gd name="connsiteY3" fmla="*/ 803510 h 1297710"/>
                <a:gd name="connsiteX4" fmla="*/ 296369 w 1430827"/>
                <a:gd name="connsiteY4" fmla="*/ 2495 h 1297710"/>
                <a:gd name="connsiteX5" fmla="*/ 715414 w 1430827"/>
                <a:gd name="connsiteY5" fmla="*/ 582277 h 1297710"/>
                <a:gd name="connsiteX6" fmla="*/ 1130983 w 1430827"/>
                <a:gd name="connsiteY6" fmla="*/ 0 h 1297710"/>
                <a:gd name="connsiteX0" fmla="*/ 1130983 w 1430827"/>
                <a:gd name="connsiteY0" fmla="*/ 0 h 1297710"/>
                <a:gd name="connsiteX1" fmla="*/ 1397019 w 1430827"/>
                <a:gd name="connsiteY1" fmla="*/ 799438 h 1297710"/>
                <a:gd name="connsiteX2" fmla="*/ 717552 w 1430827"/>
                <a:gd name="connsiteY2" fmla="*/ 1297636 h 1297710"/>
                <a:gd name="connsiteX3" fmla="*/ 35118 w 1430827"/>
                <a:gd name="connsiteY3" fmla="*/ 803510 h 1297710"/>
                <a:gd name="connsiteX4" fmla="*/ 296369 w 1430827"/>
                <a:gd name="connsiteY4" fmla="*/ 2495 h 1297710"/>
                <a:gd name="connsiteX0" fmla="*/ 1130983 w 1430827"/>
                <a:gd name="connsiteY0" fmla="*/ 0 h 1463237"/>
                <a:gd name="connsiteX1" fmla="*/ 1397019 w 1430827"/>
                <a:gd name="connsiteY1" fmla="*/ 799438 h 1463237"/>
                <a:gd name="connsiteX2" fmla="*/ 717552 w 1430827"/>
                <a:gd name="connsiteY2" fmla="*/ 1297636 h 1463237"/>
                <a:gd name="connsiteX3" fmla="*/ 35118 w 1430827"/>
                <a:gd name="connsiteY3" fmla="*/ 803510 h 1463237"/>
                <a:gd name="connsiteX4" fmla="*/ 296369 w 1430827"/>
                <a:gd name="connsiteY4" fmla="*/ 2495 h 1463237"/>
                <a:gd name="connsiteX5" fmla="*/ 715414 w 1430827"/>
                <a:gd name="connsiteY5" fmla="*/ 582277 h 1463237"/>
                <a:gd name="connsiteX6" fmla="*/ 1130983 w 1430827"/>
                <a:gd name="connsiteY6" fmla="*/ 0 h 1463237"/>
                <a:gd name="connsiteX0" fmla="*/ 1130983 w 1430827"/>
                <a:gd name="connsiteY0" fmla="*/ 0 h 1463237"/>
                <a:gd name="connsiteX1" fmla="*/ 1397019 w 1430827"/>
                <a:gd name="connsiteY1" fmla="*/ 799438 h 1463237"/>
                <a:gd name="connsiteX2" fmla="*/ 706752 w 1430827"/>
                <a:gd name="connsiteY2" fmla="*/ 1463236 h 1463237"/>
                <a:gd name="connsiteX3" fmla="*/ 35118 w 1430827"/>
                <a:gd name="connsiteY3" fmla="*/ 803510 h 1463237"/>
                <a:gd name="connsiteX4" fmla="*/ 296369 w 1430827"/>
                <a:gd name="connsiteY4" fmla="*/ 2495 h 1463237"/>
                <a:gd name="connsiteX0" fmla="*/ 1130983 w 1430353"/>
                <a:gd name="connsiteY0" fmla="*/ 0 h 1463237"/>
                <a:gd name="connsiteX1" fmla="*/ 1397019 w 1430353"/>
                <a:gd name="connsiteY1" fmla="*/ 799438 h 1463237"/>
                <a:gd name="connsiteX2" fmla="*/ 717552 w 1430353"/>
                <a:gd name="connsiteY2" fmla="*/ 1297636 h 1463237"/>
                <a:gd name="connsiteX3" fmla="*/ 35118 w 1430353"/>
                <a:gd name="connsiteY3" fmla="*/ 803510 h 1463237"/>
                <a:gd name="connsiteX4" fmla="*/ 296369 w 1430353"/>
                <a:gd name="connsiteY4" fmla="*/ 2495 h 1463237"/>
                <a:gd name="connsiteX5" fmla="*/ 715414 w 1430353"/>
                <a:gd name="connsiteY5" fmla="*/ 582277 h 1463237"/>
                <a:gd name="connsiteX6" fmla="*/ 1130983 w 1430353"/>
                <a:gd name="connsiteY6" fmla="*/ 0 h 1463237"/>
                <a:gd name="connsiteX0" fmla="*/ 1130983 w 1430353"/>
                <a:gd name="connsiteY0" fmla="*/ 0 h 1463237"/>
                <a:gd name="connsiteX1" fmla="*/ 1397019 w 1430353"/>
                <a:gd name="connsiteY1" fmla="*/ 799438 h 1463237"/>
                <a:gd name="connsiteX2" fmla="*/ 706752 w 1430353"/>
                <a:gd name="connsiteY2" fmla="*/ 1463236 h 1463237"/>
                <a:gd name="connsiteX3" fmla="*/ 35118 w 1430353"/>
                <a:gd name="connsiteY3" fmla="*/ 803510 h 1463237"/>
                <a:gd name="connsiteX4" fmla="*/ 296369 w 1430353"/>
                <a:gd name="connsiteY4" fmla="*/ 2495 h 1463237"/>
                <a:gd name="connsiteX0" fmla="*/ 1143778 w 1443148"/>
                <a:gd name="connsiteY0" fmla="*/ 0 h 1463237"/>
                <a:gd name="connsiteX1" fmla="*/ 1409814 w 1443148"/>
                <a:gd name="connsiteY1" fmla="*/ 799438 h 1463237"/>
                <a:gd name="connsiteX2" fmla="*/ 730347 w 1443148"/>
                <a:gd name="connsiteY2" fmla="*/ 1297636 h 1463237"/>
                <a:gd name="connsiteX3" fmla="*/ 47913 w 1443148"/>
                <a:gd name="connsiteY3" fmla="*/ 803510 h 1463237"/>
                <a:gd name="connsiteX4" fmla="*/ 309164 w 1443148"/>
                <a:gd name="connsiteY4" fmla="*/ 2495 h 1463237"/>
                <a:gd name="connsiteX5" fmla="*/ 728209 w 1443148"/>
                <a:gd name="connsiteY5" fmla="*/ 582277 h 1463237"/>
                <a:gd name="connsiteX6" fmla="*/ 1143778 w 1443148"/>
                <a:gd name="connsiteY6" fmla="*/ 0 h 1463237"/>
                <a:gd name="connsiteX0" fmla="*/ 1143778 w 1443148"/>
                <a:gd name="connsiteY0" fmla="*/ 0 h 1463237"/>
                <a:gd name="connsiteX1" fmla="*/ 1409814 w 1443148"/>
                <a:gd name="connsiteY1" fmla="*/ 799438 h 1463237"/>
                <a:gd name="connsiteX2" fmla="*/ 719547 w 1443148"/>
                <a:gd name="connsiteY2" fmla="*/ 1463236 h 1463237"/>
                <a:gd name="connsiteX3" fmla="*/ 47913 w 1443148"/>
                <a:gd name="connsiteY3" fmla="*/ 803510 h 1463237"/>
                <a:gd name="connsiteX4" fmla="*/ 309164 w 1443148"/>
                <a:gd name="connsiteY4" fmla="*/ 2495 h 1463237"/>
                <a:gd name="connsiteX0" fmla="*/ 1143778 w 1468979"/>
                <a:gd name="connsiteY0" fmla="*/ 0 h 1463237"/>
                <a:gd name="connsiteX1" fmla="*/ 1409814 w 1468979"/>
                <a:gd name="connsiteY1" fmla="*/ 799438 h 1463237"/>
                <a:gd name="connsiteX2" fmla="*/ 730347 w 1468979"/>
                <a:gd name="connsiteY2" fmla="*/ 1297636 h 1463237"/>
                <a:gd name="connsiteX3" fmla="*/ 47913 w 1468979"/>
                <a:gd name="connsiteY3" fmla="*/ 803510 h 1463237"/>
                <a:gd name="connsiteX4" fmla="*/ 309164 w 1468979"/>
                <a:gd name="connsiteY4" fmla="*/ 2495 h 1463237"/>
                <a:gd name="connsiteX5" fmla="*/ 728209 w 1468979"/>
                <a:gd name="connsiteY5" fmla="*/ 582277 h 1463237"/>
                <a:gd name="connsiteX6" fmla="*/ 1143778 w 1468979"/>
                <a:gd name="connsiteY6" fmla="*/ 0 h 1463237"/>
                <a:gd name="connsiteX0" fmla="*/ 1143778 w 1468979"/>
                <a:gd name="connsiteY0" fmla="*/ 0 h 1463237"/>
                <a:gd name="connsiteX1" fmla="*/ 1409814 w 1468979"/>
                <a:gd name="connsiteY1" fmla="*/ 799438 h 1463237"/>
                <a:gd name="connsiteX2" fmla="*/ 719547 w 1468979"/>
                <a:gd name="connsiteY2" fmla="*/ 1463236 h 1463237"/>
                <a:gd name="connsiteX3" fmla="*/ 47913 w 1468979"/>
                <a:gd name="connsiteY3" fmla="*/ 803510 h 1463237"/>
                <a:gd name="connsiteX4" fmla="*/ 309164 w 1468979"/>
                <a:gd name="connsiteY4" fmla="*/ 2495 h 1463237"/>
                <a:gd name="connsiteX0" fmla="*/ 1159771 w 1484972"/>
                <a:gd name="connsiteY0" fmla="*/ 0 h 1463237"/>
                <a:gd name="connsiteX1" fmla="*/ 1425807 w 1484972"/>
                <a:gd name="connsiteY1" fmla="*/ 799438 h 1463237"/>
                <a:gd name="connsiteX2" fmla="*/ 746340 w 1484972"/>
                <a:gd name="connsiteY2" fmla="*/ 1297636 h 1463237"/>
                <a:gd name="connsiteX3" fmla="*/ 63906 w 1484972"/>
                <a:gd name="connsiteY3" fmla="*/ 803510 h 1463237"/>
                <a:gd name="connsiteX4" fmla="*/ 325157 w 1484972"/>
                <a:gd name="connsiteY4" fmla="*/ 2495 h 1463237"/>
                <a:gd name="connsiteX5" fmla="*/ 744202 w 1484972"/>
                <a:gd name="connsiteY5" fmla="*/ 582277 h 1463237"/>
                <a:gd name="connsiteX6" fmla="*/ 1159771 w 1484972"/>
                <a:gd name="connsiteY6" fmla="*/ 0 h 1463237"/>
                <a:gd name="connsiteX0" fmla="*/ 1159771 w 1484972"/>
                <a:gd name="connsiteY0" fmla="*/ 0 h 1463237"/>
                <a:gd name="connsiteX1" fmla="*/ 1425807 w 1484972"/>
                <a:gd name="connsiteY1" fmla="*/ 799438 h 1463237"/>
                <a:gd name="connsiteX2" fmla="*/ 735540 w 1484972"/>
                <a:gd name="connsiteY2" fmla="*/ 1463236 h 1463237"/>
                <a:gd name="connsiteX3" fmla="*/ 63906 w 1484972"/>
                <a:gd name="connsiteY3" fmla="*/ 803510 h 1463237"/>
                <a:gd name="connsiteX4" fmla="*/ 325157 w 1484972"/>
                <a:gd name="connsiteY4" fmla="*/ 2495 h 1463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4972" h="1463237" stroke="0" extrusionOk="0">
                  <a:moveTo>
                    <a:pt x="1159771" y="0"/>
                  </a:moveTo>
                  <a:cubicBezTo>
                    <a:pt x="1545816" y="454"/>
                    <a:pt x="1520106" y="503462"/>
                    <a:pt x="1425807" y="799438"/>
                  </a:cubicBezTo>
                  <a:cubicBezTo>
                    <a:pt x="1331508" y="1095414"/>
                    <a:pt x="920174" y="1293108"/>
                    <a:pt x="746340" y="1297636"/>
                  </a:cubicBezTo>
                  <a:cubicBezTo>
                    <a:pt x="572506" y="1302164"/>
                    <a:pt x="159973" y="1098916"/>
                    <a:pt x="63906" y="803510"/>
                  </a:cubicBezTo>
                  <a:cubicBezTo>
                    <a:pt x="-32161" y="508103"/>
                    <a:pt x="-70605" y="4458"/>
                    <a:pt x="325157" y="2495"/>
                  </a:cubicBezTo>
                  <a:cubicBezTo>
                    <a:pt x="720919" y="532"/>
                    <a:pt x="604520" y="389016"/>
                    <a:pt x="744202" y="582277"/>
                  </a:cubicBezTo>
                  <a:cubicBezTo>
                    <a:pt x="882725" y="388185"/>
                    <a:pt x="773726" y="-454"/>
                    <a:pt x="1159771" y="0"/>
                  </a:cubicBezTo>
                  <a:close/>
                </a:path>
                <a:path w="1484972" h="1463237" fill="none">
                  <a:moveTo>
                    <a:pt x="1159771" y="0"/>
                  </a:moveTo>
                  <a:cubicBezTo>
                    <a:pt x="1412616" y="180454"/>
                    <a:pt x="1496512" y="555565"/>
                    <a:pt x="1425807" y="799438"/>
                  </a:cubicBezTo>
                  <a:cubicBezTo>
                    <a:pt x="1355102" y="1043311"/>
                    <a:pt x="1046174" y="1462308"/>
                    <a:pt x="735540" y="1463236"/>
                  </a:cubicBezTo>
                  <a:cubicBezTo>
                    <a:pt x="424906" y="1464165"/>
                    <a:pt x="159973" y="1098916"/>
                    <a:pt x="63906" y="803510"/>
                  </a:cubicBezTo>
                  <a:cubicBezTo>
                    <a:pt x="-32161" y="508103"/>
                    <a:pt x="73395" y="184458"/>
                    <a:pt x="325157" y="2495"/>
                  </a:cubicBezTo>
                </a:path>
              </a:pathLst>
            </a:cu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1" name="Oval 60">
              <a:extLst>
                <a:ext uri="{FF2B5EF4-FFF2-40B4-BE49-F238E27FC236}">
                  <a16:creationId xmlns:a16="http://schemas.microsoft.com/office/drawing/2014/main" id="{225CDC83-A5C5-CE4C-937E-69CA86041543}"/>
                </a:ext>
              </a:extLst>
            </p:cNvPr>
            <p:cNvSpPr/>
            <p:nvPr/>
          </p:nvSpPr>
          <p:spPr bwMode="auto">
            <a:xfrm>
              <a:off x="1130074" y="2072988"/>
              <a:ext cx="214574" cy="214574"/>
            </a:xfrm>
            <a:prstGeom prst="ellipse">
              <a:avLst/>
            </a:prstGeom>
            <a:noFill/>
            <a:ln w="12700" cap="rnd">
              <a:solidFill>
                <a:schemeClr val="tx1"/>
              </a:solid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2" name="Oval 61">
              <a:extLst>
                <a:ext uri="{FF2B5EF4-FFF2-40B4-BE49-F238E27FC236}">
                  <a16:creationId xmlns:a16="http://schemas.microsoft.com/office/drawing/2014/main" id="{1AA8BE2C-93C4-B444-9DE8-458F97D01D32}"/>
                </a:ext>
              </a:extLst>
            </p:cNvPr>
            <p:cNvSpPr/>
            <p:nvPr/>
          </p:nvSpPr>
          <p:spPr bwMode="auto">
            <a:xfrm>
              <a:off x="1749239" y="2072988"/>
              <a:ext cx="214574" cy="214574"/>
            </a:xfrm>
            <a:prstGeom prst="ellipse">
              <a:avLst/>
            </a:prstGeom>
            <a:noFill/>
            <a:ln w="12700" cap="rnd">
              <a:solidFill>
                <a:schemeClr val="tx1"/>
              </a:solidFill>
              <a:miter lim="800000"/>
              <a:headEnd/>
              <a:tailEnd/>
            </a:ln>
            <a:effectLst/>
          </p:spPr>
          <p:txBody>
            <a:bodyPr wrap="none" rtlCol="0" anchor="ctr"/>
            <a:lstStyle/>
            <a:p>
              <a:pPr marL="0" marR="0" indent="0" algn="l" defTabSz="914400" rtl="0" eaLnBrk="1" fontAlgn="auto" latinLnBrk="0" hangingPunct="1">
                <a:lnSpc>
                  <a:spcPct val="100000"/>
                </a:lnSpc>
                <a:spcBef>
                  <a:spcPts val="0"/>
                </a:spcBef>
                <a:spcAft>
                  <a:spcPts val="0"/>
                </a:spcAft>
                <a:buClrTx/>
                <a:buSzTx/>
                <a:buFontTx/>
                <a:buNone/>
                <a:tabLst/>
              </a:pPr>
              <a:endParaRPr kumimoji="0" lang="en-US" sz="1800" b="0" i="0" u="none" strike="noStrike" kern="1200" cap="none" spc="0" normalizeH="0" baseline="0" noProof="0">
                <a:ln>
                  <a:noFill/>
                </a:ln>
                <a:solidFill>
                  <a:prstClr val="black"/>
                </a:solidFill>
                <a:effectLst/>
                <a:uLnTx/>
                <a:uFillTx/>
                <a:latin typeface="Arial" charset="0"/>
                <a:ea typeface="Arial" charset="0"/>
                <a:cs typeface="Arial" charset="0"/>
              </a:endParaRPr>
            </a:p>
          </p:txBody>
        </p:sp>
        <p:sp>
          <p:nvSpPr>
            <p:cNvPr id="63" name="Freeform 62">
              <a:extLst>
                <a:ext uri="{FF2B5EF4-FFF2-40B4-BE49-F238E27FC236}">
                  <a16:creationId xmlns:a16="http://schemas.microsoft.com/office/drawing/2014/main" id="{AC85B1B8-5D5D-A140-9E74-89A7210BD838}"/>
                </a:ext>
              </a:extLst>
            </p:cNvPr>
            <p:cNvSpPr/>
            <p:nvPr/>
          </p:nvSpPr>
          <p:spPr bwMode="auto">
            <a:xfrm>
              <a:off x="871317" y="3490521"/>
              <a:ext cx="676729" cy="828417"/>
            </a:xfrm>
            <a:custGeom>
              <a:avLst/>
              <a:gdLst>
                <a:gd name="connsiteX0" fmla="*/ 224286 w 224286"/>
                <a:gd name="connsiteY0" fmla="*/ 0 h 316302"/>
                <a:gd name="connsiteX1" fmla="*/ 224286 w 224286"/>
                <a:gd name="connsiteY1" fmla="*/ 224287 h 316302"/>
                <a:gd name="connsiteX2" fmla="*/ 132271 w 224286"/>
                <a:gd name="connsiteY2" fmla="*/ 316302 h 316302"/>
                <a:gd name="connsiteX3" fmla="*/ 63260 w 224286"/>
                <a:gd name="connsiteY3" fmla="*/ 247291 h 316302"/>
                <a:gd name="connsiteX4" fmla="*/ 63260 w 224286"/>
                <a:gd name="connsiteY4" fmla="*/ 80513 h 316302"/>
                <a:gd name="connsiteX5" fmla="*/ 0 w 224286"/>
                <a:gd name="connsiteY5" fmla="*/ 17253 h 316302"/>
                <a:gd name="connsiteX0" fmla="*/ 224286 w 224286"/>
                <a:gd name="connsiteY0" fmla="*/ 0 h 316302"/>
                <a:gd name="connsiteX1" fmla="*/ 224286 w 224286"/>
                <a:gd name="connsiteY1" fmla="*/ 224287 h 316302"/>
                <a:gd name="connsiteX2" fmla="*/ 132271 w 224286"/>
                <a:gd name="connsiteY2" fmla="*/ 316302 h 316302"/>
                <a:gd name="connsiteX3" fmla="*/ 63260 w 224286"/>
                <a:gd name="connsiteY3" fmla="*/ 247291 h 316302"/>
                <a:gd name="connsiteX4" fmla="*/ 63260 w 224286"/>
                <a:gd name="connsiteY4" fmla="*/ 80513 h 316302"/>
                <a:gd name="connsiteX5" fmla="*/ 0 w 224286"/>
                <a:gd name="connsiteY5" fmla="*/ 17253 h 316302"/>
                <a:gd name="connsiteX0" fmla="*/ 224286 w 224286"/>
                <a:gd name="connsiteY0" fmla="*/ 0 h 316321"/>
                <a:gd name="connsiteX1" fmla="*/ 224286 w 224286"/>
                <a:gd name="connsiteY1" fmla="*/ 224287 h 316321"/>
                <a:gd name="connsiteX2" fmla="*/ 132271 w 224286"/>
                <a:gd name="connsiteY2" fmla="*/ 316302 h 316321"/>
                <a:gd name="connsiteX3" fmla="*/ 63260 w 224286"/>
                <a:gd name="connsiteY3" fmla="*/ 247291 h 316321"/>
                <a:gd name="connsiteX4" fmla="*/ 63260 w 224286"/>
                <a:gd name="connsiteY4" fmla="*/ 80513 h 316321"/>
                <a:gd name="connsiteX5" fmla="*/ 0 w 224286"/>
                <a:gd name="connsiteY5" fmla="*/ 17253 h 316321"/>
                <a:gd name="connsiteX0" fmla="*/ 224286 w 224286"/>
                <a:gd name="connsiteY0" fmla="*/ 0 h 316321"/>
                <a:gd name="connsiteX1" fmla="*/ 224286 w 224286"/>
                <a:gd name="connsiteY1" fmla="*/ 224287 h 316321"/>
                <a:gd name="connsiteX2" fmla="*/ 132271 w 224286"/>
                <a:gd name="connsiteY2" fmla="*/ 316302 h 316321"/>
                <a:gd name="connsiteX3" fmla="*/ 63260 w 224286"/>
                <a:gd name="connsiteY3" fmla="*/ 247291 h 316321"/>
                <a:gd name="connsiteX4" fmla="*/ 63260 w 224286"/>
                <a:gd name="connsiteY4" fmla="*/ 80513 h 316321"/>
                <a:gd name="connsiteX5" fmla="*/ 0 w 224286"/>
                <a:gd name="connsiteY5" fmla="*/ 17253 h 316321"/>
                <a:gd name="connsiteX0" fmla="*/ 224286 w 224286"/>
                <a:gd name="connsiteY0" fmla="*/ 0 h 316321"/>
                <a:gd name="connsiteX1" fmla="*/ 224286 w 224286"/>
                <a:gd name="connsiteY1" fmla="*/ 224287 h 316321"/>
                <a:gd name="connsiteX2" fmla="*/ 132271 w 224286"/>
                <a:gd name="connsiteY2" fmla="*/ 316302 h 316321"/>
                <a:gd name="connsiteX3" fmla="*/ 63260 w 224286"/>
                <a:gd name="connsiteY3" fmla="*/ 247291 h 316321"/>
                <a:gd name="connsiteX4" fmla="*/ 63260 w 224286"/>
                <a:gd name="connsiteY4" fmla="*/ 80513 h 316321"/>
                <a:gd name="connsiteX5" fmla="*/ 0 w 224286"/>
                <a:gd name="connsiteY5" fmla="*/ 17253 h 316321"/>
                <a:gd name="connsiteX0" fmla="*/ 224286 w 224286"/>
                <a:gd name="connsiteY0" fmla="*/ 0 h 316331"/>
                <a:gd name="connsiteX1" fmla="*/ 224286 w 224286"/>
                <a:gd name="connsiteY1" fmla="*/ 224287 h 316331"/>
                <a:gd name="connsiteX2" fmla="*/ 132271 w 224286"/>
                <a:gd name="connsiteY2" fmla="*/ 316302 h 316331"/>
                <a:gd name="connsiteX3" fmla="*/ 63260 w 224286"/>
                <a:gd name="connsiteY3" fmla="*/ 247291 h 316331"/>
                <a:gd name="connsiteX4" fmla="*/ 63260 w 224286"/>
                <a:gd name="connsiteY4" fmla="*/ 80513 h 316331"/>
                <a:gd name="connsiteX5" fmla="*/ 0 w 224286"/>
                <a:gd name="connsiteY5" fmla="*/ 17253 h 316331"/>
                <a:gd name="connsiteX0" fmla="*/ 224286 w 224286"/>
                <a:gd name="connsiteY0" fmla="*/ 0 h 316750"/>
                <a:gd name="connsiteX1" fmla="*/ 224286 w 224286"/>
                <a:gd name="connsiteY1" fmla="*/ 246602 h 316750"/>
                <a:gd name="connsiteX2" fmla="*/ 132271 w 224286"/>
                <a:gd name="connsiteY2" fmla="*/ 316302 h 316750"/>
                <a:gd name="connsiteX3" fmla="*/ 63260 w 224286"/>
                <a:gd name="connsiteY3" fmla="*/ 247291 h 316750"/>
                <a:gd name="connsiteX4" fmla="*/ 63260 w 224286"/>
                <a:gd name="connsiteY4" fmla="*/ 80513 h 316750"/>
                <a:gd name="connsiteX5" fmla="*/ 0 w 224286"/>
                <a:gd name="connsiteY5" fmla="*/ 17253 h 316750"/>
                <a:gd name="connsiteX0" fmla="*/ 224286 w 224286"/>
                <a:gd name="connsiteY0" fmla="*/ 0 h 316334"/>
                <a:gd name="connsiteX1" fmla="*/ 224286 w 224286"/>
                <a:gd name="connsiteY1" fmla="*/ 246602 h 316334"/>
                <a:gd name="connsiteX2" fmla="*/ 132271 w 224286"/>
                <a:gd name="connsiteY2" fmla="*/ 316302 h 316334"/>
                <a:gd name="connsiteX3" fmla="*/ 63260 w 224286"/>
                <a:gd name="connsiteY3" fmla="*/ 247291 h 316334"/>
                <a:gd name="connsiteX4" fmla="*/ 63260 w 224286"/>
                <a:gd name="connsiteY4" fmla="*/ 80513 h 316334"/>
                <a:gd name="connsiteX5" fmla="*/ 0 w 224286"/>
                <a:gd name="connsiteY5" fmla="*/ 17253 h 316334"/>
                <a:gd name="connsiteX0" fmla="*/ 224286 w 224286"/>
                <a:gd name="connsiteY0" fmla="*/ 0 h 316340"/>
                <a:gd name="connsiteX1" fmla="*/ 224286 w 224286"/>
                <a:gd name="connsiteY1" fmla="*/ 246602 h 316340"/>
                <a:gd name="connsiteX2" fmla="*/ 132271 w 224286"/>
                <a:gd name="connsiteY2" fmla="*/ 316302 h 316340"/>
                <a:gd name="connsiteX3" fmla="*/ 63260 w 224286"/>
                <a:gd name="connsiteY3" fmla="*/ 247291 h 316340"/>
                <a:gd name="connsiteX4" fmla="*/ 63260 w 224286"/>
                <a:gd name="connsiteY4" fmla="*/ 80513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0513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0513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0513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3138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3138 h 316340"/>
                <a:gd name="connsiteX5" fmla="*/ 0 w 224286"/>
                <a:gd name="connsiteY5" fmla="*/ 17253 h 316340"/>
                <a:gd name="connsiteX0" fmla="*/ 224286 w 224286"/>
                <a:gd name="connsiteY0" fmla="*/ 0 h 316340"/>
                <a:gd name="connsiteX1" fmla="*/ 224286 w 224286"/>
                <a:gd name="connsiteY1" fmla="*/ 246602 h 316340"/>
                <a:gd name="connsiteX2" fmla="*/ 145398 w 224286"/>
                <a:gd name="connsiteY2" fmla="*/ 316302 h 316340"/>
                <a:gd name="connsiteX3" fmla="*/ 63260 w 224286"/>
                <a:gd name="connsiteY3" fmla="*/ 247291 h 316340"/>
                <a:gd name="connsiteX4" fmla="*/ 63260 w 224286"/>
                <a:gd name="connsiteY4" fmla="*/ 83138 h 316340"/>
                <a:gd name="connsiteX5" fmla="*/ 0 w 224286"/>
                <a:gd name="connsiteY5" fmla="*/ 17253 h 316340"/>
                <a:gd name="connsiteX0" fmla="*/ 258416 w 258416"/>
                <a:gd name="connsiteY0" fmla="*/ 0 h 316340"/>
                <a:gd name="connsiteX1" fmla="*/ 258416 w 258416"/>
                <a:gd name="connsiteY1" fmla="*/ 246602 h 316340"/>
                <a:gd name="connsiteX2" fmla="*/ 179528 w 258416"/>
                <a:gd name="connsiteY2" fmla="*/ 316302 h 316340"/>
                <a:gd name="connsiteX3" fmla="*/ 97390 w 258416"/>
                <a:gd name="connsiteY3" fmla="*/ 247291 h 316340"/>
                <a:gd name="connsiteX4" fmla="*/ 97390 w 258416"/>
                <a:gd name="connsiteY4" fmla="*/ 83138 h 316340"/>
                <a:gd name="connsiteX5" fmla="*/ 0 w 258416"/>
                <a:gd name="connsiteY5" fmla="*/ 39568 h 316340"/>
                <a:gd name="connsiteX0" fmla="*/ 258416 w 258416"/>
                <a:gd name="connsiteY0" fmla="*/ 0 h 316340"/>
                <a:gd name="connsiteX1" fmla="*/ 258416 w 258416"/>
                <a:gd name="connsiteY1" fmla="*/ 246602 h 316340"/>
                <a:gd name="connsiteX2" fmla="*/ 179528 w 258416"/>
                <a:gd name="connsiteY2" fmla="*/ 316302 h 316340"/>
                <a:gd name="connsiteX3" fmla="*/ 97390 w 258416"/>
                <a:gd name="connsiteY3" fmla="*/ 247291 h 316340"/>
                <a:gd name="connsiteX4" fmla="*/ 97390 w 258416"/>
                <a:gd name="connsiteY4" fmla="*/ 83138 h 316340"/>
                <a:gd name="connsiteX5" fmla="*/ 0 w 258416"/>
                <a:gd name="connsiteY5" fmla="*/ 39568 h 316340"/>
                <a:gd name="connsiteX0" fmla="*/ 258416 w 258416"/>
                <a:gd name="connsiteY0" fmla="*/ 0 h 316340"/>
                <a:gd name="connsiteX1" fmla="*/ 258416 w 258416"/>
                <a:gd name="connsiteY1" fmla="*/ 246602 h 316340"/>
                <a:gd name="connsiteX2" fmla="*/ 179528 w 258416"/>
                <a:gd name="connsiteY2" fmla="*/ 316302 h 316340"/>
                <a:gd name="connsiteX3" fmla="*/ 97390 w 258416"/>
                <a:gd name="connsiteY3" fmla="*/ 247291 h 316340"/>
                <a:gd name="connsiteX4" fmla="*/ 97390 w 258416"/>
                <a:gd name="connsiteY4" fmla="*/ 83138 h 316340"/>
                <a:gd name="connsiteX5" fmla="*/ 0 w 258416"/>
                <a:gd name="connsiteY5" fmla="*/ 39568 h 316340"/>
                <a:gd name="connsiteX0" fmla="*/ 258416 w 258416"/>
                <a:gd name="connsiteY0" fmla="*/ 0 h 316340"/>
                <a:gd name="connsiteX1" fmla="*/ 258416 w 258416"/>
                <a:gd name="connsiteY1" fmla="*/ 246602 h 316340"/>
                <a:gd name="connsiteX2" fmla="*/ 179528 w 258416"/>
                <a:gd name="connsiteY2" fmla="*/ 316302 h 316340"/>
                <a:gd name="connsiteX3" fmla="*/ 97390 w 258416"/>
                <a:gd name="connsiteY3" fmla="*/ 247291 h 316340"/>
                <a:gd name="connsiteX4" fmla="*/ 97390 w 258416"/>
                <a:gd name="connsiteY4" fmla="*/ 83138 h 316340"/>
                <a:gd name="connsiteX5" fmla="*/ 0 w 258416"/>
                <a:gd name="connsiteY5" fmla="*/ 39568 h 31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8416" h="316340">
                  <a:moveTo>
                    <a:pt x="258416" y="0"/>
                  </a:moveTo>
                  <a:lnTo>
                    <a:pt x="258416" y="246602"/>
                  </a:lnTo>
                  <a:cubicBezTo>
                    <a:pt x="257935" y="304840"/>
                    <a:pt x="218076" y="317135"/>
                    <a:pt x="179528" y="316302"/>
                  </a:cubicBezTo>
                  <a:cubicBezTo>
                    <a:pt x="139459" y="315613"/>
                    <a:pt x="96766" y="300487"/>
                    <a:pt x="97390" y="247291"/>
                  </a:cubicBezTo>
                  <a:lnTo>
                    <a:pt x="97390" y="83138"/>
                  </a:lnTo>
                  <a:cubicBezTo>
                    <a:pt x="97306" y="50675"/>
                    <a:pt x="69656" y="40527"/>
                    <a:pt x="0" y="39568"/>
                  </a:cubicBezTo>
                </a:path>
              </a:pathLst>
            </a:custGeom>
            <a:noFill/>
            <a:ln w="12700" cap="rnd">
              <a:solidFill>
                <a:schemeClr val="tx1"/>
              </a:solidFill>
              <a:miter lim="800000"/>
              <a:headEnd/>
              <a:tailEnd/>
            </a:ln>
            <a:effectLst/>
          </p:spPr>
          <p:txBody>
            <a:bodyPr rtlCol="0" anchor="ctr"/>
            <a:lstStyle/>
            <a:p>
              <a:pPr algn="ctr"/>
              <a:endParaRPr lang="en-US"/>
            </a:p>
          </p:txBody>
        </p:sp>
      </p:grpSp>
      <p:sp>
        <p:nvSpPr>
          <p:cNvPr id="4" name="TextBox 3">
            <a:extLst>
              <a:ext uri="{FF2B5EF4-FFF2-40B4-BE49-F238E27FC236}">
                <a16:creationId xmlns:a16="http://schemas.microsoft.com/office/drawing/2014/main" id="{7E0EE9AD-E1E9-49E1-843C-9D94D055DB96}"/>
              </a:ext>
            </a:extLst>
          </p:cNvPr>
          <p:cNvSpPr txBox="1"/>
          <p:nvPr/>
        </p:nvSpPr>
        <p:spPr>
          <a:xfrm>
            <a:off x="6965397" y="1720257"/>
            <a:ext cx="4689453" cy="4585871"/>
          </a:xfrm>
          <a:prstGeom prst="rect">
            <a:avLst/>
          </a:prstGeom>
          <a:noFill/>
        </p:spPr>
        <p:txBody>
          <a:bodyPr wrap="square" lIns="0" tIns="0" rIns="0" bIns="0" rtlCol="0">
            <a:spAutoFit/>
          </a:bodyPr>
          <a:lstStyle/>
          <a:p>
            <a:pPr>
              <a:spcBef>
                <a:spcPts val="1800"/>
              </a:spcBef>
            </a:pPr>
            <a:r>
              <a:rPr lang="en-US" sz="1600">
                <a:latin typeface="+mj-lt"/>
              </a:rPr>
              <a:t>Healthcare</a:t>
            </a:r>
            <a:r>
              <a:rPr lang="en-US" sz="1600" b="1"/>
              <a:t/>
            </a:r>
            <a:br>
              <a:rPr lang="en-US" sz="1600" b="1"/>
            </a:br>
            <a:r>
              <a:rPr lang="en-US" sz="1400"/>
              <a:t>Telehealth services such as remote monitoring and videoconferencing can improve health outcomes while reducing costs</a:t>
            </a:r>
          </a:p>
          <a:p>
            <a:pPr>
              <a:spcBef>
                <a:spcPts val="1800"/>
              </a:spcBef>
            </a:pPr>
            <a:r>
              <a:rPr lang="en-US" sz="1600">
                <a:latin typeface="+mj-lt"/>
              </a:rPr>
              <a:t>Agriculture</a:t>
            </a:r>
            <a:r>
              <a:rPr lang="en-US" sz="1600" b="1"/>
              <a:t/>
            </a:r>
            <a:br>
              <a:rPr lang="en-US" sz="1600" b="1"/>
            </a:br>
            <a:r>
              <a:rPr lang="en-US" sz="1400"/>
              <a:t>Farmers can boost income by finding new customers, improving productivity and reducing costs through technology </a:t>
            </a:r>
          </a:p>
          <a:p>
            <a:pPr>
              <a:spcBef>
                <a:spcPts val="1800"/>
              </a:spcBef>
            </a:pPr>
            <a:r>
              <a:rPr lang="en-US" sz="1600">
                <a:latin typeface="+mj-lt"/>
              </a:rPr>
              <a:t>Education</a:t>
            </a:r>
            <a:r>
              <a:rPr lang="en-US" sz="1600" b="1"/>
              <a:t/>
            </a:r>
            <a:br>
              <a:rPr lang="en-US" sz="1600" b="1"/>
            </a:br>
            <a:r>
              <a:rPr lang="en-US" sz="1400"/>
              <a:t>Schools can expand learning options, offer virtual courses, and enable remote collaboration  </a:t>
            </a:r>
          </a:p>
          <a:p>
            <a:pPr>
              <a:spcBef>
                <a:spcPts val="1800"/>
              </a:spcBef>
            </a:pPr>
            <a:r>
              <a:rPr lang="en-US" sz="1600">
                <a:latin typeface="+mj-lt"/>
              </a:rPr>
              <a:t>Small business </a:t>
            </a:r>
            <a:r>
              <a:rPr lang="en-US" sz="1600" b="1"/>
              <a:t/>
            </a:r>
            <a:br>
              <a:rPr lang="en-US" sz="1600" b="1"/>
            </a:br>
            <a:r>
              <a:rPr lang="en-US" sz="1400"/>
              <a:t>Small businesses can use broadband to work remotely, provide more services and reach more customers around the world </a:t>
            </a:r>
          </a:p>
          <a:p>
            <a:pPr>
              <a:spcBef>
                <a:spcPts val="1800"/>
              </a:spcBef>
            </a:pPr>
            <a:r>
              <a:rPr lang="en-US" sz="2000" b="1">
                <a:gradFill>
                  <a:gsLst>
                    <a:gs pos="2917">
                      <a:schemeClr val="tx1"/>
                    </a:gs>
                    <a:gs pos="30000">
                      <a:schemeClr val="tx1"/>
                    </a:gs>
                  </a:gsLst>
                  <a:lin ang="5400000" scaled="0"/>
                </a:gradFill>
              </a:rPr>
              <a:t> </a:t>
            </a:r>
          </a:p>
        </p:txBody>
      </p:sp>
      <p:sp>
        <p:nvSpPr>
          <p:cNvPr id="2" name="Title 1">
            <a:extLst>
              <a:ext uri="{FF2B5EF4-FFF2-40B4-BE49-F238E27FC236}">
                <a16:creationId xmlns:a16="http://schemas.microsoft.com/office/drawing/2014/main" id="{0E01E14B-EE1C-4BEA-8088-9F4D6C2BF943}"/>
              </a:ext>
            </a:extLst>
          </p:cNvPr>
          <p:cNvSpPr>
            <a:spLocks noGrp="1"/>
          </p:cNvSpPr>
          <p:nvPr>
            <p:ph type="title"/>
          </p:nvPr>
        </p:nvSpPr>
        <p:spPr>
          <a:xfrm>
            <a:off x="6600068" y="632538"/>
            <a:ext cx="4896264" cy="553998"/>
          </a:xfrm>
        </p:spPr>
        <p:txBody>
          <a:bodyPr/>
          <a:lstStyle/>
          <a:p>
            <a:r>
              <a:rPr lang="en-US" spc="-150" dirty="0">
                <a:solidFill>
                  <a:schemeClr val="tx1"/>
                </a:solidFill>
              </a:rPr>
              <a:t>Focus areas</a:t>
            </a:r>
          </a:p>
        </p:txBody>
      </p:sp>
      <p:pic>
        <p:nvPicPr>
          <p:cNvPr id="7" name="Picture 6" descr="A picture containing person, indoor, man&#10;&#10;Description automatically generated">
            <a:extLst>
              <a:ext uri="{FF2B5EF4-FFF2-40B4-BE49-F238E27FC236}">
                <a16:creationId xmlns:a16="http://schemas.microsoft.com/office/drawing/2014/main" id="{28A27BA2-52AC-462F-90B1-9449A52DBFF4}"/>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l="16326"/>
          <a:stretch/>
        </p:blipFill>
        <p:spPr>
          <a:xfrm rot="5400000">
            <a:off x="-415919" y="348614"/>
            <a:ext cx="6873240" cy="6160769"/>
          </a:xfrm>
          <a:prstGeom prst="rect">
            <a:avLst/>
          </a:prstGeom>
        </p:spPr>
      </p:pic>
    </p:spTree>
    <p:extLst>
      <p:ext uri="{BB962C8B-B14F-4D97-AF65-F5344CB8AC3E}">
        <p14:creationId xmlns:p14="http://schemas.microsoft.com/office/powerpoint/2010/main" val="410840355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a:extLst>
              <a:ext uri="{FF2B5EF4-FFF2-40B4-BE49-F238E27FC236}">
                <a16:creationId xmlns:a16="http://schemas.microsoft.com/office/drawing/2014/main" id="{E964E8AF-A322-47B7-BE78-D63BAAABF22D}"/>
              </a:ext>
            </a:extLst>
          </p:cNvPr>
          <p:cNvSpPr txBox="1"/>
          <p:nvPr/>
        </p:nvSpPr>
        <p:spPr>
          <a:xfrm>
            <a:off x="7894414" y="2130972"/>
            <a:ext cx="3684082" cy="830997"/>
          </a:xfrm>
          <a:prstGeom prst="rect">
            <a:avLst/>
          </a:prstGeom>
          <a:noFill/>
        </p:spPr>
        <p:txBody>
          <a:bodyPr wrap="square" rtlCol="0">
            <a:spAutoFit/>
          </a:bodyPr>
          <a:lstStyle/>
          <a:p>
            <a:pPr algn="ctr" defTabSz="913874">
              <a:defRPr/>
            </a:pPr>
            <a:r>
              <a:rPr lang="en-US" sz="1600">
                <a:solidFill>
                  <a:prstClr val="black"/>
                </a:solidFill>
                <a:latin typeface="Segoe UI" panose="020B0502040204020203" pitchFamily="34" charset="0"/>
                <a:cs typeface="Segoe UI" panose="020B0502040204020203" pitchFamily="34" charset="0"/>
              </a:rPr>
              <a:t>US States/Territories covered by Airband partnerships </a:t>
            </a:r>
          </a:p>
          <a:p>
            <a:pPr algn="ctr" defTabSz="913874">
              <a:defRPr/>
            </a:pPr>
            <a:r>
              <a:rPr lang="en-US" sz="1600">
                <a:solidFill>
                  <a:prstClr val="black"/>
                </a:solidFill>
                <a:latin typeface="Segoe UI" panose="020B0502040204020203" pitchFamily="34" charset="0"/>
                <a:cs typeface="Segoe UI" panose="020B0502040204020203" pitchFamily="34" charset="0"/>
              </a:rPr>
              <a:t>as of April 2020</a:t>
            </a:r>
          </a:p>
        </p:txBody>
      </p:sp>
      <p:sp>
        <p:nvSpPr>
          <p:cNvPr id="56" name="Rectangle 55" descr="Dark blue square, color key for map. ">
            <a:extLst>
              <a:ext uri="{FF2B5EF4-FFF2-40B4-BE49-F238E27FC236}">
                <a16:creationId xmlns:a16="http://schemas.microsoft.com/office/drawing/2014/main" id="{04734AF7-1DB4-4B2D-B1DD-6F60BA719AE0}"/>
              </a:ext>
            </a:extLst>
          </p:cNvPr>
          <p:cNvSpPr/>
          <p:nvPr/>
        </p:nvSpPr>
        <p:spPr>
          <a:xfrm>
            <a:off x="9075770" y="3952583"/>
            <a:ext cx="182802" cy="18280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defRPr/>
            </a:pPr>
            <a:endParaRPr lang="en-US">
              <a:solidFill>
                <a:prstClr val="white"/>
              </a:solidFill>
              <a:latin typeface="Calibri" panose="020F0502020204030204"/>
            </a:endParaRPr>
          </a:p>
        </p:txBody>
      </p:sp>
      <p:sp>
        <p:nvSpPr>
          <p:cNvPr id="57" name="TextBox 56">
            <a:extLst>
              <a:ext uri="{FF2B5EF4-FFF2-40B4-BE49-F238E27FC236}">
                <a16:creationId xmlns:a16="http://schemas.microsoft.com/office/drawing/2014/main" id="{46D1BFDD-0E37-4639-8991-8FD00FB7026C}"/>
              </a:ext>
            </a:extLst>
          </p:cNvPr>
          <p:cNvSpPr txBox="1"/>
          <p:nvPr/>
        </p:nvSpPr>
        <p:spPr>
          <a:xfrm>
            <a:off x="9252761" y="3886247"/>
            <a:ext cx="1330997" cy="336871"/>
          </a:xfrm>
          <a:prstGeom prst="rect">
            <a:avLst/>
          </a:prstGeom>
          <a:noFill/>
        </p:spPr>
        <p:txBody>
          <a:bodyPr wrap="square" lIns="91401" tIns="91401" rIns="91401" bIns="91401" rtlCol="0">
            <a:spAutoFit/>
          </a:bodyPr>
          <a:lstStyle/>
          <a:p>
            <a:pPr defTabSz="913874">
              <a:lnSpc>
                <a:spcPct val="90000"/>
              </a:lnSpc>
              <a:spcAft>
                <a:spcPts val="600"/>
              </a:spcAft>
              <a:defRPr/>
            </a:pPr>
            <a:r>
              <a:rPr lang="en-US" sz="1100">
                <a:gradFill>
                  <a:gsLst>
                    <a:gs pos="2917">
                      <a:prstClr val="black"/>
                    </a:gs>
                    <a:gs pos="30000">
                      <a:prstClr val="black"/>
                    </a:gs>
                  </a:gsLst>
                  <a:lin ang="5400000" scaled="0"/>
                </a:gradFill>
                <a:latin typeface="Segoe UI" panose="020B0502040204020203" pitchFamily="34" charset="0"/>
                <a:cs typeface="Segoe UI" panose="020B0502040204020203" pitchFamily="34" charset="0"/>
              </a:rPr>
              <a:t>Commercial deals</a:t>
            </a:r>
          </a:p>
        </p:txBody>
      </p:sp>
      <p:sp>
        <p:nvSpPr>
          <p:cNvPr id="58" name="Rectangle 57" descr="Color key for map, light blue square indicating pilots / grants.">
            <a:extLst>
              <a:ext uri="{FF2B5EF4-FFF2-40B4-BE49-F238E27FC236}">
                <a16:creationId xmlns:a16="http://schemas.microsoft.com/office/drawing/2014/main" id="{B69C35C7-B44E-458C-81B6-8462C309BD2F}"/>
              </a:ext>
            </a:extLst>
          </p:cNvPr>
          <p:cNvSpPr/>
          <p:nvPr/>
        </p:nvSpPr>
        <p:spPr>
          <a:xfrm>
            <a:off x="9071898" y="4231102"/>
            <a:ext cx="182802" cy="182802"/>
          </a:xfrm>
          <a:prstGeom prst="rect">
            <a:avLst/>
          </a:prstGeom>
          <a:solidFill>
            <a:srgbClr val="B4C7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74">
              <a:defRPr/>
            </a:pPr>
            <a:endParaRPr lang="en-US">
              <a:solidFill>
                <a:prstClr val="white"/>
              </a:solidFill>
              <a:latin typeface="Calibri" panose="020F0502020204030204"/>
            </a:endParaRPr>
          </a:p>
        </p:txBody>
      </p:sp>
      <p:sp>
        <p:nvSpPr>
          <p:cNvPr id="59" name="TextBox 58">
            <a:extLst>
              <a:ext uri="{FF2B5EF4-FFF2-40B4-BE49-F238E27FC236}">
                <a16:creationId xmlns:a16="http://schemas.microsoft.com/office/drawing/2014/main" id="{4248B0A3-30A3-40E9-941B-8353D5C89114}"/>
              </a:ext>
            </a:extLst>
          </p:cNvPr>
          <p:cNvSpPr txBox="1"/>
          <p:nvPr/>
        </p:nvSpPr>
        <p:spPr>
          <a:xfrm>
            <a:off x="9252761" y="4142936"/>
            <a:ext cx="1330997" cy="336871"/>
          </a:xfrm>
          <a:prstGeom prst="rect">
            <a:avLst/>
          </a:prstGeom>
          <a:noFill/>
        </p:spPr>
        <p:txBody>
          <a:bodyPr wrap="square" lIns="91401" tIns="91401" rIns="91401" bIns="91401" rtlCol="0">
            <a:spAutoFit/>
          </a:bodyPr>
          <a:lstStyle/>
          <a:p>
            <a:pPr defTabSz="913874">
              <a:lnSpc>
                <a:spcPct val="90000"/>
              </a:lnSpc>
              <a:spcAft>
                <a:spcPts val="600"/>
              </a:spcAft>
              <a:defRPr/>
            </a:pPr>
            <a:r>
              <a:rPr lang="en-US" sz="1100">
                <a:gradFill>
                  <a:gsLst>
                    <a:gs pos="2917">
                      <a:prstClr val="black"/>
                    </a:gs>
                    <a:gs pos="30000">
                      <a:prstClr val="black"/>
                    </a:gs>
                  </a:gsLst>
                  <a:lin ang="5400000" scaled="0"/>
                </a:gradFill>
                <a:latin typeface="Segoe UI" panose="020B0502040204020203" pitchFamily="34" charset="0"/>
                <a:cs typeface="Segoe UI" panose="020B0502040204020203" pitchFamily="34" charset="0"/>
              </a:rPr>
              <a:t>Pilots/Grants</a:t>
            </a:r>
          </a:p>
        </p:txBody>
      </p:sp>
      <p:graphicFrame>
        <p:nvGraphicFramePr>
          <p:cNvPr id="60" name="Table 59">
            <a:extLst>
              <a:ext uri="{FF2B5EF4-FFF2-40B4-BE49-F238E27FC236}">
                <a16:creationId xmlns:a16="http://schemas.microsoft.com/office/drawing/2014/main" id="{5424D6C0-2392-48A8-BEAC-2FEE18E1AFCA}"/>
              </a:ext>
            </a:extLst>
          </p:cNvPr>
          <p:cNvGraphicFramePr>
            <a:graphicFrameLocks noGrp="1"/>
          </p:cNvGraphicFramePr>
          <p:nvPr/>
        </p:nvGraphicFramePr>
        <p:xfrm>
          <a:off x="8395074" y="2983060"/>
          <a:ext cx="2682764" cy="609520"/>
        </p:xfrm>
        <a:graphic>
          <a:graphicData uri="http://schemas.openxmlformats.org/drawingml/2006/table">
            <a:tbl>
              <a:tblPr firstRow="1" bandRow="1">
                <a:tableStyleId>{2D5ABB26-0587-4C30-8999-92F81FD0307C}</a:tableStyleId>
              </a:tblPr>
              <a:tblGrid>
                <a:gridCol w="1341382">
                  <a:extLst>
                    <a:ext uri="{9D8B030D-6E8A-4147-A177-3AD203B41FA5}">
                      <a16:colId xmlns:a16="http://schemas.microsoft.com/office/drawing/2014/main" val="3665530836"/>
                    </a:ext>
                  </a:extLst>
                </a:gridCol>
                <a:gridCol w="1341382">
                  <a:extLst>
                    <a:ext uri="{9D8B030D-6E8A-4147-A177-3AD203B41FA5}">
                      <a16:colId xmlns:a16="http://schemas.microsoft.com/office/drawing/2014/main" val="289341524"/>
                    </a:ext>
                  </a:extLst>
                </a:gridCol>
              </a:tblGrid>
              <a:tr h="304729">
                <a:tc>
                  <a:txBody>
                    <a:bodyPr/>
                    <a:lstStyle/>
                    <a:p>
                      <a:pPr algn="ctr"/>
                      <a:r>
                        <a:rPr lang="en-US" sz="1400">
                          <a:latin typeface="Segoe UI" panose="020B0502040204020203" pitchFamily="34" charset="0"/>
                          <a:cs typeface="Segoe UI" panose="020B0502040204020203" pitchFamily="34" charset="0"/>
                        </a:rPr>
                        <a:t>Pilot / Grant</a:t>
                      </a:r>
                    </a:p>
                  </a:txBody>
                  <a:tcPr marL="91401" marR="91401" marT="45700" marB="457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a:r>
                        <a:rPr lang="en-US" sz="1400">
                          <a:solidFill>
                            <a:schemeClr val="bg1"/>
                          </a:solidFill>
                          <a:latin typeface="Segoe UI" panose="020B0502040204020203" pitchFamily="34" charset="0"/>
                          <a:cs typeface="Segoe UI" panose="020B0502040204020203" pitchFamily="34" charset="0"/>
                        </a:rPr>
                        <a:t>Commercial</a:t>
                      </a:r>
                    </a:p>
                  </a:txBody>
                  <a:tcPr marL="91401" marR="91401" marT="45700" marB="457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extLst>
                  <a:ext uri="{0D108BD9-81ED-4DB2-BD59-A6C34878D82A}">
                    <a16:rowId xmlns:a16="http://schemas.microsoft.com/office/drawing/2014/main" val="2424138351"/>
                  </a:ext>
                </a:extLst>
              </a:tr>
              <a:tr h="304729">
                <a:tc>
                  <a:txBody>
                    <a:bodyPr/>
                    <a:lstStyle/>
                    <a:p>
                      <a:pPr algn="ctr"/>
                      <a:r>
                        <a:rPr lang="en-US" sz="1400">
                          <a:latin typeface="Segoe UI" panose="020B0502040204020203" pitchFamily="34" charset="0"/>
                          <a:cs typeface="Segoe UI" panose="020B0502040204020203" pitchFamily="34" charset="0"/>
                        </a:rPr>
                        <a:t>3</a:t>
                      </a:r>
                    </a:p>
                  </a:txBody>
                  <a:tcPr marL="91401" marR="91401" marT="45700" marB="457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a:latin typeface="Segoe UI" panose="020B0502040204020203" pitchFamily="34" charset="0"/>
                          <a:cs typeface="Segoe UI" panose="020B0502040204020203" pitchFamily="34" charset="0"/>
                        </a:rPr>
                        <a:t>25</a:t>
                      </a:r>
                    </a:p>
                  </a:txBody>
                  <a:tcPr marL="91401" marR="91401" marT="45700" marB="457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54777010"/>
                  </a:ext>
                </a:extLst>
              </a:tr>
            </a:tbl>
          </a:graphicData>
        </a:graphic>
      </p:graphicFrame>
      <p:sp>
        <p:nvSpPr>
          <p:cNvPr id="63" name="Rectangle 62">
            <a:extLst>
              <a:ext uri="{FF2B5EF4-FFF2-40B4-BE49-F238E27FC236}">
                <a16:creationId xmlns:a16="http://schemas.microsoft.com/office/drawing/2014/main" id="{A2C210B1-15C7-496F-BB35-D177B76F090E}"/>
              </a:ext>
            </a:extLst>
          </p:cNvPr>
          <p:cNvSpPr/>
          <p:nvPr/>
        </p:nvSpPr>
        <p:spPr>
          <a:xfrm>
            <a:off x="461320" y="826692"/>
            <a:ext cx="11269360" cy="374740"/>
          </a:xfrm>
          <a:prstGeom prst="rect">
            <a:avLst/>
          </a:prstGeom>
        </p:spPr>
        <p:txBody>
          <a:bodyPr wrap="square">
            <a:spAutoFit/>
          </a:bodyPr>
          <a:lstStyle/>
          <a:p>
            <a:pPr algn="ctr" defTabSz="913874">
              <a:defRPr/>
            </a:pPr>
            <a:r>
              <a:rPr lang="en-US" i="1">
                <a:solidFill>
                  <a:srgbClr val="353535"/>
                </a:solidFill>
                <a:latin typeface="Segoe UI" panose="020B0502040204020203" pitchFamily="34" charset="0"/>
                <a:cs typeface="Segoe UI" panose="020B0502040204020203" pitchFamily="34" charset="0"/>
              </a:rPr>
              <a:t>The overall NEW goal is to cover 3 million people in unserved rural USA by July 4, 2022 </a:t>
            </a:r>
          </a:p>
        </p:txBody>
      </p:sp>
      <p:cxnSp>
        <p:nvCxnSpPr>
          <p:cNvPr id="64" name="Straight Connector 63">
            <a:extLst>
              <a:ext uri="{FF2B5EF4-FFF2-40B4-BE49-F238E27FC236}">
                <a16:creationId xmlns:a16="http://schemas.microsoft.com/office/drawing/2014/main" id="{B3176924-D701-46DB-ADEA-182FAE6540CB}"/>
              </a:ext>
            </a:extLst>
          </p:cNvPr>
          <p:cNvCxnSpPr>
            <a:cxnSpLocks/>
          </p:cNvCxnSpPr>
          <p:nvPr/>
        </p:nvCxnSpPr>
        <p:spPr>
          <a:xfrm>
            <a:off x="630335" y="1200311"/>
            <a:ext cx="1113121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4" name="Picture 3" descr="Map of Puerto Rico.">
            <a:extLst>
              <a:ext uri="{FF2B5EF4-FFF2-40B4-BE49-F238E27FC236}">
                <a16:creationId xmlns:a16="http://schemas.microsoft.com/office/drawing/2014/main" id="{0D90557E-9118-4C09-8652-5144536D1D79}"/>
              </a:ext>
            </a:extLst>
          </p:cNvPr>
          <p:cNvPicPr>
            <a:picLocks noChangeAspect="1"/>
          </p:cNvPicPr>
          <p:nvPr/>
        </p:nvPicPr>
        <p:blipFill>
          <a:blip r:embed="rId3"/>
          <a:stretch>
            <a:fillRect/>
          </a:stretch>
        </p:blipFill>
        <p:spPr>
          <a:xfrm>
            <a:off x="7290154" y="5048169"/>
            <a:ext cx="1195085" cy="1067496"/>
          </a:xfrm>
          <a:prstGeom prst="rect">
            <a:avLst/>
          </a:prstGeom>
        </p:spPr>
      </p:pic>
      <mc:AlternateContent xmlns:mc="http://schemas.openxmlformats.org/markup-compatibility/2006">
        <mc:Choice xmlns:cx4="http://schemas.microsoft.com/office/drawing/2016/5/10/chartex" xmlns="" Requires="cx4">
          <p:graphicFrame>
            <p:nvGraphicFramePr>
              <p:cNvPr id="13" name="Chart 12" descr="Map of the US highlighting Airband projects in 25 states.&#10;">
                <a:extLst>
                  <a:ext uri="{FF2B5EF4-FFF2-40B4-BE49-F238E27FC236}">
                    <a16:creationId xmlns:a16="http://schemas.microsoft.com/office/drawing/2014/main" id="{29A456D2-3910-4588-94E6-C96098A3CF23}"/>
                  </a:ext>
                </a:extLst>
              </p:cNvPr>
              <p:cNvGraphicFramePr/>
              <p:nvPr>
                <p:extLst>
                  <p:ext uri="{D42A27DB-BD31-4B8C-83A1-F6EECF244321}">
                    <p14:modId xmlns:p14="http://schemas.microsoft.com/office/powerpoint/2010/main" val="702519738"/>
                  </p:ext>
                </p:extLst>
              </p:nvPr>
            </p:nvGraphicFramePr>
            <p:xfrm>
              <a:off x="0" y="1549318"/>
              <a:ext cx="8395074" cy="4481989"/>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13" name="Chart 12" descr="Map of the US highlighting Airband projects in 25 states.&#10;">
                <a:extLst>
                  <a:ext uri="{FF2B5EF4-FFF2-40B4-BE49-F238E27FC236}">
                    <a16:creationId xmlns:a16="http://schemas.microsoft.com/office/drawing/2014/main" id="{29A456D2-3910-4588-94E6-C96098A3CF23}"/>
                  </a:ext>
                </a:extLst>
              </p:cNvPr>
              <p:cNvPicPr>
                <a:picLocks noGrp="1" noRot="1" noChangeAspect="1" noMove="1" noResize="1" noEditPoints="1" noAdjustHandles="1" noChangeArrowheads="1" noChangeShapeType="1"/>
              </p:cNvPicPr>
              <p:nvPr/>
            </p:nvPicPr>
            <p:blipFill>
              <a:blip r:embed="rId5"/>
              <a:stretch>
                <a:fillRect/>
              </a:stretch>
            </p:blipFill>
            <p:spPr>
              <a:xfrm>
                <a:off x="0" y="1549318"/>
                <a:ext cx="8395074" cy="4481989"/>
              </a:xfrm>
              <a:prstGeom prst="rect">
                <a:avLst/>
              </a:prstGeom>
            </p:spPr>
          </p:pic>
        </mc:Fallback>
      </mc:AlternateContent>
      <p:sp>
        <p:nvSpPr>
          <p:cNvPr id="3" name="Title 2">
            <a:extLst>
              <a:ext uri="{FF2B5EF4-FFF2-40B4-BE49-F238E27FC236}">
                <a16:creationId xmlns:a16="http://schemas.microsoft.com/office/drawing/2014/main" id="{8F410C00-054F-44F1-A28A-4BF98C1410E9}"/>
              </a:ext>
            </a:extLst>
          </p:cNvPr>
          <p:cNvSpPr>
            <a:spLocks noGrp="1"/>
          </p:cNvSpPr>
          <p:nvPr>
            <p:ph type="title" idx="4294967295"/>
          </p:nvPr>
        </p:nvSpPr>
        <p:spPr>
          <a:xfrm>
            <a:off x="348566" y="216927"/>
            <a:ext cx="11018520" cy="553998"/>
          </a:xfrm>
        </p:spPr>
        <p:txBody>
          <a:bodyPr/>
          <a:lstStyle/>
          <a:p>
            <a:r>
              <a:rPr lang="en-US" dirty="0"/>
              <a:t>Airband Projects in 25 States &amp; Puerto Rico</a:t>
            </a:r>
          </a:p>
        </p:txBody>
      </p:sp>
    </p:spTree>
    <p:extLst>
      <p:ext uri="{BB962C8B-B14F-4D97-AF65-F5344CB8AC3E}">
        <p14:creationId xmlns:p14="http://schemas.microsoft.com/office/powerpoint/2010/main" val="3357782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B962764-7F6B-4319-8389-4E2B0A6508CC}"/>
              </a:ext>
            </a:extLst>
          </p:cNvPr>
          <p:cNvSpPr>
            <a:spLocks noGrp="1"/>
          </p:cNvSpPr>
          <p:nvPr>
            <p:ph type="body" sz="quarter" idx="10"/>
          </p:nvPr>
        </p:nvSpPr>
        <p:spPr>
          <a:xfrm>
            <a:off x="6688016" y="2216602"/>
            <a:ext cx="5207327" cy="2154436"/>
          </a:xfrm>
        </p:spPr>
        <p:txBody>
          <a:bodyPr/>
          <a:lstStyle/>
          <a:p>
            <a:pPr>
              <a:spcBef>
                <a:spcPts val="0"/>
              </a:spcBef>
            </a:pPr>
            <a:r>
              <a:rPr lang="en-US" dirty="0" err="1"/>
              <a:t>Astrea</a:t>
            </a:r>
            <a:r>
              <a:rPr lang="en-US" dirty="0"/>
              <a:t> is an internet service provider (ISP) servicing 85,000 customers in rural Wisconsin and Michigan’s Upper Peninsula.  </a:t>
            </a:r>
            <a:r>
              <a:rPr lang="en-US" dirty="0" err="1"/>
              <a:t>Astrea</a:t>
            </a:r>
            <a:r>
              <a:rPr lang="en-US" dirty="0"/>
              <a:t> will leverage their fiber, hybrid fiber / coax (HFC) and wireless technologies to deliver low-cost high speed broadband access to some of the most rural areas in Wisconsin and Michigan.</a:t>
            </a:r>
          </a:p>
        </p:txBody>
      </p:sp>
      <p:sp>
        <p:nvSpPr>
          <p:cNvPr id="2" name="Title 1">
            <a:extLst>
              <a:ext uri="{FF2B5EF4-FFF2-40B4-BE49-F238E27FC236}">
                <a16:creationId xmlns:a16="http://schemas.microsoft.com/office/drawing/2014/main" id="{7455D4EE-57CD-4E9E-B360-8DBC74C3F215}"/>
              </a:ext>
            </a:extLst>
          </p:cNvPr>
          <p:cNvSpPr>
            <a:spLocks noGrp="1"/>
          </p:cNvSpPr>
          <p:nvPr>
            <p:ph type="title"/>
          </p:nvPr>
        </p:nvSpPr>
        <p:spPr>
          <a:xfrm>
            <a:off x="6688016" y="419398"/>
            <a:ext cx="5023970" cy="1107996"/>
          </a:xfrm>
        </p:spPr>
        <p:txBody>
          <a:bodyPr/>
          <a:lstStyle/>
          <a:p>
            <a:r>
              <a:rPr lang="en-US" dirty="0" err="1">
                <a:solidFill>
                  <a:schemeClr val="tx1"/>
                </a:solidFill>
              </a:rPr>
              <a:t>Astrea</a:t>
            </a:r>
            <a:r>
              <a:rPr lang="en-US" dirty="0">
                <a:solidFill>
                  <a:schemeClr val="tx1"/>
                </a:solidFill>
              </a:rPr>
              <a:t>: Connecting Wisconsin and Michigan</a:t>
            </a:r>
          </a:p>
        </p:txBody>
      </p:sp>
      <p:pic>
        <p:nvPicPr>
          <p:cNvPr id="6" name="Picture 5" descr="Image of rural Wisconsin.">
            <a:extLst>
              <a:ext uri="{FF2B5EF4-FFF2-40B4-BE49-F238E27FC236}">
                <a16:creationId xmlns:a16="http://schemas.microsoft.com/office/drawing/2014/main" id="{B8F73E93-4368-4591-80E1-A7290DAE764C}"/>
              </a:ext>
            </a:extLst>
          </p:cNvPr>
          <p:cNvPicPr>
            <a:picLocks noChangeAspect="1"/>
          </p:cNvPicPr>
          <p:nvPr/>
        </p:nvPicPr>
        <p:blipFill>
          <a:blip r:embed="rId3"/>
          <a:stretch>
            <a:fillRect/>
          </a:stretch>
        </p:blipFill>
        <p:spPr>
          <a:xfrm>
            <a:off x="10830" y="0"/>
            <a:ext cx="6085170" cy="6858000"/>
          </a:xfrm>
          <a:prstGeom prst="rect">
            <a:avLst/>
          </a:prstGeom>
        </p:spPr>
      </p:pic>
      <p:pic>
        <p:nvPicPr>
          <p:cNvPr id="8" name="Picture 7" descr="Astrea logo">
            <a:extLst>
              <a:ext uri="{FF2B5EF4-FFF2-40B4-BE49-F238E27FC236}">
                <a16:creationId xmlns:a16="http://schemas.microsoft.com/office/drawing/2014/main" id="{EC0A72AE-0023-411C-9586-6056896FCAE2}"/>
              </a:ext>
            </a:extLst>
          </p:cNvPr>
          <p:cNvPicPr>
            <a:picLocks noChangeAspect="1"/>
          </p:cNvPicPr>
          <p:nvPr/>
        </p:nvPicPr>
        <p:blipFill>
          <a:blip r:embed="rId4"/>
          <a:stretch>
            <a:fillRect/>
          </a:stretch>
        </p:blipFill>
        <p:spPr>
          <a:xfrm>
            <a:off x="10383695" y="6017558"/>
            <a:ext cx="1637607" cy="760953"/>
          </a:xfrm>
          <a:prstGeom prst="rect">
            <a:avLst/>
          </a:prstGeom>
        </p:spPr>
      </p:pic>
    </p:spTree>
    <p:extLst>
      <p:ext uri="{BB962C8B-B14F-4D97-AF65-F5344CB8AC3E}">
        <p14:creationId xmlns:p14="http://schemas.microsoft.com/office/powerpoint/2010/main" val="302481899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B962764-7F6B-4319-8389-4E2B0A6508CC}"/>
              </a:ext>
            </a:extLst>
          </p:cNvPr>
          <p:cNvSpPr>
            <a:spLocks noGrp="1"/>
          </p:cNvSpPr>
          <p:nvPr>
            <p:ph type="body" sz="quarter" idx="10"/>
          </p:nvPr>
        </p:nvSpPr>
        <p:spPr>
          <a:xfrm>
            <a:off x="6713123" y="2194224"/>
            <a:ext cx="5207327" cy="4001095"/>
          </a:xfrm>
        </p:spPr>
        <p:txBody>
          <a:bodyPr/>
          <a:lstStyle/>
          <a:p>
            <a:pPr>
              <a:spcBef>
                <a:spcPts val="0"/>
              </a:spcBef>
            </a:pPr>
            <a:r>
              <a:rPr lang="en-US" dirty="0"/>
              <a:t>Watch Communications is an internet service provider based in Lima, Ohio awarded funding from the Federal Communications Commission in the Connect America Fund Auction II to deploy fixed wireless services in Illinois, Indiana, and Ohio.  Their CAF and current areas include extremely rural, low-density regions.  They will deploy a variety of technologies and spectrums to bring these areas under coverage with an emphasis on TVWS in terrain-challenged areas to achieve improved coverage. </a:t>
            </a:r>
          </a:p>
          <a:p>
            <a:pPr>
              <a:spcBef>
                <a:spcPts val="0"/>
              </a:spcBef>
            </a:pPr>
            <a:endParaRPr lang="en-US" dirty="0"/>
          </a:p>
        </p:txBody>
      </p:sp>
      <p:sp>
        <p:nvSpPr>
          <p:cNvPr id="2" name="Title 1">
            <a:extLst>
              <a:ext uri="{FF2B5EF4-FFF2-40B4-BE49-F238E27FC236}">
                <a16:creationId xmlns:a16="http://schemas.microsoft.com/office/drawing/2014/main" id="{7455D4EE-57CD-4E9E-B360-8DBC74C3F215}"/>
              </a:ext>
            </a:extLst>
          </p:cNvPr>
          <p:cNvSpPr>
            <a:spLocks noGrp="1"/>
          </p:cNvSpPr>
          <p:nvPr>
            <p:ph type="title"/>
          </p:nvPr>
        </p:nvSpPr>
        <p:spPr>
          <a:xfrm>
            <a:off x="6688016" y="142400"/>
            <a:ext cx="5023970" cy="1661993"/>
          </a:xfrm>
        </p:spPr>
        <p:txBody>
          <a:bodyPr/>
          <a:lstStyle/>
          <a:p>
            <a:r>
              <a:rPr lang="en-US" dirty="0">
                <a:solidFill>
                  <a:schemeClr val="tx1"/>
                </a:solidFill>
              </a:rPr>
              <a:t>Watch Communications: Connecting Indiana,  Illinois, Ohio &amp; Kentucky</a:t>
            </a:r>
          </a:p>
        </p:txBody>
      </p:sp>
      <p:pic>
        <p:nvPicPr>
          <p:cNvPr id="4" name="Picture 3" descr="Image of rural Ohio">
            <a:extLst>
              <a:ext uri="{FF2B5EF4-FFF2-40B4-BE49-F238E27FC236}">
                <a16:creationId xmlns:a16="http://schemas.microsoft.com/office/drawing/2014/main" id="{A3C0C3CA-BD2C-44B0-A0A6-5C51960B7F81}"/>
              </a:ext>
            </a:extLst>
          </p:cNvPr>
          <p:cNvPicPr>
            <a:picLocks noChangeAspect="1"/>
          </p:cNvPicPr>
          <p:nvPr/>
        </p:nvPicPr>
        <p:blipFill>
          <a:blip r:embed="rId3"/>
          <a:stretch>
            <a:fillRect/>
          </a:stretch>
        </p:blipFill>
        <p:spPr>
          <a:xfrm>
            <a:off x="-570807" y="0"/>
            <a:ext cx="6718093" cy="7054730"/>
          </a:xfrm>
          <a:prstGeom prst="rect">
            <a:avLst/>
          </a:prstGeom>
        </p:spPr>
      </p:pic>
      <p:pic>
        <p:nvPicPr>
          <p:cNvPr id="5" name="Picture 4" descr="Watch Communications logo">
            <a:extLst>
              <a:ext uri="{FF2B5EF4-FFF2-40B4-BE49-F238E27FC236}">
                <a16:creationId xmlns:a16="http://schemas.microsoft.com/office/drawing/2014/main" id="{38A83B8E-D902-43FF-AFB0-6519200B5DF9}"/>
              </a:ext>
            </a:extLst>
          </p:cNvPr>
          <p:cNvPicPr>
            <a:picLocks noChangeAspect="1"/>
          </p:cNvPicPr>
          <p:nvPr/>
        </p:nvPicPr>
        <p:blipFill>
          <a:blip r:embed="rId4"/>
          <a:stretch>
            <a:fillRect/>
          </a:stretch>
        </p:blipFill>
        <p:spPr>
          <a:xfrm>
            <a:off x="10705835" y="6295783"/>
            <a:ext cx="965315" cy="476179"/>
          </a:xfrm>
          <a:prstGeom prst="rect">
            <a:avLst/>
          </a:prstGeom>
        </p:spPr>
      </p:pic>
    </p:spTree>
    <p:extLst>
      <p:ext uri="{BB962C8B-B14F-4D97-AF65-F5344CB8AC3E}">
        <p14:creationId xmlns:p14="http://schemas.microsoft.com/office/powerpoint/2010/main" val="241455509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xquLB6lflqRL2BDwCbXN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a:themeElements>
    <a:clrScheme name="Azure">
      <a:dk1>
        <a:sysClr val="windowText" lastClr="000000"/>
      </a:dk1>
      <a:lt1>
        <a:sysClr val="window" lastClr="FFFFFF"/>
      </a:lt1>
      <a:dk2>
        <a:srgbClr val="000000"/>
      </a:dk2>
      <a:lt2>
        <a:srgbClr val="FFFFFF"/>
      </a:lt2>
      <a:accent1>
        <a:srgbClr val="0078D4"/>
      </a:accent1>
      <a:accent2>
        <a:srgbClr val="50E6FF"/>
      </a:accent2>
      <a:accent3>
        <a:srgbClr val="3C3C41"/>
      </a:accent3>
      <a:accent4>
        <a:srgbClr val="75757A"/>
      </a:accent4>
      <a:accent5>
        <a:srgbClr val="EBEBEB"/>
      </a:accent5>
      <a:accent6>
        <a:srgbClr val="FFFFFF"/>
      </a:accent6>
      <a:hlink>
        <a:srgbClr val="0078D4"/>
      </a:hlink>
      <a:folHlink>
        <a:srgbClr val="954F72"/>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2700">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020518_Baseline File [square photo].potx" id="{C5D1F236-4B1B-4E57-A29C-AD92A4683BEF}" vid="{04698D39-7FD2-42AF-81C6-B18BB52E45EF}"/>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TEMPLATE">
  <a:themeElements>
    <a:clrScheme name="Custom 23">
      <a:dk1>
        <a:srgbClr val="1A1A1A"/>
      </a:dk1>
      <a:lt1>
        <a:srgbClr val="FFFFFF"/>
      </a:lt1>
      <a:dk2>
        <a:srgbClr val="0D0D0D"/>
      </a:dk2>
      <a:lt2>
        <a:srgbClr val="E6E6E6"/>
      </a:lt2>
      <a:accent1>
        <a:srgbClr val="0078D4"/>
      </a:accent1>
      <a:accent2>
        <a:srgbClr val="008575"/>
      </a:accent2>
      <a:accent3>
        <a:srgbClr val="8661C5"/>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Apr_2018.potx" id="{6E176AED-3910-43DD-9138-5EB17D8C9824}" vid="{D98E849F-7C13-4298-8899-FAB6DA75BF8D}"/>
    </a:ext>
  </a:extLst>
</a:theme>
</file>

<file path=ppt/theme/theme3.xml><?xml version="1.0" encoding="utf-8"?>
<a:theme xmlns:a="http://schemas.openxmlformats.org/drawingml/2006/main" name="2_WHITE TEMPLATE">
  <a:themeElements>
    <a:clrScheme name="BT - Blue - white background">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Consumer_BLUE_2017_03.potx" id="{FB3EFF20-B4D2-478B-B2A2-CBDD18FB8408}" vid="{298C504D-1E39-40C1-A9F2-F02391F48211}"/>
    </a:ext>
  </a:extLst>
</a:theme>
</file>

<file path=ppt/theme/theme4.xml><?xml version="1.0" encoding="utf-8"?>
<a:theme xmlns:a="http://schemas.openxmlformats.org/drawingml/2006/main" name="3_WHITE TEMPLATE">
  <a:themeElements>
    <a:clrScheme name="BT - Blue - white background">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Consumer_BLUE_2017_03.potx" id="{FB3EFF20-B4D2-478B-B2A2-CBDD18FB8408}" vid="{298C504D-1E39-40C1-A9F2-F02391F48211}"/>
    </a:ext>
  </a:extLst>
</a:theme>
</file>

<file path=ppt/theme/theme5.xml><?xml version="1.0" encoding="utf-8"?>
<a:theme xmlns:a="http://schemas.openxmlformats.org/drawingml/2006/main" name="4_White Template">
  <a:themeElements>
    <a:clrScheme name="2019 Brand TEAL Light Bak">
      <a:dk1>
        <a:srgbClr val="000000"/>
      </a:dk1>
      <a:lt1>
        <a:srgbClr val="FFFFFF"/>
      </a:lt1>
      <a:dk2>
        <a:srgbClr val="274B47"/>
      </a:dk2>
      <a:lt2>
        <a:srgbClr val="E6E6E6"/>
      </a:lt2>
      <a:accent1>
        <a:srgbClr val="008575"/>
      </a:accent1>
      <a:accent2>
        <a:srgbClr val="274B47"/>
      </a:accent2>
      <a:accent3>
        <a:srgbClr val="D83B01"/>
      </a:accent3>
      <a:accent4>
        <a:srgbClr val="0078D4"/>
      </a:accent4>
      <a:accent5>
        <a:srgbClr val="8661C5"/>
      </a:accent5>
      <a:accent6>
        <a:srgbClr val="737373"/>
      </a:accent6>
      <a:hlink>
        <a:srgbClr val="008575"/>
      </a:hlink>
      <a:folHlink>
        <a:srgbClr val="00857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Teal_Business_2019_01.potx" id="{00FCB44B-B6B5-4184-811C-4DEA53697F19}" vid="{E89403B8-5CC9-4629-BC86-9485F8E24B07}"/>
    </a:ext>
  </a:extLst>
</a:theme>
</file>

<file path=ppt/theme/theme6.xml><?xml version="1.0" encoding="utf-8"?>
<a:theme xmlns:a="http://schemas.openxmlformats.org/drawingml/2006/main" name="5_WHITE TEMPLATE">
  <a:themeElements>
    <a:clrScheme name="BT - Blue on white - 2">
      <a:dk1>
        <a:srgbClr val="505050"/>
      </a:dk1>
      <a:lt1>
        <a:srgbClr val="FFFFFF"/>
      </a:lt1>
      <a:dk2>
        <a:srgbClr val="0078D7"/>
      </a:dk2>
      <a:lt2>
        <a:srgbClr val="00BCF2"/>
      </a:lt2>
      <a:accent1>
        <a:srgbClr val="0078D7"/>
      </a:accent1>
      <a:accent2>
        <a:srgbClr val="002050"/>
      </a:accent2>
      <a:accent3>
        <a:srgbClr val="B4009E"/>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1.potx" id="{CA9BE438-1B0F-41E9-BD34-9780A77D52B5}" vid="{6EB7C265-9C81-4626-BD14-B5A4426B07BD}"/>
    </a:ext>
  </a:extLst>
</a:theme>
</file>

<file path=ppt/theme/theme7.xml><?xml version="1.0" encoding="utf-8"?>
<a:theme xmlns:a="http://schemas.openxmlformats.org/drawingml/2006/main" name="4_LOL with logo">
  <a:themeElements>
    <a:clrScheme name="LOL color palette">
      <a:dk1>
        <a:srgbClr val="38383B"/>
      </a:dk1>
      <a:lt1>
        <a:srgbClr val="D1CCBD"/>
      </a:lt1>
      <a:dk2>
        <a:srgbClr val="204F56"/>
      </a:dk2>
      <a:lt2>
        <a:srgbClr val="97C0BB"/>
      </a:lt2>
      <a:accent1>
        <a:srgbClr val="808078"/>
      </a:accent1>
      <a:accent2>
        <a:srgbClr val="E87622"/>
      </a:accent2>
      <a:accent3>
        <a:srgbClr val="E5A62B"/>
      </a:accent3>
      <a:accent4>
        <a:srgbClr val="00B1AD"/>
      </a:accent4>
      <a:accent5>
        <a:srgbClr val="D1CCBD"/>
      </a:accent5>
      <a:accent6>
        <a:srgbClr val="204F56"/>
      </a:accent6>
      <a:hlink>
        <a:srgbClr val="38383B"/>
      </a:hlink>
      <a:folHlink>
        <a:srgbClr val="38383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effectLst>
          <a:outerShdw blurRad="40000" dist="23000" dir="5400000" rotWithShape="0">
            <a:schemeClr val="tx2">
              <a:alpha val="35000"/>
            </a:schemeClr>
          </a:outerShdw>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Microsoft Unified Support">
  <a:themeElements>
    <a:clrScheme name="MS Unified Support">
      <a:dk1>
        <a:srgbClr val="505050"/>
      </a:dk1>
      <a:lt1>
        <a:srgbClr val="FFFFFF"/>
      </a:lt1>
      <a:dk2>
        <a:srgbClr val="0078D4"/>
      </a:dk2>
      <a:lt2>
        <a:srgbClr val="D2D2D2"/>
      </a:lt2>
      <a:accent1>
        <a:srgbClr val="0078D4"/>
      </a:accent1>
      <a:accent2>
        <a:srgbClr val="02BBF3"/>
      </a:accent2>
      <a:accent3>
        <a:srgbClr val="002050"/>
      </a:accent3>
      <a:accent4>
        <a:srgbClr val="505050"/>
      </a:accent4>
      <a:accent5>
        <a:srgbClr val="737373"/>
      </a:accent5>
      <a:accent6>
        <a:srgbClr val="969696"/>
      </a:accent6>
      <a:hlink>
        <a:srgbClr val="02BBF3"/>
      </a:hlink>
      <a:folHlink>
        <a:srgbClr val="02BBF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64E9B03C-DF2B-4891-9356-D35CF69F1B06}"/>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cc362dce-21dd-46a4-ab59-91a98e89dedd"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344C087108ABE44BDA5C0B6013426C1" ma:contentTypeVersion="10" ma:contentTypeDescription="Create a new document." ma:contentTypeScope="" ma:versionID="d6084e9ae0b3af0f3ed7b3def1224708">
  <xsd:schema xmlns:xsd="http://www.w3.org/2001/XMLSchema" xmlns:xs="http://www.w3.org/2001/XMLSchema" xmlns:p="http://schemas.microsoft.com/office/2006/metadata/properties" xmlns:ns2="cc362dce-21dd-46a4-ab59-91a98e89dedd" xmlns:ns3="a545a372-530b-4c53-8fd5-d2ebabbf054d" targetNamespace="http://schemas.microsoft.com/office/2006/metadata/properties" ma:root="true" ma:fieldsID="ed6007f14f078ac9b101687e8fb914f7" ns2:_="" ns3:_="">
    <xsd:import namespace="cc362dce-21dd-46a4-ab59-91a98e89dedd"/>
    <xsd:import namespace="a545a372-530b-4c53-8fd5-d2ebabbf054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362dce-21dd-46a4-ab59-91a98e89ded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545a372-530b-4c53-8fd5-d2ebabbf054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90EA57A-6231-441D-8C2E-DDED61203495}">
  <ds:schemaRefs>
    <ds:schemaRef ds:uri="http://www.w3.org/XML/1998/namespace"/>
    <ds:schemaRef ds:uri="http://schemas.microsoft.com/office/2006/metadata/properties"/>
    <ds:schemaRef ds:uri="http://purl.org/dc/elements/1.1/"/>
    <ds:schemaRef ds:uri="http://schemas.microsoft.com/office/infopath/2007/PartnerControls"/>
    <ds:schemaRef ds:uri="http://schemas.openxmlformats.org/package/2006/metadata/core-properties"/>
    <ds:schemaRef ds:uri="http://purl.org/dc/terms/"/>
    <ds:schemaRef ds:uri="http://schemas.microsoft.com/office/2006/documentManagement/types"/>
    <ds:schemaRef ds:uri="a545a372-530b-4c53-8fd5-d2ebabbf054d"/>
    <ds:schemaRef ds:uri="cc362dce-21dd-46a4-ab59-91a98e89dedd"/>
    <ds:schemaRef ds:uri="http://purl.org/dc/dcmitype/"/>
  </ds:schemaRefs>
</ds:datastoreItem>
</file>

<file path=customXml/itemProps2.xml><?xml version="1.0" encoding="utf-8"?>
<ds:datastoreItem xmlns:ds="http://schemas.openxmlformats.org/officeDocument/2006/customXml" ds:itemID="{A7F5F0D8-87BF-46B7-A32F-97D8304BF2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c362dce-21dd-46a4-ab59-91a98e89dedd"/>
    <ds:schemaRef ds:uri="a545a372-530b-4c53-8fd5-d2ebabbf05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7D5359E-9DA7-49D8-A694-AB1C5B24D5D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510</TotalTime>
  <Words>1282</Words>
  <Application>Microsoft Office PowerPoint</Application>
  <PresentationFormat>Widescreen</PresentationFormat>
  <Paragraphs>108</Paragraphs>
  <Slides>15</Slides>
  <Notes>12</Notes>
  <HiddenSlides>0</HiddenSlides>
  <MMClips>0</MMClips>
  <ScaleCrop>false</ScaleCrop>
  <HeadingPairs>
    <vt:vector size="8" baseType="variant">
      <vt:variant>
        <vt:lpstr>Fonts Used</vt:lpstr>
      </vt:variant>
      <vt:variant>
        <vt:i4>23</vt:i4>
      </vt:variant>
      <vt:variant>
        <vt:lpstr>Theme</vt:lpstr>
      </vt:variant>
      <vt:variant>
        <vt:i4>9</vt:i4>
      </vt:variant>
      <vt:variant>
        <vt:lpstr>Embedded OLE Servers</vt:lpstr>
      </vt:variant>
      <vt:variant>
        <vt:i4>1</vt:i4>
      </vt:variant>
      <vt:variant>
        <vt:lpstr>Slide Titles</vt:lpstr>
      </vt:variant>
      <vt:variant>
        <vt:i4>15</vt:i4>
      </vt:variant>
    </vt:vector>
  </HeadingPairs>
  <TitlesOfParts>
    <vt:vector size="48" baseType="lpstr">
      <vt:lpstr>Arial</vt:lpstr>
      <vt:lpstr>Arial Bold</vt:lpstr>
      <vt:lpstr>Arial Narrow</vt:lpstr>
      <vt:lpstr>Arial Regular</vt:lpstr>
      <vt:lpstr>Calibri</vt:lpstr>
      <vt:lpstr>Calibri Light</vt:lpstr>
      <vt:lpstr>Calibri Regular</vt:lpstr>
      <vt:lpstr>Campton Book</vt:lpstr>
      <vt:lpstr>Cervo Neue Bold Neue</vt:lpstr>
      <vt:lpstr>Consolas</vt:lpstr>
      <vt:lpstr>DIN Alternate</vt:lpstr>
      <vt:lpstr>DIN Next LT Pro</vt:lpstr>
      <vt:lpstr>Gill Sans</vt:lpstr>
      <vt:lpstr>Segoe UI</vt:lpstr>
      <vt:lpstr>Segoe UI (Body)</vt:lpstr>
      <vt:lpstr>Segoe UI Black</vt:lpstr>
      <vt:lpstr>Segoe UI Light</vt:lpstr>
      <vt:lpstr>Segoe UI Semibold</vt:lpstr>
      <vt:lpstr>Segoe UI Semibold (Headings)</vt:lpstr>
      <vt:lpstr>Segoe UI Semilight</vt:lpstr>
      <vt:lpstr>Symbol</vt:lpstr>
      <vt:lpstr>Times New Roman</vt:lpstr>
      <vt:lpstr>Wingdings</vt:lpstr>
      <vt:lpstr>1_WHITE TEMPLATE</vt:lpstr>
      <vt:lpstr>WHITE TEMPLATE</vt:lpstr>
      <vt:lpstr>2_WHITE TEMPLATE</vt:lpstr>
      <vt:lpstr>3_WHITE TEMPLATE</vt:lpstr>
      <vt:lpstr>4_White Template</vt:lpstr>
      <vt:lpstr>5_WHITE TEMPLATE</vt:lpstr>
      <vt:lpstr>4_LOL with logo</vt:lpstr>
      <vt:lpstr>2_Microsoft Unified Support</vt:lpstr>
      <vt:lpstr>Office Theme</vt:lpstr>
      <vt:lpstr>think-cell Slide</vt:lpstr>
      <vt:lpstr>Airband Initiative Connecting the Unconnected  Minnesota Governor's Task Force on Broadband June 24, 2020  Aimee Sprung Director, Airband  aimees@microsoft.com </vt:lpstr>
      <vt:lpstr>Microsoft Mission</vt:lpstr>
      <vt:lpstr>The connectivity gap in the United States</vt:lpstr>
      <vt:lpstr>Airband mission - to  connect the unconnected</vt:lpstr>
      <vt:lpstr>Our Approach</vt:lpstr>
      <vt:lpstr>Focus areas</vt:lpstr>
      <vt:lpstr>Airband Projects in 25 States &amp; Puerto Rico</vt:lpstr>
      <vt:lpstr>Astrea: Connecting Wisconsin and Michigan</vt:lpstr>
      <vt:lpstr>Watch Communications: Connecting Indiana,  Illinois, Ohio &amp; Kentucky</vt:lpstr>
      <vt:lpstr>Airband COVID Response</vt:lpstr>
      <vt:lpstr>Innovative State Examples</vt:lpstr>
      <vt:lpstr>Asks</vt:lpstr>
      <vt:lpstr>To learn more, visit  microsoft.com/airband  </vt:lpstr>
      <vt:lpstr>Appendix</vt:lpstr>
      <vt:lpstr>Airband COVID Response: Policy Recommend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k Dwyer</dc:creator>
  <cp:lastModifiedBy>Wells, Diane (COMM)</cp:lastModifiedBy>
  <cp:revision>11</cp:revision>
  <dcterms:created xsi:type="dcterms:W3CDTF">2019-03-04T21:26:05Z</dcterms:created>
  <dcterms:modified xsi:type="dcterms:W3CDTF">2020-06-24T21:42: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alsolomo@microsoft.com</vt:lpwstr>
  </property>
  <property fmtid="{D5CDD505-2E9C-101B-9397-08002B2CF9AE}" pid="5" name="MSIP_Label_f42aa342-8706-4288-bd11-ebb85995028c_SetDate">
    <vt:lpwstr>2019-04-16T01:22:22.3774340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e9ae6622-a241-4d67-b5c4-8bf1c02d3750</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8344C087108ABE44BDA5C0B6013426C1</vt:lpwstr>
  </property>
</Properties>
</file>